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glb" ContentType="model/gltf.binary"/>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2.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tags/tag215.xml" ContentType="application/vnd.openxmlformats-officedocument.presentationml.tags+xml"/>
  <Override PartName="/ppt/notesSlides/notesSlide2.xml" ContentType="application/vnd.openxmlformats-officedocument.presentationml.notesSlide+xml"/>
  <Override PartName="/ppt/tags/tag216.xml" ContentType="application/vnd.openxmlformats-officedocument.presentationml.tags+xml"/>
  <Override PartName="/ppt/notesSlides/notesSlide3.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4.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5.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6.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7.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notesSlides/notesSlide8.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9.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notesSlides/notesSlide10.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notesSlides/notesSlide11.xml" ContentType="application/vnd.openxmlformats-officedocument.presentationml.notesSlide+xml"/>
  <Override PartName="/ppt/media/image56.bin" ContentType="image/svg+xml"/>
  <Override PartName="/ppt/media/image58.bin" ContentType="image/svg+xml"/>
  <Override PartName="/ppt/tags/tag390.xml" ContentType="application/vnd.openxmlformats-officedocument.presentationml.tags+xml"/>
  <Override PartName="/ppt/notesSlides/notesSlide12.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notesSlides/notesSlide13.xml" ContentType="application/vnd.openxmlformats-officedocument.presentationml.notesSlide+xml"/>
  <Override PartName="/ppt/tags/tag393.xml" ContentType="application/vnd.openxmlformats-officedocument.presentationml.tags+xml"/>
  <Override PartName="/ppt/notesSlides/notesSlide14.xml" ContentType="application/vnd.openxmlformats-officedocument.presentationml.notesSlide+xml"/>
  <Override PartName="/ppt/tags/tag39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36.xml" ContentType="application/vnd.openxmlformats-officedocument.presentationml.tags+xml"/>
  <Override PartName="/ppt/notesSlides/notesSlide20.xml" ContentType="application/vnd.openxmlformats-officedocument.presentationml.notesSlide+xml"/>
  <Override PartName="/ppt/tags/tag43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38.xml" ContentType="application/vnd.openxmlformats-officedocument.presentationml.tags+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4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3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notesSlides/notesSlide3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3.xml" ContentType="application/vnd.openxmlformats-officedocument.presentationml.notesSlide+xml"/>
  <Override PartName="/ppt/tags/tag451.xml" ContentType="application/vnd.openxmlformats-officedocument.presentationml.tags+xml"/>
  <Override PartName="/ppt/notesSlides/notesSlide3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6.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notesSlides/notesSlide3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454.xml" ContentType="application/vnd.openxmlformats-officedocument.presentationml.tags+xml"/>
  <Override PartName="/ppt/tags/tag455.xml" ContentType="application/vnd.openxmlformats-officedocument.presentationml.tags+xml"/>
  <Override PartName="/ppt/notesSlides/notesSlide3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tags/tag456.xml" ContentType="application/vnd.openxmlformats-officedocument.presentationml.tags+xml"/>
  <Override PartName="/ppt/notesSlides/notesSlide39.xml" ContentType="application/vnd.openxmlformats-officedocument.presentationml.notesSlide+xml"/>
  <Override PartName="/ppt/tags/tag457.xml" ContentType="application/vnd.openxmlformats-officedocument.presentationml.tags+xml"/>
  <Override PartName="/ppt/notesSlides/notesSlide4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3.xml" ContentType="application/vnd.openxmlformats-officedocument.themeOverride+xml"/>
  <Override PartName="/ppt/tags/tag458.xml" ContentType="application/vnd.openxmlformats-officedocument.presentationml.tags+xml"/>
  <Override PartName="/ppt/notesSlides/notesSlide41.xml" ContentType="application/vnd.openxmlformats-officedocument.presentationml.notesSlide+xml"/>
  <Override PartName="/ppt/tags/tag459.xml" ContentType="application/vnd.openxmlformats-officedocument.presentationml.tags+xml"/>
  <Override PartName="/ppt/notesSlides/notesSlide42.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notesSlides/notesSlide43.xml" ContentType="application/vnd.openxmlformats-officedocument.presentationml.notesSlide+xml"/>
  <Override PartName="/ppt/tags/tag46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7" r:id="rId5"/>
  </p:sldMasterIdLst>
  <p:notesMasterIdLst>
    <p:notesMasterId r:id="rId55"/>
  </p:notesMasterIdLst>
  <p:handoutMasterIdLst>
    <p:handoutMasterId r:id="rId56"/>
  </p:handoutMasterIdLst>
  <p:sldIdLst>
    <p:sldId id="2147480547" r:id="rId6"/>
    <p:sldId id="2147480557" r:id="rId7"/>
    <p:sldId id="2147474440" r:id="rId8"/>
    <p:sldId id="856" r:id="rId9"/>
    <p:sldId id="2147480498" r:id="rId10"/>
    <p:sldId id="2147476351" r:id="rId11"/>
    <p:sldId id="2147480506" r:id="rId12"/>
    <p:sldId id="2147480561" r:id="rId13"/>
    <p:sldId id="862" r:id="rId14"/>
    <p:sldId id="2147480507" r:id="rId15"/>
    <p:sldId id="2147480560" r:id="rId16"/>
    <p:sldId id="863" r:id="rId17"/>
    <p:sldId id="2147476327" r:id="rId18"/>
    <p:sldId id="2147480681" r:id="rId19"/>
    <p:sldId id="2147470962" r:id="rId20"/>
    <p:sldId id="2147470963" r:id="rId21"/>
    <p:sldId id="258" r:id="rId22"/>
    <p:sldId id="2147476336" r:id="rId23"/>
    <p:sldId id="2147480678" r:id="rId24"/>
    <p:sldId id="2147471251" r:id="rId25"/>
    <p:sldId id="2147471253" r:id="rId26"/>
    <p:sldId id="2147471254" r:id="rId27"/>
    <p:sldId id="2147474427" r:id="rId28"/>
    <p:sldId id="2147480548" r:id="rId29"/>
    <p:sldId id="2147471245" r:id="rId30"/>
    <p:sldId id="2147471246" r:id="rId31"/>
    <p:sldId id="2147471243" r:id="rId32"/>
    <p:sldId id="2147471244" r:id="rId33"/>
    <p:sldId id="2147471247" r:id="rId34"/>
    <p:sldId id="2147471256" r:id="rId35"/>
    <p:sldId id="2147480553" r:id="rId36"/>
    <p:sldId id="2147480550" r:id="rId37"/>
    <p:sldId id="2147480551" r:id="rId38"/>
    <p:sldId id="2147480522" r:id="rId39"/>
    <p:sldId id="2147480523" r:id="rId40"/>
    <p:sldId id="2147480446" r:id="rId41"/>
    <p:sldId id="2147480682" r:id="rId42"/>
    <p:sldId id="2147480526" r:id="rId43"/>
    <p:sldId id="2147480518" r:id="rId44"/>
    <p:sldId id="2147480556" r:id="rId45"/>
    <p:sldId id="2147480528" r:id="rId46"/>
    <p:sldId id="2147480443" r:id="rId47"/>
    <p:sldId id="2147480529" r:id="rId48"/>
    <p:sldId id="2147471249" r:id="rId49"/>
    <p:sldId id="2147480448" r:id="rId50"/>
    <p:sldId id="2147480536" r:id="rId51"/>
    <p:sldId id="2147480533" r:id="rId52"/>
    <p:sldId id="2147474217" r:id="rId53"/>
    <p:sldId id="1508" r:id="rId54"/>
  </p:sldIdLst>
  <p:sldSz cx="12192000" cy="6858000"/>
  <p:notesSz cx="7099300" cy="10234613"/>
  <p:custDataLst>
    <p:tags r:id="rId57"/>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4655" autoAdjust="0"/>
  </p:normalViewPr>
  <p:slideViewPr>
    <p:cSldViewPr snapToObjects="1" showGuides="1">
      <p:cViewPr varScale="1">
        <p:scale>
          <a:sx n="105" d="100"/>
          <a:sy n="105" d="100"/>
        </p:scale>
        <p:origin x="120" y="654"/>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52" d="100"/>
          <a:sy n="52" d="100"/>
        </p:scale>
        <p:origin x="3403" y="-250"/>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Vihsdv002.infineon.com\ipc_pl14\TM\27_Personal%20folders\Andrea\desktop\F4U_1200VS7_testing\summar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2.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Piccioni\Desktop\Parallelization\book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Piccioni\Desktop\F4U_1200VS7_testing\summar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ekarajithku\Desktop\1.7kV_CoolSiC\IGBT7%20vs%20previous%20generation.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xlsx"/></Relationships>
</file>

<file path=ppt/charts/_rels/chart6.xml.rels><?xml version="1.0" encoding="UTF-8" standalone="yes"?>
<Relationships xmlns="http://schemas.openxmlformats.org/package/2006/relationships"><Relationship Id="rId3" Type="http://schemas.openxmlformats.org/officeDocument/2006/relationships/oleObject" Target="file:///\\vihsdv002.infineon.com\IPC_PL14\Projects\Post%20D9%20Milestone\Released_I239_IGBT7_H7_1st_wave_NPI\Sales%20Call%20H7%20S7\Application%20test%20data_V1_Sept0620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1.xml"/><Relationship Id="rId4" Type="http://schemas.openxmlformats.org/officeDocument/2006/relationships/oleObject" Target="../embeddings/oleObject6.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76974685384791"/>
          <c:y val="0.11798563061194638"/>
          <c:w val="0.61754916211692312"/>
          <c:h val="0.74076464741797865"/>
        </c:manualLayout>
      </c:layout>
      <c:scatterChart>
        <c:scatterStyle val="smoothMarker"/>
        <c:varyColors val="0"/>
        <c:ser>
          <c:idx val="1"/>
          <c:order val="1"/>
          <c:tx>
            <c:strRef>
              <c:f>Sheet1!$A$15</c:f>
              <c:strCache>
                <c:ptCount val="1"/>
                <c:pt idx="0">
                  <c:v>IKQ75N120CS7 Rg 6 ohm</c:v>
                </c:pt>
              </c:strCache>
            </c:strRef>
          </c:tx>
          <c:spPr>
            <a:ln w="50800" cap="rnd">
              <a:solidFill>
                <a:srgbClr val="0A8276"/>
              </a:solidFill>
              <a:round/>
            </a:ln>
            <a:effectLst/>
          </c:spPr>
          <c:marker>
            <c:symbol val="none"/>
          </c:marker>
          <c:xVal>
            <c:numRef>
              <c:f>Sheet1!$D$20:$D$23</c:f>
              <c:numCache>
                <c:formatCode>General</c:formatCode>
                <c:ptCount val="4"/>
                <c:pt idx="0">
                  <c:v>14.1</c:v>
                </c:pt>
                <c:pt idx="1">
                  <c:v>25.1</c:v>
                </c:pt>
                <c:pt idx="2">
                  <c:v>31</c:v>
                </c:pt>
                <c:pt idx="3">
                  <c:v>34.200000000000003</c:v>
                </c:pt>
              </c:numCache>
            </c:numRef>
          </c:xVal>
          <c:yVal>
            <c:numRef>
              <c:f>Sheet1!$E$20:$E$23</c:f>
              <c:numCache>
                <c:formatCode>General</c:formatCode>
                <c:ptCount val="4"/>
                <c:pt idx="0">
                  <c:v>55.643000000000001</c:v>
                </c:pt>
                <c:pt idx="1">
                  <c:v>76.099999999999994</c:v>
                </c:pt>
                <c:pt idx="2">
                  <c:v>90.5</c:v>
                </c:pt>
                <c:pt idx="3">
                  <c:v>100.4</c:v>
                </c:pt>
              </c:numCache>
            </c:numRef>
          </c:yVal>
          <c:smooth val="1"/>
          <c:extLst>
            <c:ext xmlns:c16="http://schemas.microsoft.com/office/drawing/2014/chart" uri="{C3380CC4-5D6E-409C-BE32-E72D297353CC}">
              <c16:uniqueId val="{00000000-D09C-4D46-99C3-4B08DCDAC5FB}"/>
            </c:ext>
          </c:extLst>
        </c:ser>
        <c:ser>
          <c:idx val="2"/>
          <c:order val="2"/>
          <c:tx>
            <c:strRef>
              <c:f>Sheet1!$A$24</c:f>
              <c:strCache>
                <c:ptCount val="1"/>
                <c:pt idx="0">
                  <c:v>IKQ75N120CT2 Rg 6 ohm</c:v>
                </c:pt>
              </c:strCache>
            </c:strRef>
          </c:tx>
          <c:spPr>
            <a:ln w="19050" cap="rnd">
              <a:solidFill>
                <a:srgbClr val="F97414"/>
              </a:solidFill>
              <a:round/>
            </a:ln>
            <a:effectLst/>
          </c:spPr>
          <c:marker>
            <c:symbol val="none"/>
          </c:marker>
          <c:xVal>
            <c:numRef>
              <c:f>Sheet1!$D$29:$D$32</c:f>
              <c:numCache>
                <c:formatCode>General</c:formatCode>
                <c:ptCount val="4"/>
                <c:pt idx="0">
                  <c:v>12.3</c:v>
                </c:pt>
                <c:pt idx="1">
                  <c:v>16</c:v>
                </c:pt>
                <c:pt idx="2">
                  <c:v>19.8</c:v>
                </c:pt>
                <c:pt idx="3">
                  <c:v>22</c:v>
                </c:pt>
              </c:numCache>
            </c:numRef>
          </c:xVal>
          <c:yVal>
            <c:numRef>
              <c:f>Sheet1!$E$29:$E$32</c:f>
              <c:numCache>
                <c:formatCode>General</c:formatCode>
                <c:ptCount val="4"/>
                <c:pt idx="0">
                  <c:v>72.7</c:v>
                </c:pt>
                <c:pt idx="1">
                  <c:v>83.1</c:v>
                </c:pt>
                <c:pt idx="2">
                  <c:v>94.2</c:v>
                </c:pt>
                <c:pt idx="3">
                  <c:v>102</c:v>
                </c:pt>
              </c:numCache>
            </c:numRef>
          </c:yVal>
          <c:smooth val="1"/>
          <c:extLst>
            <c:ext xmlns:c16="http://schemas.microsoft.com/office/drawing/2014/chart" uri="{C3380CC4-5D6E-409C-BE32-E72D297353CC}">
              <c16:uniqueId val="{00000001-D09C-4D46-99C3-4B08DCDAC5FB}"/>
            </c:ext>
          </c:extLst>
        </c:ser>
        <c:ser>
          <c:idx val="3"/>
          <c:order val="3"/>
          <c:tx>
            <c:strRef>
              <c:f>Sheet1!$A$33</c:f>
              <c:strCache>
                <c:ptCount val="1"/>
                <c:pt idx="0">
                  <c:v>IKQ75N120CH3 Rg 6 ohm</c:v>
                </c:pt>
              </c:strCache>
            </c:strRef>
          </c:tx>
          <c:spPr>
            <a:ln w="19050" cap="rnd">
              <a:solidFill>
                <a:srgbClr val="0A8276"/>
              </a:solidFill>
              <a:round/>
            </a:ln>
            <a:effectLst/>
          </c:spPr>
          <c:marker>
            <c:symbol val="none"/>
          </c:marker>
          <c:xVal>
            <c:numRef>
              <c:f>Sheet1!$D$38:$D$42</c:f>
              <c:numCache>
                <c:formatCode>General</c:formatCode>
                <c:ptCount val="5"/>
                <c:pt idx="0">
                  <c:v>10.4</c:v>
                </c:pt>
                <c:pt idx="1">
                  <c:v>13.8</c:v>
                </c:pt>
                <c:pt idx="2">
                  <c:v>17.600000000000001</c:v>
                </c:pt>
                <c:pt idx="3">
                  <c:v>22.2</c:v>
                </c:pt>
                <c:pt idx="4">
                  <c:v>27.6</c:v>
                </c:pt>
              </c:numCache>
            </c:numRef>
          </c:xVal>
          <c:yVal>
            <c:numRef>
              <c:f>Sheet1!$E$38:$E$42</c:f>
              <c:numCache>
                <c:formatCode>General</c:formatCode>
                <c:ptCount val="5"/>
                <c:pt idx="0">
                  <c:v>53.9</c:v>
                </c:pt>
                <c:pt idx="1">
                  <c:v>61.4</c:v>
                </c:pt>
                <c:pt idx="2" formatCode="0.000">
                  <c:v>70.3</c:v>
                </c:pt>
                <c:pt idx="3">
                  <c:v>82.5</c:v>
                </c:pt>
                <c:pt idx="4">
                  <c:v>99.4</c:v>
                </c:pt>
              </c:numCache>
            </c:numRef>
          </c:yVal>
          <c:smooth val="1"/>
          <c:extLst>
            <c:ext xmlns:c16="http://schemas.microsoft.com/office/drawing/2014/chart" uri="{C3380CC4-5D6E-409C-BE32-E72D297353CC}">
              <c16:uniqueId val="{00000002-D09C-4D46-99C3-4B08DCDAC5FB}"/>
            </c:ext>
          </c:extLst>
        </c:ser>
        <c:dLbls>
          <c:showLegendKey val="0"/>
          <c:showVal val="0"/>
          <c:showCatName val="0"/>
          <c:showSerName val="0"/>
          <c:showPercent val="0"/>
          <c:showBubbleSize val="0"/>
        </c:dLbls>
        <c:axId val="1201539759"/>
        <c:axId val="1201544751"/>
        <c:extLst>
          <c:ext xmlns:c15="http://schemas.microsoft.com/office/drawing/2012/chart" uri="{02D57815-91ED-43cb-92C2-25804820EDAC}">
            <c15:filteredScatterSeries>
              <c15:ser>
                <c:idx val="0"/>
                <c:order val="0"/>
                <c:tx>
                  <c:strRef>
                    <c:extLst>
                      <c:ext uri="{02D57815-91ED-43cb-92C2-25804820EDAC}">
                        <c15:formulaRef>
                          <c15:sqref>Sheet1!$A$3</c15:sqref>
                        </c15:formulaRef>
                      </c:ext>
                    </c:extLst>
                    <c:strCache>
                      <c:ptCount val="1"/>
                      <c:pt idx="0">
                        <c:v>IKQ75N120CS7 Rg 2.7 ohm</c:v>
                      </c:pt>
                    </c:strCache>
                  </c:strRef>
                </c:tx>
                <c:spPr>
                  <a:ln w="19050" cap="rnd">
                    <a:solidFill>
                      <a:schemeClr val="accent1"/>
                    </a:solidFill>
                    <a:round/>
                  </a:ln>
                  <a:effectLst/>
                </c:spPr>
                <c:marker>
                  <c:symbol val="none"/>
                </c:marker>
                <c:xVal>
                  <c:numRef>
                    <c:extLst>
                      <c:ext uri="{02D57815-91ED-43cb-92C2-25804820EDAC}">
                        <c15:formulaRef>
                          <c15:sqref>Sheet1!$D$8:$D$14</c15:sqref>
                        </c15:formulaRef>
                      </c:ext>
                    </c:extLst>
                    <c:numCache>
                      <c:formatCode>General</c:formatCode>
                      <c:ptCount val="7"/>
                      <c:pt idx="0">
                        <c:v>17.399999999999999</c:v>
                      </c:pt>
                      <c:pt idx="1">
                        <c:v>19.3</c:v>
                      </c:pt>
                      <c:pt idx="2">
                        <c:v>21.9</c:v>
                      </c:pt>
                      <c:pt idx="3">
                        <c:v>24</c:v>
                      </c:pt>
                      <c:pt idx="4">
                        <c:v>27</c:v>
                      </c:pt>
                      <c:pt idx="5">
                        <c:v>33</c:v>
                      </c:pt>
                      <c:pt idx="6">
                        <c:v>36.200000000000003</c:v>
                      </c:pt>
                    </c:numCache>
                  </c:numRef>
                </c:xVal>
                <c:yVal>
                  <c:numRef>
                    <c:extLst>
                      <c:ext uri="{02D57815-91ED-43cb-92C2-25804820EDAC}">
                        <c15:formulaRef>
                          <c15:sqref>Sheet1!$E$8:$E$14</c15:sqref>
                        </c15:formulaRef>
                      </c:ext>
                    </c:extLst>
                    <c:numCache>
                      <c:formatCode>General</c:formatCode>
                      <c:ptCount val="7"/>
                      <c:pt idx="0">
                        <c:v>61.7</c:v>
                      </c:pt>
                      <c:pt idx="1">
                        <c:v>65.8</c:v>
                      </c:pt>
                      <c:pt idx="2">
                        <c:v>70.400000000000006</c:v>
                      </c:pt>
                      <c:pt idx="3">
                        <c:v>75.400000000000006</c:v>
                      </c:pt>
                      <c:pt idx="4">
                        <c:v>81.8</c:v>
                      </c:pt>
                      <c:pt idx="5">
                        <c:v>94.3</c:v>
                      </c:pt>
                      <c:pt idx="6">
                        <c:v>103.5</c:v>
                      </c:pt>
                    </c:numCache>
                  </c:numRef>
                </c:yVal>
                <c:smooth val="1"/>
                <c:extLst>
                  <c:ext xmlns:c16="http://schemas.microsoft.com/office/drawing/2014/chart" uri="{C3380CC4-5D6E-409C-BE32-E72D297353CC}">
                    <c16:uniqueId val="{00000005-D09C-4D46-99C3-4B08DCDAC5FB}"/>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Sheet1!$A$43</c15:sqref>
                        </c15:formulaRef>
                      </c:ext>
                    </c:extLst>
                    <c:strCache>
                      <c:ptCount val="1"/>
                      <c:pt idx="0">
                        <c:v>IMZA120R020M1H Rg 56 ohm</c:v>
                      </c:pt>
                    </c:strCache>
                  </c:strRef>
                </c:tx>
                <c:spPr>
                  <a:ln w="19050" cap="rnd">
                    <a:solidFill>
                      <a:schemeClr val="accent5"/>
                    </a:solidFill>
                    <a:round/>
                  </a:ln>
                  <a:effectLst/>
                </c:spPr>
                <c:marker>
                  <c:symbol val="none"/>
                </c:marker>
                <c:xVal>
                  <c:numRef>
                    <c:extLst xmlns:c15="http://schemas.microsoft.com/office/drawing/2012/chart">
                      <c:ext xmlns:c15="http://schemas.microsoft.com/office/drawing/2012/chart" uri="{02D57815-91ED-43cb-92C2-25804820EDAC}">
                        <c15:formulaRef>
                          <c15:sqref>Sheet1!$D$50:$D$56</c15:sqref>
                        </c15:formulaRef>
                      </c:ext>
                    </c:extLst>
                    <c:numCache>
                      <c:formatCode>General</c:formatCode>
                      <c:ptCount val="7"/>
                      <c:pt idx="0">
                        <c:v>11.6</c:v>
                      </c:pt>
                      <c:pt idx="1">
                        <c:v>15</c:v>
                      </c:pt>
                      <c:pt idx="2">
                        <c:v>17</c:v>
                      </c:pt>
                      <c:pt idx="3">
                        <c:v>19.3</c:v>
                      </c:pt>
                      <c:pt idx="4">
                        <c:v>21.5</c:v>
                      </c:pt>
                      <c:pt idx="5">
                        <c:v>24</c:v>
                      </c:pt>
                      <c:pt idx="6">
                        <c:v>26.6</c:v>
                      </c:pt>
                    </c:numCache>
                  </c:numRef>
                </c:xVal>
                <c:yVal>
                  <c:numRef>
                    <c:extLst xmlns:c15="http://schemas.microsoft.com/office/drawing/2012/chart">
                      <c:ext xmlns:c15="http://schemas.microsoft.com/office/drawing/2012/chart" uri="{02D57815-91ED-43cb-92C2-25804820EDAC}">
                        <c15:formulaRef>
                          <c15:sqref>Sheet1!$E$50:$E$56</c15:sqref>
                        </c15:formulaRef>
                      </c:ext>
                    </c:extLst>
                    <c:numCache>
                      <c:formatCode>0.000</c:formatCode>
                      <c:ptCount val="7"/>
                      <c:pt idx="0">
                        <c:v>67.599999999999994</c:v>
                      </c:pt>
                      <c:pt idx="1">
                        <c:v>73.900000000000006</c:v>
                      </c:pt>
                      <c:pt idx="2">
                        <c:v>78.3</c:v>
                      </c:pt>
                      <c:pt idx="3">
                        <c:v>82.8</c:v>
                      </c:pt>
                      <c:pt idx="4">
                        <c:v>87.8</c:v>
                      </c:pt>
                      <c:pt idx="5">
                        <c:v>94.2</c:v>
                      </c:pt>
                      <c:pt idx="6" formatCode="General">
                        <c:v>101.1</c:v>
                      </c:pt>
                    </c:numCache>
                  </c:numRef>
                </c:yVal>
                <c:smooth val="1"/>
                <c:extLst xmlns:c15="http://schemas.microsoft.com/office/drawing/2012/chart">
                  <c:ext xmlns:c16="http://schemas.microsoft.com/office/drawing/2014/chart" uri="{C3380CC4-5D6E-409C-BE32-E72D297353CC}">
                    <c16:uniqueId val="{00000006-D09C-4D46-99C3-4B08DCDAC5FB}"/>
                  </c:ext>
                </c:extLst>
              </c15:ser>
            </c15:filteredScatterSeries>
            <c15:filteredScatterSeries>
              <c15:ser>
                <c:idx val="5"/>
                <c:order val="5"/>
                <c:tx>
                  <c:strRef>
                    <c:extLst xmlns:c15="http://schemas.microsoft.com/office/drawing/2012/chart">
                      <c:ext xmlns:c15="http://schemas.microsoft.com/office/drawing/2012/chart" uri="{02D57815-91ED-43cb-92C2-25804820EDAC}">
                        <c15:formulaRef>
                          <c15:sqref>Sheet1!$A$57</c15:sqref>
                        </c15:formulaRef>
                      </c:ext>
                    </c:extLst>
                    <c:strCache>
                      <c:ptCount val="1"/>
                      <c:pt idx="0">
                        <c:v>2x 40A Competitor 1 Rgon 33 Rgoff22</c:v>
                      </c:pt>
                    </c:strCache>
                  </c:strRef>
                </c:tx>
                <c:spPr>
                  <a:ln w="19050" cap="rnd">
                    <a:solidFill>
                      <a:schemeClr val="accent6"/>
                    </a:solidFill>
                    <a:round/>
                  </a:ln>
                  <a:effectLst/>
                </c:spPr>
                <c:marker>
                  <c:symbol val="none"/>
                </c:marker>
                <c:xVal>
                  <c:numRef>
                    <c:extLst xmlns:c15="http://schemas.microsoft.com/office/drawing/2012/chart">
                      <c:ext xmlns:c15="http://schemas.microsoft.com/office/drawing/2012/chart" uri="{02D57815-91ED-43cb-92C2-25804820EDAC}">
                        <c15:formulaRef>
                          <c15:sqref>Sheet1!$D$65:$D$70</c15:sqref>
                        </c15:formulaRef>
                      </c:ext>
                    </c:extLst>
                    <c:numCache>
                      <c:formatCode>General</c:formatCode>
                      <c:ptCount val="6"/>
                      <c:pt idx="0">
                        <c:v>10.119999999999999</c:v>
                      </c:pt>
                      <c:pt idx="1">
                        <c:v>11.6</c:v>
                      </c:pt>
                      <c:pt idx="2">
                        <c:v>13.4</c:v>
                      </c:pt>
                      <c:pt idx="3">
                        <c:v>17.3</c:v>
                      </c:pt>
                      <c:pt idx="4">
                        <c:v>21.7</c:v>
                      </c:pt>
                      <c:pt idx="5">
                        <c:v>24.3</c:v>
                      </c:pt>
                    </c:numCache>
                  </c:numRef>
                </c:xVal>
                <c:yVal>
                  <c:numRef>
                    <c:extLst xmlns:c15="http://schemas.microsoft.com/office/drawing/2012/chart">
                      <c:ext xmlns:c15="http://schemas.microsoft.com/office/drawing/2012/chart" uri="{02D57815-91ED-43cb-92C2-25804820EDAC}">
                        <c15:formulaRef>
                          <c15:sqref>Sheet1!$E$65:$E$70</c15:sqref>
                        </c15:formulaRef>
                      </c:ext>
                    </c:extLst>
                    <c:numCache>
                      <c:formatCode>0.000</c:formatCode>
                      <c:ptCount val="6"/>
                      <c:pt idx="0">
                        <c:v>69.7</c:v>
                      </c:pt>
                      <c:pt idx="1">
                        <c:v>73.3</c:v>
                      </c:pt>
                      <c:pt idx="2">
                        <c:v>77</c:v>
                      </c:pt>
                      <c:pt idx="3">
                        <c:v>85</c:v>
                      </c:pt>
                      <c:pt idx="4">
                        <c:v>93.3</c:v>
                      </c:pt>
                      <c:pt idx="5" formatCode="General">
                        <c:v>99.7</c:v>
                      </c:pt>
                    </c:numCache>
                  </c:numRef>
                </c:yVal>
                <c:smooth val="1"/>
                <c:extLst xmlns:c15="http://schemas.microsoft.com/office/drawing/2012/chart">
                  <c:ext xmlns:c16="http://schemas.microsoft.com/office/drawing/2014/chart" uri="{C3380CC4-5D6E-409C-BE32-E72D297353CC}">
                    <c16:uniqueId val="{00000003-D09C-4D46-99C3-4B08DCDAC5FB}"/>
                  </c:ext>
                </c:extLst>
              </c15:ser>
            </c15:filteredScatterSeries>
            <c15:filteredScatterSeries>
              <c15:ser>
                <c:idx val="6"/>
                <c:order val="6"/>
                <c:tx>
                  <c:strRef>
                    <c:extLst xmlns:c15="http://schemas.microsoft.com/office/drawing/2012/chart">
                      <c:ext xmlns:c15="http://schemas.microsoft.com/office/drawing/2012/chart" uri="{02D57815-91ED-43cb-92C2-25804820EDAC}">
                        <c15:formulaRef>
                          <c15:sqref>Sheet1!$A$71</c15:sqref>
                        </c15:formulaRef>
                      </c:ext>
                    </c:extLst>
                    <c:strCache>
                      <c:ptCount val="1"/>
                      <c:pt idx="0">
                        <c:v>2x 40A Competitor 2 Rgon 47 Rgoff 47</c:v>
                      </c:pt>
                    </c:strCache>
                  </c:strRef>
                </c:tx>
                <c:spPr>
                  <a:ln w="19050" cap="rnd">
                    <a:solidFill>
                      <a:schemeClr val="accent1">
                        <a:lumMod val="60000"/>
                      </a:schemeClr>
                    </a:solidFill>
                    <a:round/>
                  </a:ln>
                  <a:effectLst/>
                </c:spPr>
                <c:marker>
                  <c:symbol val="none"/>
                </c:marker>
                <c:xVal>
                  <c:numRef>
                    <c:extLst xmlns:c15="http://schemas.microsoft.com/office/drawing/2012/chart">
                      <c:ext xmlns:c15="http://schemas.microsoft.com/office/drawing/2012/chart" uri="{02D57815-91ED-43cb-92C2-25804820EDAC}">
                        <c15:formulaRef>
                          <c15:sqref>Sheet1!$D$77:$D$82</c15:sqref>
                        </c15:formulaRef>
                      </c:ext>
                    </c:extLst>
                    <c:numCache>
                      <c:formatCode>General</c:formatCode>
                      <c:ptCount val="6"/>
                      <c:pt idx="0">
                        <c:v>10.6</c:v>
                      </c:pt>
                      <c:pt idx="1">
                        <c:v>13.9</c:v>
                      </c:pt>
                      <c:pt idx="2">
                        <c:v>17.7</c:v>
                      </c:pt>
                      <c:pt idx="3">
                        <c:v>22.2</c:v>
                      </c:pt>
                      <c:pt idx="4">
                        <c:v>27.1</c:v>
                      </c:pt>
                      <c:pt idx="5">
                        <c:v>30</c:v>
                      </c:pt>
                    </c:numCache>
                  </c:numRef>
                </c:xVal>
                <c:yVal>
                  <c:numRef>
                    <c:extLst xmlns:c15="http://schemas.microsoft.com/office/drawing/2012/chart">
                      <c:ext xmlns:c15="http://schemas.microsoft.com/office/drawing/2012/chart" uri="{02D57815-91ED-43cb-92C2-25804820EDAC}">
                        <c15:formulaRef>
                          <c15:sqref>Sheet1!$E$77:$E$82</c15:sqref>
                        </c15:formulaRef>
                      </c:ext>
                    </c:extLst>
                    <c:numCache>
                      <c:formatCode>0.000</c:formatCode>
                      <c:ptCount val="6"/>
                      <c:pt idx="0">
                        <c:v>61</c:v>
                      </c:pt>
                      <c:pt idx="1">
                        <c:v>65.7</c:v>
                      </c:pt>
                      <c:pt idx="2">
                        <c:v>72.400000000000006</c:v>
                      </c:pt>
                      <c:pt idx="3">
                        <c:v>80</c:v>
                      </c:pt>
                      <c:pt idx="4">
                        <c:v>90.7</c:v>
                      </c:pt>
                      <c:pt idx="5">
                        <c:v>98.6</c:v>
                      </c:pt>
                    </c:numCache>
                  </c:numRef>
                </c:yVal>
                <c:smooth val="1"/>
                <c:extLst xmlns:c15="http://schemas.microsoft.com/office/drawing/2012/chart">
                  <c:ext xmlns:c16="http://schemas.microsoft.com/office/drawing/2014/chart" uri="{C3380CC4-5D6E-409C-BE32-E72D297353CC}">
                    <c16:uniqueId val="{00000004-D09C-4D46-99C3-4B08DCDAC5FB}"/>
                  </c:ext>
                </c:extLst>
              </c15:ser>
            </c15:filteredScatterSeries>
          </c:ext>
        </c:extLst>
      </c:scatterChart>
      <c:valAx>
        <c:axId val="1201539759"/>
        <c:scaling>
          <c:orientation val="minMax"/>
          <c:max val="35"/>
          <c:min val="15"/>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r>
                  <a:rPr lang="en-US" dirty="0"/>
                  <a:t>Output current [A]</a:t>
                </a:r>
              </a:p>
            </c:rich>
          </c:tx>
          <c:overlay val="0"/>
          <c:spPr>
            <a:noFill/>
            <a:ln>
              <a:noFill/>
            </a:ln>
            <a:effectLst/>
          </c:spPr>
          <c:txPr>
            <a:bodyPr rot="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crossAx val="1201544751"/>
        <c:crosses val="autoZero"/>
        <c:crossBetween val="midCat"/>
        <c:majorUnit val="2"/>
      </c:valAx>
      <c:valAx>
        <c:axId val="1201544751"/>
        <c:scaling>
          <c:orientation val="minMax"/>
          <c:max val="100"/>
          <c:min val="5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r>
                  <a:rPr lang="en-US" dirty="0"/>
                  <a:t>Case Temperature</a:t>
                </a:r>
              </a:p>
            </c:rich>
          </c:tx>
          <c:overlay val="0"/>
          <c:spPr>
            <a:noFill/>
            <a:ln>
              <a:noFill/>
            </a:ln>
            <a:effectLst/>
          </c:spPr>
          <c:txPr>
            <a:bodyPr rot="-540000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crossAx val="1201539759"/>
        <c:crosses val="autoZero"/>
        <c:crossBetween val="midCat"/>
      </c:valAx>
      <c:spPr>
        <a:noFill/>
        <a:ln>
          <a:noFill/>
        </a:ln>
        <a:effectLst/>
      </c:spPr>
    </c:plotArea>
    <c:legend>
      <c:legendPos val="tr"/>
      <c:legendEntry>
        <c:idx val="0"/>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egendEntry>
        <c:idx val="1"/>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egendEntry>
        <c:idx val="2"/>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ayout>
        <c:manualLayout>
          <c:xMode val="edge"/>
          <c:yMode val="edge"/>
          <c:x val="0.71341865823485273"/>
          <c:y val="0.2152614874774729"/>
          <c:w val="0.27335455867501657"/>
          <c:h val="0.1642947432191742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a:t>IvF</a:t>
            </a:r>
            <a:r>
              <a:rPr lang="en-US" sz="1800" baseline="0"/>
              <a:t> Chart</a:t>
            </a:r>
            <a:endParaRPr lang="en-US"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title>
    <c:autoTitleDeleted val="0"/>
    <c:plotArea>
      <c:layout>
        <c:manualLayout>
          <c:layoutTarget val="inner"/>
          <c:xMode val="edge"/>
          <c:yMode val="edge"/>
          <c:x val="6.0581083889440508E-2"/>
          <c:y val="8.3938663817226325E-2"/>
          <c:w val="0.47288050149104643"/>
          <c:h val="0.81013028399798104"/>
        </c:manualLayout>
      </c:layout>
      <c:scatterChart>
        <c:scatterStyle val="smoothMarker"/>
        <c:varyColors val="0"/>
        <c:ser>
          <c:idx val="0"/>
          <c:order val="0"/>
          <c:tx>
            <c:strRef>
              <c:f>Data!$A$1</c:f>
              <c:strCache>
                <c:ptCount val="1"/>
                <c:pt idx="0">
                  <c:v>1200V IKZA40N120CH7, 1X</c:v>
                </c:pt>
              </c:strCache>
            </c:strRef>
          </c:tx>
          <c:spPr>
            <a:ln w="28575" cap="rnd">
              <a:solidFill>
                <a:srgbClr val="0A8276"/>
              </a:solidFill>
              <a:round/>
            </a:ln>
            <a:effectLst/>
          </c:spPr>
          <c:marker>
            <c:symbol val="none"/>
          </c:marker>
          <c:xVal>
            <c:numRef>
              <c:f>Data!$A$5:$A$11</c:f>
              <c:numCache>
                <c:formatCode>0</c:formatCode>
                <c:ptCount val="7"/>
                <c:pt idx="0">
                  <c:v>10</c:v>
                </c:pt>
                <c:pt idx="1">
                  <c:v>20</c:v>
                </c:pt>
                <c:pt idx="2">
                  <c:v>30</c:v>
                </c:pt>
                <c:pt idx="3">
                  <c:v>40</c:v>
                </c:pt>
                <c:pt idx="4">
                  <c:v>50</c:v>
                </c:pt>
                <c:pt idx="5">
                  <c:v>75</c:v>
                </c:pt>
                <c:pt idx="6">
                  <c:v>100</c:v>
                </c:pt>
              </c:numCache>
            </c:numRef>
          </c:xVal>
          <c:yVal>
            <c:numRef>
              <c:f>Data!$D$5:$D$11</c:f>
              <c:numCache>
                <c:formatCode>0.0</c:formatCode>
                <c:ptCount val="7"/>
                <c:pt idx="0">
                  <c:v>34.6</c:v>
                </c:pt>
                <c:pt idx="1">
                  <c:v>29</c:v>
                </c:pt>
                <c:pt idx="2">
                  <c:v>23.4</c:v>
                </c:pt>
                <c:pt idx="3">
                  <c:v>19</c:v>
                </c:pt>
                <c:pt idx="4">
                  <c:v>15.6</c:v>
                </c:pt>
                <c:pt idx="5">
                  <c:v>10.1</c:v>
                </c:pt>
                <c:pt idx="6">
                  <c:v>6.83</c:v>
                </c:pt>
              </c:numCache>
            </c:numRef>
          </c:yVal>
          <c:smooth val="1"/>
          <c:extLst>
            <c:ext xmlns:c16="http://schemas.microsoft.com/office/drawing/2014/chart" uri="{C3380CC4-5D6E-409C-BE32-E72D297353CC}">
              <c16:uniqueId val="{00000000-EB2C-4873-8C1E-F38D68B99301}"/>
            </c:ext>
          </c:extLst>
        </c:ser>
        <c:ser>
          <c:idx val="2"/>
          <c:order val="4"/>
          <c:tx>
            <c:strRef>
              <c:f>Data!$A$26</c:f>
              <c:strCache>
                <c:ptCount val="1"/>
                <c:pt idx="0">
                  <c:v>1200V IMZ120R060M1H CoolSiC, 1X</c:v>
                </c:pt>
              </c:strCache>
            </c:strRef>
          </c:tx>
          <c:spPr>
            <a:ln w="28575" cap="rnd">
              <a:solidFill>
                <a:schemeClr val="accent4"/>
              </a:solidFill>
              <a:round/>
            </a:ln>
            <a:effectLst/>
          </c:spPr>
          <c:marker>
            <c:symbol val="none"/>
          </c:marker>
          <c:xVal>
            <c:numRef>
              <c:f>Data!$A$30:$A$36</c:f>
              <c:numCache>
                <c:formatCode>0</c:formatCode>
                <c:ptCount val="7"/>
                <c:pt idx="0">
                  <c:v>10</c:v>
                </c:pt>
                <c:pt idx="1">
                  <c:v>20</c:v>
                </c:pt>
                <c:pt idx="2">
                  <c:v>30</c:v>
                </c:pt>
                <c:pt idx="3">
                  <c:v>40</c:v>
                </c:pt>
                <c:pt idx="4">
                  <c:v>50</c:v>
                </c:pt>
                <c:pt idx="5">
                  <c:v>75</c:v>
                </c:pt>
                <c:pt idx="6">
                  <c:v>100</c:v>
                </c:pt>
              </c:numCache>
            </c:numRef>
          </c:xVal>
          <c:yVal>
            <c:numRef>
              <c:f>Data!$D$30:$D$36</c:f>
              <c:numCache>
                <c:formatCode>0.0</c:formatCode>
                <c:ptCount val="7"/>
                <c:pt idx="0">
                  <c:v>19.73</c:v>
                </c:pt>
                <c:pt idx="1">
                  <c:v>19.559999999999999</c:v>
                </c:pt>
                <c:pt idx="2">
                  <c:v>19.399999999999999</c:v>
                </c:pt>
                <c:pt idx="3">
                  <c:v>19.245000000000001</c:v>
                </c:pt>
                <c:pt idx="4">
                  <c:v>19.07</c:v>
                </c:pt>
                <c:pt idx="5">
                  <c:v>18.149999999999999</c:v>
                </c:pt>
                <c:pt idx="6">
                  <c:v>17.2</c:v>
                </c:pt>
              </c:numCache>
            </c:numRef>
          </c:yVal>
          <c:smooth val="1"/>
          <c:extLst>
            <c:ext xmlns:c16="http://schemas.microsoft.com/office/drawing/2014/chart" uri="{C3380CC4-5D6E-409C-BE32-E72D297353CC}">
              <c16:uniqueId val="{00000002-EB2C-4873-8C1E-F38D68B99301}"/>
            </c:ext>
          </c:extLst>
        </c:ser>
        <c:dLbls>
          <c:showLegendKey val="0"/>
          <c:showVal val="0"/>
          <c:showCatName val="0"/>
          <c:showSerName val="0"/>
          <c:showPercent val="0"/>
          <c:showBubbleSize val="0"/>
        </c:dLbls>
        <c:axId val="422483871"/>
        <c:axId val="422651727"/>
        <c:extLst>
          <c:ext xmlns:c15="http://schemas.microsoft.com/office/drawing/2012/chart" uri="{02D57815-91ED-43cb-92C2-25804820EDAC}">
            <c15:filteredScatterSeries>
              <c15:ser>
                <c:idx val="8"/>
                <c:order val="2"/>
                <c:tx>
                  <c:strRef>
                    <c:extLst>
                      <c:ext uri="{02D57815-91ED-43cb-92C2-25804820EDAC}">
                        <c15:formulaRef>
                          <c15:sqref>Data!$A$13</c15:sqref>
                        </c15:formulaRef>
                      </c:ext>
                    </c:extLst>
                    <c:strCache>
                      <c:ptCount val="1"/>
                      <c:pt idx="0">
                        <c:v>1200V 40A IGBT7 H7, 2X</c:v>
                      </c:pt>
                    </c:strCache>
                  </c:strRef>
                </c:tx>
                <c:spPr>
                  <a:ln w="28575" cap="rnd">
                    <a:solidFill>
                      <a:schemeClr val="accent6"/>
                    </a:solidFill>
                    <a:round/>
                  </a:ln>
                  <a:effectLst/>
                </c:spPr>
                <c:marker>
                  <c:symbol val="none"/>
                </c:marker>
                <c:xVal>
                  <c:numRef>
                    <c:extLst>
                      <c:ext uri="{02D57815-91ED-43cb-92C2-25804820EDAC}">
                        <c15:formulaRef>
                          <c15:sqref>Data!$A$17:$A$23</c15:sqref>
                        </c15:formulaRef>
                      </c:ext>
                    </c:extLst>
                    <c:numCache>
                      <c:formatCode>0</c:formatCode>
                      <c:ptCount val="7"/>
                      <c:pt idx="0">
                        <c:v>10</c:v>
                      </c:pt>
                      <c:pt idx="1">
                        <c:v>20</c:v>
                      </c:pt>
                      <c:pt idx="2">
                        <c:v>30</c:v>
                      </c:pt>
                      <c:pt idx="3">
                        <c:v>40</c:v>
                      </c:pt>
                      <c:pt idx="4">
                        <c:v>50</c:v>
                      </c:pt>
                      <c:pt idx="5">
                        <c:v>75</c:v>
                      </c:pt>
                      <c:pt idx="6">
                        <c:v>100</c:v>
                      </c:pt>
                    </c:numCache>
                  </c:numRef>
                </c:xVal>
                <c:yVal>
                  <c:numRef>
                    <c:extLst>
                      <c:ext uri="{02D57815-91ED-43cb-92C2-25804820EDAC}">
                        <c15:formulaRef>
                          <c15:sqref>Data!$D$17:$D$23</c15:sqref>
                        </c15:formulaRef>
                      </c:ext>
                    </c:extLst>
                    <c:numCache>
                      <c:formatCode>0.0</c:formatCode>
                      <c:ptCount val="7"/>
                      <c:pt idx="0">
                        <c:v>45.1</c:v>
                      </c:pt>
                      <c:pt idx="1">
                        <c:v>35.200000000000003</c:v>
                      </c:pt>
                      <c:pt idx="2">
                        <c:v>27.1</c:v>
                      </c:pt>
                      <c:pt idx="3">
                        <c:v>21.1</c:v>
                      </c:pt>
                      <c:pt idx="4">
                        <c:v>16.53</c:v>
                      </c:pt>
                      <c:pt idx="5">
                        <c:v>9.9</c:v>
                      </c:pt>
                      <c:pt idx="6">
                        <c:v>6.61</c:v>
                      </c:pt>
                    </c:numCache>
                  </c:numRef>
                </c:yVal>
                <c:smooth val="1"/>
                <c:extLst>
                  <c:ext xmlns:c16="http://schemas.microsoft.com/office/drawing/2014/chart" uri="{C3380CC4-5D6E-409C-BE32-E72D297353CC}">
                    <c16:uniqueId val="{00000001-EB2C-4873-8C1E-F38D68B99301}"/>
                  </c:ext>
                </c:extLst>
              </c15:ser>
            </c15:filteredScatterSeries>
            <c15:filteredScatterSeries>
              <c15:ser>
                <c:idx val="4"/>
                <c:order val="6"/>
                <c:tx>
                  <c:strRef>
                    <c:extLst xmlns:c15="http://schemas.microsoft.com/office/drawing/2012/chart">
                      <c:ext xmlns:c15="http://schemas.microsoft.com/office/drawing/2012/chart" uri="{02D57815-91ED-43cb-92C2-25804820EDAC}">
                        <c15:formulaRef>
                          <c15:sqref>Data!$A$39</c15:sqref>
                        </c15:formulaRef>
                      </c:ext>
                    </c:extLst>
                    <c:strCache>
                      <c:ptCount val="1"/>
                      <c:pt idx="0">
                        <c:v>1200V IMZA120R040M1H CoolSiC, 1X</c:v>
                      </c:pt>
                    </c:strCache>
                  </c:strRef>
                </c:tx>
                <c:spPr>
                  <a:ln w="19050" cap="rnd">
                    <a:solidFill>
                      <a:schemeClr val="tx2"/>
                    </a:solidFill>
                    <a:round/>
                  </a:ln>
                  <a:effectLst/>
                </c:spPr>
                <c:marker>
                  <c:symbol val="none"/>
                </c:marker>
                <c:xVal>
                  <c:numRef>
                    <c:extLst xmlns:c15="http://schemas.microsoft.com/office/drawing/2012/chart">
                      <c:ext xmlns:c15="http://schemas.microsoft.com/office/drawing/2012/chart" uri="{02D57815-91ED-43cb-92C2-25804820EDAC}">
                        <c15:formulaRef>
                          <c15:sqref>Data!$A$43:$A$49</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D$43:$D$49</c15:sqref>
                        </c15:formulaRef>
                      </c:ext>
                    </c:extLst>
                    <c:numCache>
                      <c:formatCode>0.0</c:formatCode>
                      <c:ptCount val="7"/>
                      <c:pt idx="0">
                        <c:v>24.65</c:v>
                      </c:pt>
                      <c:pt idx="1">
                        <c:v>24.4</c:v>
                      </c:pt>
                      <c:pt idx="2">
                        <c:v>24.15</c:v>
                      </c:pt>
                      <c:pt idx="3">
                        <c:v>23.9</c:v>
                      </c:pt>
                      <c:pt idx="4">
                        <c:v>23.65</c:v>
                      </c:pt>
                      <c:pt idx="5">
                        <c:v>22.9</c:v>
                      </c:pt>
                      <c:pt idx="6">
                        <c:v>21.83</c:v>
                      </c:pt>
                    </c:numCache>
                  </c:numRef>
                </c:yVal>
                <c:smooth val="1"/>
                <c:extLst xmlns:c15="http://schemas.microsoft.com/office/drawing/2012/chart">
                  <c:ext xmlns:c16="http://schemas.microsoft.com/office/drawing/2014/chart" uri="{C3380CC4-5D6E-409C-BE32-E72D297353CC}">
                    <c16:uniqueId val="{00000003-EB2C-4873-8C1E-F38D68B99301}"/>
                  </c:ext>
                </c:extLst>
              </c15:ser>
            </c15:filteredScatterSeries>
            <c15:filteredScatterSeries>
              <c15:ser>
                <c:idx val="6"/>
                <c:order val="8"/>
                <c:tx>
                  <c:strRef>
                    <c:extLst xmlns:c15="http://schemas.microsoft.com/office/drawing/2012/chart">
                      <c:ext xmlns:c15="http://schemas.microsoft.com/office/drawing/2012/chart" uri="{02D57815-91ED-43cb-92C2-25804820EDAC}">
                        <c15:formulaRef>
                          <c15:sqref>Data!$A$52</c15:sqref>
                        </c15:formulaRef>
                      </c:ext>
                    </c:extLst>
                    <c:strCache>
                      <c:ptCount val="1"/>
                      <c:pt idx="0">
                        <c:v>1200V IMZA120R020M1H CoolSiC, 1X</c:v>
                      </c:pt>
                    </c:strCache>
                  </c:strRef>
                </c:tx>
                <c:spPr>
                  <a:ln w="19050" cap="rnd">
                    <a:solidFill>
                      <a:schemeClr val="accent2"/>
                    </a:solidFill>
                    <a:round/>
                  </a:ln>
                  <a:effectLst/>
                </c:spPr>
                <c:marker>
                  <c:symbol val="none"/>
                </c:marker>
                <c:xVal>
                  <c:numRef>
                    <c:extLst xmlns:c15="http://schemas.microsoft.com/office/drawing/2012/chart">
                      <c:ext xmlns:c15="http://schemas.microsoft.com/office/drawing/2012/chart" uri="{02D57815-91ED-43cb-92C2-25804820EDAC}">
                        <c15:formulaRef>
                          <c15:sqref>Data!$A$56:$A$62</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D$56:$D$62</c15:sqref>
                        </c15:formulaRef>
                      </c:ext>
                    </c:extLst>
                    <c:numCache>
                      <c:formatCode>0.0</c:formatCode>
                      <c:ptCount val="7"/>
                      <c:pt idx="0">
                        <c:v>39.1</c:v>
                      </c:pt>
                      <c:pt idx="1">
                        <c:v>38.450000000000003</c:v>
                      </c:pt>
                      <c:pt idx="2">
                        <c:v>37.75</c:v>
                      </c:pt>
                      <c:pt idx="3">
                        <c:v>37.1</c:v>
                      </c:pt>
                      <c:pt idx="4">
                        <c:v>36.4</c:v>
                      </c:pt>
                      <c:pt idx="5">
                        <c:v>33.9</c:v>
                      </c:pt>
                      <c:pt idx="6">
                        <c:v>31.45</c:v>
                      </c:pt>
                    </c:numCache>
                  </c:numRef>
                </c:yVal>
                <c:smooth val="1"/>
                <c:extLst xmlns:c15="http://schemas.microsoft.com/office/drawing/2012/chart">
                  <c:ext xmlns:c16="http://schemas.microsoft.com/office/drawing/2014/chart" uri="{C3380CC4-5D6E-409C-BE32-E72D297353CC}">
                    <c16:uniqueId val="{00000004-EB2C-4873-8C1E-F38D68B99301}"/>
                  </c:ext>
                </c:extLst>
              </c15:ser>
            </c15:filteredScatterSeries>
            <c15:filteredScatterSeries>
              <c15:ser>
                <c:idx val="10"/>
                <c:order val="10"/>
                <c:tx>
                  <c:strRef>
                    <c:extLst xmlns:c15="http://schemas.microsoft.com/office/drawing/2012/chart">
                      <c:ext xmlns:c15="http://schemas.microsoft.com/office/drawing/2012/chart" uri="{02D57815-91ED-43cb-92C2-25804820EDAC}">
                        <c15:formulaRef>
                          <c15:sqref>Data!$A$69</c15:sqref>
                        </c15:formulaRef>
                      </c:ext>
                    </c:extLst>
                    <c:strCache>
                      <c:ptCount val="1"/>
                      <c:pt idx="0">
                        <c:v>1200V 40A IGBT7 H7, 1X_1200V Vin</c:v>
                      </c:pt>
                    </c:strCache>
                  </c:strRef>
                </c:tx>
                <c:spPr>
                  <a:ln w="19050" cap="rnd">
                    <a:solidFill>
                      <a:schemeClr val="accent5"/>
                    </a:solidFill>
                    <a:round/>
                  </a:ln>
                  <a:effectLst/>
                </c:spPr>
                <c:marker>
                  <c:symbol val="none"/>
                </c:marker>
                <c:xVal>
                  <c:numRef>
                    <c:extLst xmlns:c15="http://schemas.microsoft.com/office/drawing/2012/chart">
                      <c:ext xmlns:c15="http://schemas.microsoft.com/office/drawing/2012/chart" uri="{02D57815-91ED-43cb-92C2-25804820EDAC}">
                        <c15:formulaRef>
                          <c15:sqref>Data!$A$73:$A$79</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D$73:$D$79</c15:sqref>
                        </c15:formulaRef>
                      </c:ext>
                    </c:extLst>
                    <c:numCache>
                      <c:formatCode>0.0</c:formatCode>
                      <c:ptCount val="7"/>
                      <c:pt idx="0">
                        <c:v>30.85</c:v>
                      </c:pt>
                      <c:pt idx="1">
                        <c:v>26.6</c:v>
                      </c:pt>
                      <c:pt idx="2">
                        <c:v>22.5</c:v>
                      </c:pt>
                      <c:pt idx="3">
                        <c:v>18.75</c:v>
                      </c:pt>
                      <c:pt idx="4">
                        <c:v>15.5</c:v>
                      </c:pt>
                      <c:pt idx="5">
                        <c:v>9.9700000000000006</c:v>
                      </c:pt>
                      <c:pt idx="6">
                        <c:v>6.7149999999999999</c:v>
                      </c:pt>
                    </c:numCache>
                  </c:numRef>
                </c:yVal>
                <c:smooth val="1"/>
                <c:extLst xmlns:c15="http://schemas.microsoft.com/office/drawing/2012/chart">
                  <c:ext xmlns:c16="http://schemas.microsoft.com/office/drawing/2014/chart" uri="{C3380CC4-5D6E-409C-BE32-E72D297353CC}">
                    <c16:uniqueId val="{00000005-EB2C-4873-8C1E-F38D68B99301}"/>
                  </c:ext>
                </c:extLst>
              </c15:ser>
            </c15:filteredScatterSeries>
            <c15:filteredScatterSeries>
              <c15:ser>
                <c:idx val="12"/>
                <c:order val="12"/>
                <c:tx>
                  <c:strRef>
                    <c:extLst xmlns:c15="http://schemas.microsoft.com/office/drawing/2012/chart">
                      <c:ext xmlns:c15="http://schemas.microsoft.com/office/drawing/2012/chart" uri="{02D57815-91ED-43cb-92C2-25804820EDAC}">
                        <c15:formulaRef>
                          <c15:sqref>Data!$A$82</c15:sqref>
                        </c15:formulaRef>
                      </c:ext>
                    </c:extLst>
                    <c:strCache>
                      <c:ptCount val="1"/>
                      <c:pt idx="0">
                        <c:v>1200V IMZ120R060M1H CoolSiC, 1X_1200V Vin</c:v>
                      </c:pt>
                    </c:strCache>
                  </c:strRef>
                </c:tx>
                <c:spPr>
                  <a:ln w="19050" cap="rnd">
                    <a:solidFill>
                      <a:schemeClr val="accent4"/>
                    </a:solidFill>
                    <a:round/>
                  </a:ln>
                  <a:effectLst/>
                </c:spPr>
                <c:marker>
                  <c:symbol val="none"/>
                </c:marker>
                <c:xVal>
                  <c:numRef>
                    <c:extLst xmlns:c15="http://schemas.microsoft.com/office/drawing/2012/chart">
                      <c:ext xmlns:c15="http://schemas.microsoft.com/office/drawing/2012/chart" uri="{02D57815-91ED-43cb-92C2-25804820EDAC}">
                        <c15:formulaRef>
                          <c15:sqref>Data!$A$86:$A$92</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D$86:$D$92</c15:sqref>
                        </c15:formulaRef>
                      </c:ext>
                    </c:extLst>
                    <c:numCache>
                      <c:formatCode>0.0</c:formatCode>
                      <c:ptCount val="7"/>
                      <c:pt idx="0">
                        <c:v>19.850000000000001</c:v>
                      </c:pt>
                      <c:pt idx="1">
                        <c:v>19.649999999999999</c:v>
                      </c:pt>
                      <c:pt idx="2">
                        <c:v>19.46</c:v>
                      </c:pt>
                      <c:pt idx="3">
                        <c:v>19.260000000000002</c:v>
                      </c:pt>
                      <c:pt idx="4">
                        <c:v>19.059999999999999</c:v>
                      </c:pt>
                      <c:pt idx="5">
                        <c:v>18.555</c:v>
                      </c:pt>
                      <c:pt idx="6">
                        <c:v>17.62</c:v>
                      </c:pt>
                    </c:numCache>
                  </c:numRef>
                </c:yVal>
                <c:smooth val="1"/>
                <c:extLst xmlns:c15="http://schemas.microsoft.com/office/drawing/2012/chart">
                  <c:ext xmlns:c16="http://schemas.microsoft.com/office/drawing/2014/chart" uri="{C3380CC4-5D6E-409C-BE32-E72D297353CC}">
                    <c16:uniqueId val="{00000006-EB2C-4873-8C1E-F38D68B99301}"/>
                  </c:ext>
                </c:extLst>
              </c15:ser>
            </c15:filteredScatterSeries>
          </c:ext>
        </c:extLst>
      </c:scatterChart>
      <c:scatterChart>
        <c:scatterStyle val="smoothMarker"/>
        <c:varyColors val="0"/>
        <c:ser>
          <c:idx val="1"/>
          <c:order val="1"/>
          <c:tx>
            <c:strRef>
              <c:f>Data!$A$1</c:f>
              <c:strCache>
                <c:ptCount val="1"/>
                <c:pt idx="0">
                  <c:v>1200V IKZA40N120CH7, 1X</c:v>
                </c:pt>
              </c:strCache>
            </c:strRef>
          </c:tx>
          <c:spPr>
            <a:ln w="28575" cap="rnd">
              <a:solidFill>
                <a:srgbClr val="0A8276"/>
              </a:solidFill>
              <a:prstDash val="dash"/>
              <a:round/>
            </a:ln>
            <a:effectLst/>
          </c:spPr>
          <c:marker>
            <c:symbol val="none"/>
          </c:marker>
          <c:xVal>
            <c:numRef>
              <c:f>Data!$A$5:$A$11</c:f>
              <c:numCache>
                <c:formatCode>0</c:formatCode>
                <c:ptCount val="7"/>
                <c:pt idx="0">
                  <c:v>10</c:v>
                </c:pt>
                <c:pt idx="1">
                  <c:v>20</c:v>
                </c:pt>
                <c:pt idx="2">
                  <c:v>30</c:v>
                </c:pt>
                <c:pt idx="3">
                  <c:v>40</c:v>
                </c:pt>
                <c:pt idx="4">
                  <c:v>50</c:v>
                </c:pt>
                <c:pt idx="5">
                  <c:v>75</c:v>
                </c:pt>
                <c:pt idx="6">
                  <c:v>100</c:v>
                </c:pt>
              </c:numCache>
            </c:numRef>
          </c:xVal>
          <c:yVal>
            <c:numRef>
              <c:f>Data!$M$5:$M$11</c:f>
              <c:numCache>
                <c:formatCode>0.00%</c:formatCode>
                <c:ptCount val="7"/>
                <c:pt idx="0">
                  <c:v>0.98087999999999997</c:v>
                </c:pt>
                <c:pt idx="1">
                  <c:v>0.97655999999999998</c:v>
                </c:pt>
                <c:pt idx="2">
                  <c:v>0.97177000000000002</c:v>
                </c:pt>
                <c:pt idx="3">
                  <c:v>0.96580999999999995</c:v>
                </c:pt>
                <c:pt idx="4">
                  <c:v>0.95864000000000005</c:v>
                </c:pt>
                <c:pt idx="5">
                  <c:v>0.93630000000000002</c:v>
                </c:pt>
                <c:pt idx="6">
                  <c:v>0.90754000000000001</c:v>
                </c:pt>
              </c:numCache>
            </c:numRef>
          </c:yVal>
          <c:smooth val="1"/>
          <c:extLst>
            <c:ext xmlns:c16="http://schemas.microsoft.com/office/drawing/2014/chart" uri="{C3380CC4-5D6E-409C-BE32-E72D297353CC}">
              <c16:uniqueId val="{00000007-EB2C-4873-8C1E-F38D68B99301}"/>
            </c:ext>
          </c:extLst>
        </c:ser>
        <c:ser>
          <c:idx val="3"/>
          <c:order val="5"/>
          <c:tx>
            <c:strRef>
              <c:f>Data!$A$26</c:f>
              <c:strCache>
                <c:ptCount val="1"/>
                <c:pt idx="0">
                  <c:v>1200V IMZ120R060M1H CoolSiC, 1X</c:v>
                </c:pt>
              </c:strCache>
            </c:strRef>
          </c:tx>
          <c:spPr>
            <a:ln w="28575" cap="rnd">
              <a:solidFill>
                <a:schemeClr val="accent4"/>
              </a:solidFill>
              <a:prstDash val="dash"/>
              <a:round/>
            </a:ln>
            <a:effectLst/>
          </c:spPr>
          <c:marker>
            <c:symbol val="none"/>
          </c:marker>
          <c:xVal>
            <c:numRef>
              <c:f>Data!$A$30:$A$36</c:f>
              <c:numCache>
                <c:formatCode>0</c:formatCode>
                <c:ptCount val="7"/>
                <c:pt idx="0">
                  <c:v>10</c:v>
                </c:pt>
                <c:pt idx="1">
                  <c:v>20</c:v>
                </c:pt>
                <c:pt idx="2">
                  <c:v>30</c:v>
                </c:pt>
                <c:pt idx="3">
                  <c:v>40</c:v>
                </c:pt>
                <c:pt idx="4">
                  <c:v>50</c:v>
                </c:pt>
                <c:pt idx="5">
                  <c:v>75</c:v>
                </c:pt>
                <c:pt idx="6">
                  <c:v>100</c:v>
                </c:pt>
              </c:numCache>
            </c:numRef>
          </c:xVal>
          <c:yVal>
            <c:numRef>
              <c:f>Data!$M$30:$M$36</c:f>
              <c:numCache>
                <c:formatCode>0.00%</c:formatCode>
                <c:ptCount val="7"/>
                <c:pt idx="0">
                  <c:v>0.97989000000000004</c:v>
                </c:pt>
                <c:pt idx="1">
                  <c:v>0.97911999999999999</c:v>
                </c:pt>
                <c:pt idx="2">
                  <c:v>0.97831000000000001</c:v>
                </c:pt>
                <c:pt idx="3">
                  <c:v>0.97746</c:v>
                </c:pt>
                <c:pt idx="4">
                  <c:v>0.97663</c:v>
                </c:pt>
                <c:pt idx="5">
                  <c:v>0.97558999999999996</c:v>
                </c:pt>
                <c:pt idx="6">
                  <c:v>0.97455999999999998</c:v>
                </c:pt>
              </c:numCache>
            </c:numRef>
          </c:yVal>
          <c:smooth val="1"/>
          <c:extLst>
            <c:ext xmlns:c16="http://schemas.microsoft.com/office/drawing/2014/chart" uri="{C3380CC4-5D6E-409C-BE32-E72D297353CC}">
              <c16:uniqueId val="{00000009-EB2C-4873-8C1E-F38D68B99301}"/>
            </c:ext>
          </c:extLst>
        </c:ser>
        <c:dLbls>
          <c:showLegendKey val="0"/>
          <c:showVal val="0"/>
          <c:showCatName val="0"/>
          <c:showSerName val="0"/>
          <c:showPercent val="0"/>
          <c:showBubbleSize val="0"/>
        </c:dLbls>
        <c:axId val="422631343"/>
        <c:axId val="422655055"/>
        <c:extLst>
          <c:ext xmlns:c15="http://schemas.microsoft.com/office/drawing/2012/chart" uri="{02D57815-91ED-43cb-92C2-25804820EDAC}">
            <c15:filteredScatterSeries>
              <c15:ser>
                <c:idx val="9"/>
                <c:order val="3"/>
                <c:tx>
                  <c:strRef>
                    <c:extLst>
                      <c:ext uri="{02D57815-91ED-43cb-92C2-25804820EDAC}">
                        <c15:formulaRef>
                          <c15:sqref>Data!$A$13</c15:sqref>
                        </c15:formulaRef>
                      </c:ext>
                    </c:extLst>
                    <c:strCache>
                      <c:ptCount val="1"/>
                      <c:pt idx="0">
                        <c:v>1200V 40A IGBT7 H7, 2X</c:v>
                      </c:pt>
                    </c:strCache>
                  </c:strRef>
                </c:tx>
                <c:spPr>
                  <a:ln w="28575" cap="rnd">
                    <a:solidFill>
                      <a:schemeClr val="accent6"/>
                    </a:solidFill>
                    <a:prstDash val="dash"/>
                    <a:round/>
                  </a:ln>
                  <a:effectLst/>
                </c:spPr>
                <c:marker>
                  <c:symbol val="none"/>
                </c:marker>
                <c:xVal>
                  <c:numRef>
                    <c:extLst>
                      <c:ext uri="{02D57815-91ED-43cb-92C2-25804820EDAC}">
                        <c15:formulaRef>
                          <c15:sqref>Data!$A$17:$A$23</c15:sqref>
                        </c15:formulaRef>
                      </c:ext>
                    </c:extLst>
                    <c:numCache>
                      <c:formatCode>0</c:formatCode>
                      <c:ptCount val="7"/>
                      <c:pt idx="0">
                        <c:v>10</c:v>
                      </c:pt>
                      <c:pt idx="1">
                        <c:v>20</c:v>
                      </c:pt>
                      <c:pt idx="2">
                        <c:v>30</c:v>
                      </c:pt>
                      <c:pt idx="3">
                        <c:v>40</c:v>
                      </c:pt>
                      <c:pt idx="4">
                        <c:v>50</c:v>
                      </c:pt>
                      <c:pt idx="5">
                        <c:v>75</c:v>
                      </c:pt>
                      <c:pt idx="6">
                        <c:v>100</c:v>
                      </c:pt>
                    </c:numCache>
                  </c:numRef>
                </c:xVal>
                <c:yVal>
                  <c:numRef>
                    <c:extLst>
                      <c:ext uri="{02D57815-91ED-43cb-92C2-25804820EDAC}">
                        <c15:formulaRef>
                          <c15:sqref>Data!$M$17:$M$23</c15:sqref>
                        </c15:formulaRef>
                      </c:ext>
                    </c:extLst>
                    <c:numCache>
                      <c:formatCode>0.00%</c:formatCode>
                      <c:ptCount val="7"/>
                      <c:pt idx="0">
                        <c:v>0.98214000000000001</c:v>
                      </c:pt>
                      <c:pt idx="1">
                        <c:v>0.97668999999999995</c:v>
                      </c:pt>
                      <c:pt idx="2">
                        <c:v>0.96984999999999999</c:v>
                      </c:pt>
                      <c:pt idx="3">
                        <c:v>0.96153</c:v>
                      </c:pt>
                      <c:pt idx="4">
                        <c:v>0.95150000000000001</c:v>
                      </c:pt>
                      <c:pt idx="5">
                        <c:v>0.92098999999999998</c:v>
                      </c:pt>
                      <c:pt idx="6">
                        <c:v>0.88509000000000004</c:v>
                      </c:pt>
                    </c:numCache>
                  </c:numRef>
                </c:yVal>
                <c:smooth val="1"/>
                <c:extLst>
                  <c:ext xmlns:c16="http://schemas.microsoft.com/office/drawing/2014/chart" uri="{C3380CC4-5D6E-409C-BE32-E72D297353CC}">
                    <c16:uniqueId val="{00000008-EB2C-4873-8C1E-F38D68B99301}"/>
                  </c:ext>
                </c:extLst>
              </c15:ser>
            </c15:filteredScatterSeries>
            <c15:filteredScatterSeries>
              <c15:ser>
                <c:idx val="5"/>
                <c:order val="7"/>
                <c:tx>
                  <c:strRef>
                    <c:extLst xmlns:c15="http://schemas.microsoft.com/office/drawing/2012/chart">
                      <c:ext xmlns:c15="http://schemas.microsoft.com/office/drawing/2012/chart" uri="{02D57815-91ED-43cb-92C2-25804820EDAC}">
                        <c15:formulaRef>
                          <c15:sqref>Data!$A$39</c15:sqref>
                        </c15:formulaRef>
                      </c:ext>
                    </c:extLst>
                    <c:strCache>
                      <c:ptCount val="1"/>
                      <c:pt idx="0">
                        <c:v>1200V IMZA120R040M1H CoolSiC, 1X</c:v>
                      </c:pt>
                    </c:strCache>
                  </c:strRef>
                </c:tx>
                <c:spPr>
                  <a:ln w="19050" cap="rnd">
                    <a:solidFill>
                      <a:schemeClr val="tx2"/>
                    </a:solidFill>
                    <a:prstDash val="dash"/>
                    <a:round/>
                  </a:ln>
                  <a:effectLst/>
                </c:spPr>
                <c:marker>
                  <c:symbol val="none"/>
                </c:marker>
                <c:xVal>
                  <c:numRef>
                    <c:extLst xmlns:c15="http://schemas.microsoft.com/office/drawing/2012/chart">
                      <c:ext xmlns:c15="http://schemas.microsoft.com/office/drawing/2012/chart" uri="{02D57815-91ED-43cb-92C2-25804820EDAC}">
                        <c15:formulaRef>
                          <c15:sqref>Data!$A$43:$A$49</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M$43:$M$49</c15:sqref>
                        </c15:formulaRef>
                      </c:ext>
                    </c:extLst>
                    <c:numCache>
                      <c:formatCode>0.00%</c:formatCode>
                      <c:ptCount val="7"/>
                      <c:pt idx="0">
                        <c:v>0.97811000000000003</c:v>
                      </c:pt>
                      <c:pt idx="1">
                        <c:v>0.97753999999999996</c:v>
                      </c:pt>
                      <c:pt idx="2">
                        <c:v>0.97696000000000005</c:v>
                      </c:pt>
                      <c:pt idx="3">
                        <c:v>0.97636999999999996</c:v>
                      </c:pt>
                      <c:pt idx="4">
                        <c:v>0.97577999999999998</c:v>
                      </c:pt>
                      <c:pt idx="5">
                        <c:v>0.97450000000000003</c:v>
                      </c:pt>
                      <c:pt idx="6">
                        <c:v>0.97372999999999998</c:v>
                      </c:pt>
                    </c:numCache>
                  </c:numRef>
                </c:yVal>
                <c:smooth val="1"/>
                <c:extLst xmlns:c15="http://schemas.microsoft.com/office/drawing/2012/chart">
                  <c:ext xmlns:c16="http://schemas.microsoft.com/office/drawing/2014/chart" uri="{C3380CC4-5D6E-409C-BE32-E72D297353CC}">
                    <c16:uniqueId val="{0000000A-EB2C-4873-8C1E-F38D68B99301}"/>
                  </c:ext>
                </c:extLst>
              </c15:ser>
            </c15:filteredScatterSeries>
            <c15:filteredScatterSeries>
              <c15:ser>
                <c:idx val="7"/>
                <c:order val="9"/>
                <c:tx>
                  <c:strRef>
                    <c:extLst xmlns:c15="http://schemas.microsoft.com/office/drawing/2012/chart">
                      <c:ext xmlns:c15="http://schemas.microsoft.com/office/drawing/2012/chart" uri="{02D57815-91ED-43cb-92C2-25804820EDAC}">
                        <c15:formulaRef>
                          <c15:sqref>Data!$A$52</c15:sqref>
                        </c15:formulaRef>
                      </c:ext>
                    </c:extLst>
                    <c:strCache>
                      <c:ptCount val="1"/>
                      <c:pt idx="0">
                        <c:v>1200V IMZA120R020M1H CoolSiC, 1X</c:v>
                      </c:pt>
                    </c:strCache>
                  </c:strRef>
                </c:tx>
                <c:spPr>
                  <a:ln w="19050" cap="rnd">
                    <a:solidFill>
                      <a:schemeClr val="accent2"/>
                    </a:solidFill>
                    <a:prstDash val="dash"/>
                    <a:round/>
                  </a:ln>
                  <a:effectLst/>
                </c:spPr>
                <c:marker>
                  <c:symbol val="none"/>
                </c:marker>
                <c:xVal>
                  <c:numRef>
                    <c:extLst xmlns:c15="http://schemas.microsoft.com/office/drawing/2012/chart">
                      <c:ext xmlns:c15="http://schemas.microsoft.com/office/drawing/2012/chart" uri="{02D57815-91ED-43cb-92C2-25804820EDAC}">
                        <c15:formulaRef>
                          <c15:sqref>Data!$A$56:$A$62</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M$56:$M$62</c15:sqref>
                        </c15:formulaRef>
                      </c:ext>
                    </c:extLst>
                    <c:numCache>
                      <c:formatCode>0.00%</c:formatCode>
                      <c:ptCount val="7"/>
                      <c:pt idx="0">
                        <c:v>0.98297999999999996</c:v>
                      </c:pt>
                      <c:pt idx="1">
                        <c:v>0.98240000000000005</c:v>
                      </c:pt>
                      <c:pt idx="2">
                        <c:v>0.98185</c:v>
                      </c:pt>
                      <c:pt idx="3">
                        <c:v>0.98124999999999996</c:v>
                      </c:pt>
                      <c:pt idx="4">
                        <c:v>0.98068</c:v>
                      </c:pt>
                      <c:pt idx="5">
                        <c:v>0.97984000000000004</c:v>
                      </c:pt>
                      <c:pt idx="6">
                        <c:v>0.97877000000000003</c:v>
                      </c:pt>
                    </c:numCache>
                  </c:numRef>
                </c:yVal>
                <c:smooth val="1"/>
                <c:extLst xmlns:c15="http://schemas.microsoft.com/office/drawing/2012/chart">
                  <c:ext xmlns:c16="http://schemas.microsoft.com/office/drawing/2014/chart" uri="{C3380CC4-5D6E-409C-BE32-E72D297353CC}">
                    <c16:uniqueId val="{0000000B-EB2C-4873-8C1E-F38D68B99301}"/>
                  </c:ext>
                </c:extLst>
              </c15:ser>
            </c15:filteredScatterSeries>
            <c15:filteredScatterSeries>
              <c15:ser>
                <c:idx val="11"/>
                <c:order val="11"/>
                <c:tx>
                  <c:strRef>
                    <c:extLst xmlns:c15="http://schemas.microsoft.com/office/drawing/2012/chart">
                      <c:ext xmlns:c15="http://schemas.microsoft.com/office/drawing/2012/chart" uri="{02D57815-91ED-43cb-92C2-25804820EDAC}">
                        <c15:formulaRef>
                          <c15:sqref>Data!$A$69</c15:sqref>
                        </c15:formulaRef>
                      </c:ext>
                    </c:extLst>
                    <c:strCache>
                      <c:ptCount val="1"/>
                      <c:pt idx="0">
                        <c:v>1200V 40A IGBT7 H7, 1X_1200V Vin</c:v>
                      </c:pt>
                    </c:strCache>
                  </c:strRef>
                </c:tx>
                <c:spPr>
                  <a:ln w="19050" cap="rnd">
                    <a:solidFill>
                      <a:schemeClr val="accent5"/>
                    </a:solidFill>
                    <a:prstDash val="dash"/>
                    <a:round/>
                  </a:ln>
                  <a:effectLst/>
                </c:spPr>
                <c:marker>
                  <c:symbol val="none"/>
                </c:marker>
                <c:xVal>
                  <c:numRef>
                    <c:extLst xmlns:c15="http://schemas.microsoft.com/office/drawing/2012/chart">
                      <c:ext xmlns:c15="http://schemas.microsoft.com/office/drawing/2012/chart" uri="{02D57815-91ED-43cb-92C2-25804820EDAC}">
                        <c15:formulaRef>
                          <c15:sqref>Data!$A$73:$A$79</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M$73:$M$79</c15:sqref>
                        </c15:formulaRef>
                      </c:ext>
                    </c:extLst>
                    <c:numCache>
                      <c:formatCode>0.00%</c:formatCode>
                      <c:ptCount val="7"/>
                      <c:pt idx="0">
                        <c:v>0.98136000000000001</c:v>
                      </c:pt>
                      <c:pt idx="1">
                        <c:v>0.97699999999999998</c:v>
                      </c:pt>
                      <c:pt idx="2">
                        <c:v>0.97184000000000004</c:v>
                      </c:pt>
                      <c:pt idx="3">
                        <c:v>0.9657</c:v>
                      </c:pt>
                      <c:pt idx="4">
                        <c:v>0.95848999999999995</c:v>
                      </c:pt>
                      <c:pt idx="5">
                        <c:v>0.93630000000000002</c:v>
                      </c:pt>
                      <c:pt idx="6">
                        <c:v>0.90785000000000005</c:v>
                      </c:pt>
                    </c:numCache>
                  </c:numRef>
                </c:yVal>
                <c:smooth val="1"/>
                <c:extLst xmlns:c15="http://schemas.microsoft.com/office/drawing/2012/chart">
                  <c:ext xmlns:c16="http://schemas.microsoft.com/office/drawing/2014/chart" uri="{C3380CC4-5D6E-409C-BE32-E72D297353CC}">
                    <c16:uniqueId val="{0000000C-EB2C-4873-8C1E-F38D68B99301}"/>
                  </c:ext>
                </c:extLst>
              </c15:ser>
            </c15:filteredScatterSeries>
            <c15:filteredScatterSeries>
              <c15:ser>
                <c:idx val="13"/>
                <c:order val="13"/>
                <c:tx>
                  <c:strRef>
                    <c:extLst xmlns:c15="http://schemas.microsoft.com/office/drawing/2012/chart">
                      <c:ext xmlns:c15="http://schemas.microsoft.com/office/drawing/2012/chart" uri="{02D57815-91ED-43cb-92C2-25804820EDAC}">
                        <c15:formulaRef>
                          <c15:sqref>Data!$A$82</c15:sqref>
                        </c15:formulaRef>
                      </c:ext>
                    </c:extLst>
                    <c:strCache>
                      <c:ptCount val="1"/>
                      <c:pt idx="0">
                        <c:v>1200V IMZ120R060M1H CoolSiC, 1X_1200V Vin</c:v>
                      </c:pt>
                    </c:strCache>
                  </c:strRef>
                </c:tx>
                <c:spPr>
                  <a:ln w="19050" cap="rnd">
                    <a:solidFill>
                      <a:schemeClr val="accent4"/>
                    </a:solidFill>
                    <a:prstDash val="dash"/>
                    <a:round/>
                  </a:ln>
                  <a:effectLst/>
                </c:spPr>
                <c:marker>
                  <c:symbol val="none"/>
                </c:marker>
                <c:xVal>
                  <c:numRef>
                    <c:extLst xmlns:c15="http://schemas.microsoft.com/office/drawing/2012/chart">
                      <c:ext xmlns:c15="http://schemas.microsoft.com/office/drawing/2012/chart" uri="{02D57815-91ED-43cb-92C2-25804820EDAC}">
                        <c15:formulaRef>
                          <c15:sqref>Data!$A$86:$A$92</c15:sqref>
                        </c15:formulaRef>
                      </c:ext>
                    </c:extLst>
                    <c:numCache>
                      <c:formatCode>0</c:formatCode>
                      <c:ptCount val="7"/>
                      <c:pt idx="0">
                        <c:v>10</c:v>
                      </c:pt>
                      <c:pt idx="1">
                        <c:v>20</c:v>
                      </c:pt>
                      <c:pt idx="2">
                        <c:v>30</c:v>
                      </c:pt>
                      <c:pt idx="3">
                        <c:v>40</c:v>
                      </c:pt>
                      <c:pt idx="4">
                        <c:v>50</c:v>
                      </c:pt>
                      <c:pt idx="5">
                        <c:v>75</c:v>
                      </c:pt>
                      <c:pt idx="6">
                        <c:v>100</c:v>
                      </c:pt>
                    </c:numCache>
                  </c:numRef>
                </c:xVal>
                <c:yVal>
                  <c:numRef>
                    <c:extLst xmlns:c15="http://schemas.microsoft.com/office/drawing/2012/chart">
                      <c:ext xmlns:c15="http://schemas.microsoft.com/office/drawing/2012/chart" uri="{02D57815-91ED-43cb-92C2-25804820EDAC}">
                        <c15:formulaRef>
                          <c15:sqref>Data!$M$86:$M$92</c15:sqref>
                        </c15:formulaRef>
                      </c:ext>
                    </c:extLst>
                    <c:numCache>
                      <c:formatCode>0.00%</c:formatCode>
                      <c:ptCount val="7"/>
                      <c:pt idx="0">
                        <c:v>0.98043000000000002</c:v>
                      </c:pt>
                      <c:pt idx="1">
                        <c:v>0.97955000000000003</c:v>
                      </c:pt>
                      <c:pt idx="2">
                        <c:v>0.97863</c:v>
                      </c:pt>
                      <c:pt idx="3">
                        <c:v>0.97770000000000001</c:v>
                      </c:pt>
                      <c:pt idx="4">
                        <c:v>0.97674000000000005</c:v>
                      </c:pt>
                      <c:pt idx="5">
                        <c:v>0.97424999999999995</c:v>
                      </c:pt>
                      <c:pt idx="6">
                        <c:v>0.97263999999999995</c:v>
                      </c:pt>
                    </c:numCache>
                  </c:numRef>
                </c:yVal>
                <c:smooth val="1"/>
                <c:extLst xmlns:c15="http://schemas.microsoft.com/office/drawing/2012/chart">
                  <c:ext xmlns:c16="http://schemas.microsoft.com/office/drawing/2014/chart" uri="{C3380CC4-5D6E-409C-BE32-E72D297353CC}">
                    <c16:uniqueId val="{0000000D-EB2C-4873-8C1E-F38D68B99301}"/>
                  </c:ext>
                </c:extLst>
              </c15:ser>
            </c15:filteredScatterSeries>
          </c:ext>
        </c:extLst>
      </c:scatterChart>
      <c:valAx>
        <c:axId val="422483871"/>
        <c:scaling>
          <c:logBase val="10"/>
          <c:orientation val="minMax"/>
          <c:min val="1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accent2">
                  <a:lumMod val="20000"/>
                  <a:lumOff val="80000"/>
                </a:schemeClr>
              </a:solidFill>
              <a:round/>
            </a:ln>
            <a:effectLst/>
          </c:spPr>
        </c:minorGridlines>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400"/>
                  <a:t>Switching</a:t>
                </a:r>
                <a:r>
                  <a:rPr lang="en-US" sz="1400" baseline="0"/>
                  <a:t> Frequency (kHz)</a:t>
                </a:r>
                <a:endParaRPr lang="en-US" sz="1400"/>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422651727"/>
        <c:crosses val="autoZero"/>
        <c:crossBetween val="midCat"/>
      </c:valAx>
      <c:valAx>
        <c:axId val="422651727"/>
        <c:scaling>
          <c:orientation val="minMax"/>
          <c:max val="55"/>
          <c:min val="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400"/>
                  <a:t>Output</a:t>
                </a:r>
                <a:r>
                  <a:rPr lang="en-US" sz="1400" baseline="0"/>
                  <a:t> Current (Arms)</a:t>
                </a:r>
                <a:endParaRPr lang="en-US" sz="1400"/>
              </a:p>
            </c:rich>
          </c:tx>
          <c:layout>
            <c:manualLayout>
              <c:xMode val="edge"/>
              <c:yMode val="edge"/>
              <c:x val="4.3738095441089664E-3"/>
              <c:y val="0.32082922592954438"/>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422483871"/>
        <c:crosses val="autoZero"/>
        <c:crossBetween val="midCat"/>
        <c:majorUnit val="5"/>
      </c:valAx>
      <c:valAx>
        <c:axId val="422655055"/>
        <c:scaling>
          <c:orientation val="minMax"/>
        </c:scaling>
        <c:delete val="0"/>
        <c:axPos val="r"/>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600" dirty="0"/>
                  <a:t>Efficiency</a:t>
                </a:r>
              </a:p>
            </c:rich>
          </c:tx>
          <c:layout>
            <c:manualLayout>
              <c:xMode val="edge"/>
              <c:yMode val="edge"/>
              <c:x val="0.59145291059102723"/>
              <c:y val="0.43023542963245021"/>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422631343"/>
        <c:crosses val="max"/>
        <c:crossBetween val="midCat"/>
      </c:valAx>
      <c:valAx>
        <c:axId val="422631343"/>
        <c:scaling>
          <c:logBase val="10"/>
          <c:orientation val="minMax"/>
        </c:scaling>
        <c:delete val="1"/>
        <c:axPos val="b"/>
        <c:numFmt formatCode="0" sourceLinked="1"/>
        <c:majorTickMark val="out"/>
        <c:minorTickMark val="none"/>
        <c:tickLblPos val="nextTo"/>
        <c:crossAx val="422655055"/>
        <c:crosses val="autoZero"/>
        <c:crossBetween val="midCat"/>
      </c:valAx>
      <c:spPr>
        <a:noFill/>
        <a:ln>
          <a:noFill/>
        </a:ln>
        <a:effectLst/>
      </c:spPr>
    </c:plotArea>
    <c:legend>
      <c:legendPos val="r"/>
      <c:layout>
        <c:manualLayout>
          <c:xMode val="edge"/>
          <c:yMode val="edge"/>
          <c:x val="0.66266757541068377"/>
          <c:y val="9.4617716741212548E-4"/>
          <c:w val="0.33569076592698638"/>
          <c:h val="0.1913232198770171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cap="all" spc="50" baseline="0">
                <a:solidFill>
                  <a:srgbClr val="1D1D1D"/>
                </a:solidFill>
                <a:latin typeface="+mn-lt"/>
                <a:ea typeface="+mn-ea"/>
                <a:cs typeface="+mn-cs"/>
              </a:defRPr>
            </a:pPr>
            <a:r>
              <a:rPr lang="de-AT" sz="1800" dirty="0">
                <a:solidFill>
                  <a:srgbClr val="1D1D1D"/>
                </a:solidFill>
                <a:latin typeface="+mn-lt"/>
              </a:rPr>
              <a:t>Power density increase</a:t>
            </a:r>
          </a:p>
          <a:p>
            <a:pPr>
              <a:defRPr sz="2400">
                <a:solidFill>
                  <a:srgbClr val="1D1D1D"/>
                </a:solidFill>
              </a:defRPr>
            </a:pPr>
            <a:r>
              <a:rPr lang="de-AT" sz="1050" b="0" i="0" dirty="0">
                <a:solidFill>
                  <a:srgbClr val="1D1D1D"/>
                </a:solidFill>
                <a:latin typeface="+mn-lt"/>
              </a:rPr>
              <a:t>with</a:t>
            </a:r>
            <a:r>
              <a:rPr lang="de-AT" sz="1050" b="0" i="0" baseline="0" dirty="0">
                <a:solidFill>
                  <a:srgbClr val="1D1D1D"/>
                </a:solidFill>
                <a:latin typeface="+mn-lt"/>
              </a:rPr>
              <a:t> the new large current classes in TO-247 PLUS</a:t>
            </a:r>
            <a:endParaRPr lang="de-AT" sz="1200" b="0" i="0" dirty="0">
              <a:solidFill>
                <a:srgbClr val="1D1D1D"/>
              </a:solidFill>
              <a:latin typeface="+mn-lt"/>
            </a:endParaRPr>
          </a:p>
        </c:rich>
      </c:tx>
      <c:overlay val="0"/>
      <c:spPr>
        <a:noFill/>
        <a:ln>
          <a:noFill/>
        </a:ln>
        <a:effectLst/>
      </c:spPr>
      <c:txPr>
        <a:bodyPr rot="0" spcFirstLastPara="1" vertOverflow="ellipsis" vert="horz" wrap="square" anchor="ctr" anchorCtr="1"/>
        <a:lstStyle/>
        <a:p>
          <a:pPr>
            <a:defRPr sz="2400" b="1" i="0" u="none" strike="noStrike" kern="1200" cap="all" spc="50" baseline="0">
              <a:solidFill>
                <a:srgbClr val="1D1D1D"/>
              </a:solidFill>
              <a:latin typeface="+mn-lt"/>
              <a:ea typeface="+mn-ea"/>
              <a:cs typeface="+mn-cs"/>
            </a:defRPr>
          </a:pPr>
          <a:endParaRPr lang="de-DE"/>
        </a:p>
      </c:txPr>
    </c:title>
    <c:autoTitleDeleted val="0"/>
    <c:plotArea>
      <c:layout>
        <c:manualLayout>
          <c:layoutTarget val="inner"/>
          <c:xMode val="edge"/>
          <c:yMode val="edge"/>
          <c:x val="9.630385498142488E-2"/>
          <c:y val="0.21085393175805384"/>
          <c:w val="0.88189904682553433"/>
          <c:h val="0.57680934716592069"/>
        </c:manualLayout>
      </c:layout>
      <c:barChart>
        <c:barDir val="col"/>
        <c:grouping val="clustered"/>
        <c:varyColors val="0"/>
        <c:ser>
          <c:idx val="0"/>
          <c:order val="0"/>
          <c:tx>
            <c:strRef>
              <c:f>Sheet1!$U$4</c:f>
              <c:strCache>
                <c:ptCount val="1"/>
                <c:pt idx="0">
                  <c:v>Power density Sil-Pad K10</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D1D1D"/>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2-5487-4ED0-AD21-DEDCA2A6401F}"/>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D1D1D"/>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3-5487-4ED0-AD21-DEDCA2A6401F}"/>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D1D1D"/>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4-5487-4ED0-AD21-DEDCA2A6401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T$5:$T$7</c:f>
              <c:strCache>
                <c:ptCount val="3"/>
                <c:pt idx="0">
                  <c:v>75 A</c:v>
                </c:pt>
                <c:pt idx="1">
                  <c:v>100 A</c:v>
                </c:pt>
                <c:pt idx="2">
                  <c:v>120 A</c:v>
                </c:pt>
              </c:strCache>
            </c:strRef>
          </c:cat>
          <c:val>
            <c:numRef>
              <c:f>Sheet1!$U$5:$U$7</c:f>
              <c:numCache>
                <c:formatCode>0</c:formatCode>
                <c:ptCount val="3"/>
                <c:pt idx="0">
                  <c:v>50</c:v>
                </c:pt>
                <c:pt idx="1">
                  <c:v>60.5</c:v>
                </c:pt>
                <c:pt idx="2">
                  <c:v>73.680000000000007</c:v>
                </c:pt>
              </c:numCache>
            </c:numRef>
          </c:val>
          <c:extLst>
            <c:ext xmlns:c16="http://schemas.microsoft.com/office/drawing/2014/chart" uri="{C3380CC4-5D6E-409C-BE32-E72D297353CC}">
              <c16:uniqueId val="{00000000-5487-4ED0-AD21-DEDCA2A6401F}"/>
            </c:ext>
          </c:extLst>
        </c:ser>
        <c:ser>
          <c:idx val="1"/>
          <c:order val="1"/>
          <c:tx>
            <c:strRef>
              <c:f>Sheet1!$V$4</c:f>
              <c:strCache>
                <c:ptCount val="1"/>
                <c:pt idx="0">
                  <c:v>Power density AL2O3-Keramik</c:v>
                </c:pt>
              </c:strCache>
            </c:strRef>
          </c:tx>
          <c:spPr>
            <a:solidFill>
              <a:schemeClr val="bg2"/>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D1D1D"/>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5-5487-4ED0-AD21-DEDCA2A6401F}"/>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D1D1D"/>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6-5487-4ED0-AD21-DEDCA2A6401F}"/>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D1D1D"/>
                      </a:solidFill>
                      <a:latin typeface="+mn-lt"/>
                      <a:ea typeface="+mn-ea"/>
                      <a:cs typeface="+mn-cs"/>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7-5487-4ED0-AD21-DEDCA2A6401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T$5:$T$7</c:f>
              <c:strCache>
                <c:ptCount val="3"/>
                <c:pt idx="0">
                  <c:v>75 A</c:v>
                </c:pt>
                <c:pt idx="1">
                  <c:v>100 A</c:v>
                </c:pt>
                <c:pt idx="2">
                  <c:v>120 A</c:v>
                </c:pt>
              </c:strCache>
            </c:strRef>
          </c:cat>
          <c:val>
            <c:numRef>
              <c:f>Sheet1!$V$5:$V$7</c:f>
              <c:numCache>
                <c:formatCode>General</c:formatCode>
                <c:ptCount val="3"/>
                <c:pt idx="0">
                  <c:v>97</c:v>
                </c:pt>
                <c:pt idx="1">
                  <c:v>108</c:v>
                </c:pt>
                <c:pt idx="2">
                  <c:v>121</c:v>
                </c:pt>
              </c:numCache>
            </c:numRef>
          </c:val>
          <c:extLst>
            <c:ext xmlns:c16="http://schemas.microsoft.com/office/drawing/2014/chart" uri="{C3380CC4-5D6E-409C-BE32-E72D297353CC}">
              <c16:uniqueId val="{00000001-5487-4ED0-AD21-DEDCA2A6401F}"/>
            </c:ext>
          </c:extLst>
        </c:ser>
        <c:dLbls>
          <c:dLblPos val="outEnd"/>
          <c:showLegendKey val="0"/>
          <c:showVal val="1"/>
          <c:showCatName val="0"/>
          <c:showSerName val="0"/>
          <c:showPercent val="0"/>
          <c:showBubbleSize val="0"/>
        </c:dLbls>
        <c:gapWidth val="355"/>
        <c:overlap val="-70"/>
        <c:axId val="153464784"/>
        <c:axId val="843259520"/>
      </c:barChart>
      <c:catAx>
        <c:axId val="153464784"/>
        <c:scaling>
          <c:orientation val="minMax"/>
        </c:scaling>
        <c:delete val="0"/>
        <c:axPos val="b"/>
        <c:title>
          <c:tx>
            <c:rich>
              <a:bodyPr rot="0" spcFirstLastPara="1" vertOverflow="ellipsis" vert="horz" wrap="square" anchor="ctr" anchorCtr="1"/>
              <a:lstStyle/>
              <a:p>
                <a:pPr>
                  <a:defRPr sz="1200" b="0" i="0" u="none" strike="noStrike" kern="1200" cap="all" baseline="0" dirty="0">
                    <a:solidFill>
                      <a:srgbClr val="1D1D1D"/>
                    </a:solidFill>
                    <a:latin typeface="+mn-lt"/>
                    <a:ea typeface="+mn-ea"/>
                    <a:cs typeface="+mn-cs"/>
                  </a:defRPr>
                </a:pPr>
                <a:r>
                  <a:rPr lang="de-AT"/>
                  <a:t>Ic @ Tcase 100°C</a:t>
                </a:r>
              </a:p>
            </c:rich>
          </c:tx>
          <c:overlay val="0"/>
          <c:spPr>
            <a:noFill/>
            <a:ln>
              <a:noFill/>
            </a:ln>
            <a:effectLst/>
          </c:spPr>
          <c:txPr>
            <a:bodyPr rot="0" spcFirstLastPara="1" vertOverflow="ellipsis" vert="horz" wrap="square" anchor="ctr" anchorCtr="1"/>
            <a:lstStyle/>
            <a:p>
              <a:pPr>
                <a:defRPr sz="1200" b="0" i="0" u="none" strike="noStrike" kern="1200" cap="all" baseline="0" dirty="0">
                  <a:solidFill>
                    <a:srgbClr val="1D1D1D"/>
                  </a:solidFill>
                  <a:latin typeface="+mn-lt"/>
                  <a:ea typeface="+mn-ea"/>
                  <a:cs typeface="+mn-cs"/>
                </a:defRPr>
              </a:pPr>
              <a:endParaRPr lang="de-DE"/>
            </a:p>
          </c:txPr>
        </c:title>
        <c:numFmt formatCode="General" sourceLinked="1"/>
        <c:majorTickMark val="none"/>
        <c:minorTickMark val="none"/>
        <c:tickLblPos val="nextTo"/>
        <c:spPr>
          <a:noFill/>
          <a:ln w="3175" cap="flat" cmpd="sng" algn="ctr">
            <a:solidFill>
              <a:srgbClr val="E9E6E6"/>
            </a:solidFill>
            <a:prstDash val="solid"/>
            <a:round/>
          </a:ln>
          <a:effectLst/>
        </c:spPr>
        <c:txPr>
          <a:bodyPr rot="-60000000" spcFirstLastPara="1" vertOverflow="ellipsis" vert="horz" wrap="square" anchor="ctr" anchorCtr="1"/>
          <a:lstStyle/>
          <a:p>
            <a:pPr>
              <a:defRPr sz="900" b="0" i="0" u="none" strike="noStrike" kern="1200" baseline="0">
                <a:solidFill>
                  <a:srgbClr val="1D1D1D"/>
                </a:solidFill>
                <a:latin typeface="+mn-lt"/>
                <a:ea typeface="+mn-ea"/>
                <a:cs typeface="+mn-cs"/>
              </a:defRPr>
            </a:pPr>
            <a:endParaRPr lang="de-DE"/>
          </a:p>
        </c:txPr>
        <c:crossAx val="843259520"/>
        <c:crosses val="autoZero"/>
        <c:auto val="1"/>
        <c:lblAlgn val="ctr"/>
        <c:lblOffset val="100"/>
        <c:noMultiLvlLbl val="0"/>
      </c:catAx>
      <c:valAx>
        <c:axId val="843259520"/>
        <c:scaling>
          <c:orientation val="minMax"/>
          <c:max val="130"/>
          <c:min val="0"/>
        </c:scaling>
        <c:delete val="0"/>
        <c:axPos val="l"/>
        <c:majorGridlines>
          <c:spPr>
            <a:ln w="3175" cap="flat" cmpd="sng" algn="ctr">
              <a:solidFill>
                <a:srgbClr val="FFFFFF"/>
              </a:solidFill>
              <a:prstDash val="solid"/>
              <a:round/>
            </a:ln>
            <a:effectLst/>
          </c:spPr>
        </c:majorGridlines>
        <c:title>
          <c:tx>
            <c:rich>
              <a:bodyPr rot="-5400000" spcFirstLastPara="1" vertOverflow="ellipsis" vert="horz" wrap="square" anchor="ctr" anchorCtr="1"/>
              <a:lstStyle/>
              <a:p>
                <a:pPr>
                  <a:defRPr sz="1400" b="0" i="0" u="none" strike="noStrike" kern="1200" cap="all" baseline="0" dirty="0">
                    <a:solidFill>
                      <a:srgbClr val="1D1D1D"/>
                    </a:solidFill>
                    <a:latin typeface="Arial" panose="020B0604020202020204" pitchFamily="34" charset="0"/>
                    <a:ea typeface="+mn-ea"/>
                    <a:cs typeface="Arial" panose="020B0604020202020204" pitchFamily="34" charset="0"/>
                  </a:defRPr>
                </a:pPr>
                <a:r>
                  <a:rPr lang="de-AT"/>
                  <a:t>Power Density [%]</a:t>
                </a:r>
              </a:p>
            </c:rich>
          </c:tx>
          <c:overlay val="0"/>
          <c:spPr>
            <a:noFill/>
            <a:ln>
              <a:noFill/>
            </a:ln>
            <a:effectLst/>
          </c:spPr>
          <c:txPr>
            <a:bodyPr rot="-5400000" spcFirstLastPara="1" vertOverflow="ellipsis" vert="horz" wrap="square" anchor="ctr" anchorCtr="1"/>
            <a:lstStyle/>
            <a:p>
              <a:pPr>
                <a:defRPr sz="1400" b="0" i="0" u="none" strike="noStrike" kern="1200" cap="all" baseline="0" dirty="0">
                  <a:solidFill>
                    <a:srgbClr val="1D1D1D"/>
                  </a:solidFill>
                  <a:latin typeface="Arial" panose="020B0604020202020204" pitchFamily="34" charset="0"/>
                  <a:ea typeface="+mn-ea"/>
                  <a:cs typeface="Arial" panose="020B0604020202020204" pitchFamily="34" charset="0"/>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1D1D1D"/>
                </a:solidFill>
                <a:latin typeface="+mn-lt"/>
                <a:ea typeface="+mn-ea"/>
                <a:cs typeface="+mn-cs"/>
              </a:defRPr>
            </a:pPr>
            <a:endParaRPr lang="de-DE"/>
          </a:p>
        </c:txPr>
        <c:crossAx val="15346478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rgbClr val="1D1D1D"/>
                </a:solidFill>
                <a:latin typeface="+mn-lt"/>
                <a:ea typeface="+mn-ea"/>
                <a:cs typeface="+mn-cs"/>
              </a:defRPr>
            </a:pPr>
            <a:endParaRPr lang="de-DE"/>
          </a:p>
        </c:txPr>
      </c:legendEntry>
      <c:legendEntry>
        <c:idx val="1"/>
        <c:txPr>
          <a:bodyPr rot="0" spcFirstLastPara="1" vertOverflow="ellipsis" vert="horz" wrap="square" anchor="ctr" anchorCtr="1"/>
          <a:lstStyle/>
          <a:p>
            <a:pPr>
              <a:defRPr sz="1400" b="0" i="0" u="none" strike="noStrike" kern="1200" baseline="0">
                <a:solidFill>
                  <a:srgbClr val="1D1D1D"/>
                </a:solidFill>
                <a:latin typeface="+mn-lt"/>
                <a:ea typeface="+mn-ea"/>
                <a:cs typeface="+mn-cs"/>
              </a:defRPr>
            </a:pPr>
            <a:endParaRPr lang="de-DE"/>
          </a:p>
        </c:txPr>
      </c:legendEntry>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575352"/>
                </a:solidFill>
                <a:latin typeface="Arial" panose="020B0604020202020204" pitchFamily="34" charset="0"/>
                <a:ea typeface="Source Sans Pro" panose="020B0503030403020204" pitchFamily="34" charset="0"/>
                <a:cs typeface="+mn-cs"/>
              </a:defRPr>
            </a:pPr>
            <a:r>
              <a:rPr lang="de-AT" sz="1400" b="0" i="0" baseline="0" dirty="0">
                <a:solidFill>
                  <a:srgbClr val="575352"/>
                </a:solidFill>
                <a:effectLst/>
                <a:latin typeface="Arial" panose="020B0604020202020204" pitchFamily="34" charset="0"/>
                <a:ea typeface="Source Sans Pro" panose="020B0503030403020204" pitchFamily="34" charset="0"/>
              </a:rPr>
              <a:t>Case temperature (output current) @ ~5 V/ns </a:t>
            </a:r>
            <a:r>
              <a:rPr lang="en-US" sz="1400" b="0" i="0" u="none" strike="noStrike" kern="1200" spc="0" baseline="0" dirty="0">
                <a:solidFill>
                  <a:srgbClr val="575352"/>
                </a:solidFill>
                <a:effectLst/>
                <a:latin typeface="Arial" panose="020B0604020202020204" pitchFamily="34" charset="0"/>
                <a:ea typeface="Source Sans Pro" panose="020B0503030403020204" pitchFamily="34" charset="0"/>
                <a:cs typeface="+mn-cs"/>
              </a:rPr>
              <a:t>Sil-Pad® K-10</a:t>
            </a:r>
            <a:endParaRPr lang="de-AT" sz="1400" b="0" i="0" baseline="0" dirty="0">
              <a:solidFill>
                <a:srgbClr val="575352"/>
              </a:solidFill>
              <a:effectLst/>
              <a:latin typeface="Arial" panose="020B0604020202020204" pitchFamily="34" charset="0"/>
              <a:ea typeface="Source Sans Pro" panose="020B0503030403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575352"/>
                </a:solidFill>
                <a:latin typeface="Arial" panose="020B0604020202020204" pitchFamily="34" charset="0"/>
                <a:ea typeface="Source Sans Pro" panose="020B0503030403020204" pitchFamily="34" charset="0"/>
              </a:defRPr>
            </a:pPr>
            <a:r>
              <a:rPr lang="de-AT" sz="1400" b="0" i="0" baseline="0" dirty="0">
                <a:solidFill>
                  <a:srgbClr val="575352"/>
                </a:solidFill>
                <a:effectLst/>
                <a:latin typeface="Arial" panose="020B0604020202020204" pitchFamily="34" charset="0"/>
                <a:ea typeface="Source Sans Pro" panose="020B0503030403020204" pitchFamily="34" charset="0"/>
              </a:rPr>
              <a:t>800V</a:t>
            </a:r>
            <a:r>
              <a:rPr lang="de-AT" sz="1400" b="0" i="0" baseline="-25000" dirty="0">
                <a:solidFill>
                  <a:srgbClr val="575352"/>
                </a:solidFill>
                <a:effectLst/>
                <a:latin typeface="Arial" panose="020B0604020202020204" pitchFamily="34" charset="0"/>
                <a:ea typeface="Source Sans Pro" panose="020B0503030403020204" pitchFamily="34" charset="0"/>
              </a:rPr>
              <a:t>dc</a:t>
            </a:r>
            <a:r>
              <a:rPr lang="de-AT" sz="1400" b="0" i="0" baseline="0" dirty="0">
                <a:solidFill>
                  <a:srgbClr val="575352"/>
                </a:solidFill>
                <a:effectLst/>
                <a:latin typeface="Arial" panose="020B0604020202020204" pitchFamily="34" charset="0"/>
                <a:ea typeface="Source Sans Pro" panose="020B0503030403020204" pitchFamily="34" charset="0"/>
              </a:rPr>
              <a:t> f</a:t>
            </a:r>
            <a:r>
              <a:rPr lang="de-AT" sz="1400" b="0" i="0" baseline="-25000" dirty="0">
                <a:solidFill>
                  <a:srgbClr val="575352"/>
                </a:solidFill>
                <a:effectLst/>
                <a:latin typeface="Arial" panose="020B0604020202020204" pitchFamily="34" charset="0"/>
                <a:ea typeface="Source Sans Pro" panose="020B0503030403020204" pitchFamily="34" charset="0"/>
              </a:rPr>
              <a:t>sw</a:t>
            </a:r>
            <a:r>
              <a:rPr lang="de-AT" sz="1400" b="0" i="0" baseline="0" dirty="0">
                <a:solidFill>
                  <a:srgbClr val="575352"/>
                </a:solidFill>
                <a:effectLst/>
                <a:latin typeface="Arial" panose="020B0604020202020204" pitchFamily="34" charset="0"/>
                <a:ea typeface="Source Sans Pro" panose="020B0503030403020204" pitchFamily="34" charset="0"/>
              </a:rPr>
              <a:t>=10 </a:t>
            </a:r>
            <a:r>
              <a:rPr lang="de-AT" sz="1400" b="0" i="0" u="none" strike="noStrike" baseline="0" dirty="0">
                <a:solidFill>
                  <a:srgbClr val="575352"/>
                </a:solidFill>
                <a:effectLst/>
                <a:latin typeface="Arial" panose="020B0604020202020204" pitchFamily="34" charset="0"/>
              </a:rPr>
              <a:t>kHz</a:t>
            </a:r>
            <a:r>
              <a:rPr lang="de-AT" sz="1400" b="0" i="0" baseline="0" dirty="0">
                <a:solidFill>
                  <a:srgbClr val="575352"/>
                </a:solidFill>
                <a:effectLst/>
                <a:latin typeface="Arial" panose="020B0604020202020204" pitchFamily="34" charset="0"/>
                <a:ea typeface="Source Sans Pro" panose="020B0503030403020204" pitchFamily="34" charset="0"/>
              </a:rPr>
              <a:t> m</a:t>
            </a:r>
            <a:r>
              <a:rPr lang="de-AT" sz="1400" b="0" i="0" baseline="-25000" dirty="0">
                <a:solidFill>
                  <a:srgbClr val="575352"/>
                </a:solidFill>
                <a:effectLst/>
                <a:latin typeface="Arial" panose="020B0604020202020204" pitchFamily="34" charset="0"/>
                <a:ea typeface="Source Sans Pro" panose="020B0503030403020204" pitchFamily="34" charset="0"/>
              </a:rPr>
              <a:t>index</a:t>
            </a:r>
            <a:r>
              <a:rPr lang="de-AT" sz="1400" b="0" i="0" baseline="0" dirty="0">
                <a:solidFill>
                  <a:srgbClr val="575352"/>
                </a:solidFill>
                <a:effectLst/>
                <a:latin typeface="Arial" panose="020B0604020202020204" pitchFamily="34" charset="0"/>
                <a:ea typeface="Source Sans Pro" panose="020B0503030403020204" pitchFamily="34" charset="0"/>
              </a:rPr>
              <a:t>= 0,7 f</a:t>
            </a:r>
            <a:r>
              <a:rPr lang="de-AT" sz="1400" b="0" i="0" baseline="-25000" dirty="0">
                <a:solidFill>
                  <a:srgbClr val="575352"/>
                </a:solidFill>
                <a:effectLst/>
                <a:latin typeface="Arial" panose="020B0604020202020204" pitchFamily="34" charset="0"/>
                <a:ea typeface="Source Sans Pro" panose="020B0503030403020204" pitchFamily="34" charset="0"/>
              </a:rPr>
              <a:t>ele</a:t>
            </a:r>
            <a:r>
              <a:rPr lang="de-AT" sz="1400" b="0" i="0" baseline="0" dirty="0">
                <a:solidFill>
                  <a:srgbClr val="575352"/>
                </a:solidFill>
                <a:effectLst/>
                <a:latin typeface="Arial" panose="020B0604020202020204" pitchFamily="34" charset="0"/>
                <a:ea typeface="Source Sans Pro" panose="020B0503030403020204" pitchFamily="34" charset="0"/>
              </a:rPr>
              <a:t>=50 Hz cos(phi) ~ 0,9</a:t>
            </a:r>
            <a:endParaRPr lang="de-AT" sz="1400" dirty="0">
              <a:solidFill>
                <a:srgbClr val="575352"/>
              </a:solidFill>
              <a:effectLst/>
              <a:latin typeface="Arial" panose="020B0604020202020204" pitchFamily="34" charset="0"/>
              <a:ea typeface="Source Sans Pro" panose="020B0503030403020204" pitchFamily="34" charset="0"/>
            </a:endParaRPr>
          </a:p>
        </c:rich>
      </c:tx>
      <c:layout>
        <c:manualLayout>
          <c:xMode val="edge"/>
          <c:yMode val="edge"/>
          <c:x val="0.11323235270582269"/>
          <c:y val="0"/>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575352"/>
              </a:solidFill>
              <a:latin typeface="Arial" panose="020B0604020202020204" pitchFamily="34" charset="0"/>
              <a:ea typeface="Source Sans Pro" panose="020B0503030403020204" pitchFamily="34" charset="0"/>
              <a:cs typeface="+mn-cs"/>
            </a:defRPr>
          </a:pPr>
          <a:endParaRPr lang="de-DE"/>
        </a:p>
      </c:txPr>
    </c:title>
    <c:autoTitleDeleted val="0"/>
    <c:plotArea>
      <c:layout>
        <c:manualLayout>
          <c:layoutTarget val="inner"/>
          <c:xMode val="edge"/>
          <c:yMode val="edge"/>
          <c:x val="0.12376974685384791"/>
          <c:y val="0.18007813294491112"/>
          <c:w val="0.7476125400296717"/>
          <c:h val="0.70599291734398051"/>
        </c:manualLayout>
      </c:layout>
      <c:scatterChart>
        <c:scatterStyle val="smoothMarker"/>
        <c:varyColors val="0"/>
        <c:ser>
          <c:idx val="1"/>
          <c:order val="1"/>
          <c:tx>
            <c:strRef>
              <c:f>Sheet1!$A$15</c:f>
              <c:strCache>
                <c:ptCount val="1"/>
                <c:pt idx="0">
                  <c:v>IKQ75N120CS7 Rg 6 ohm</c:v>
                </c:pt>
              </c:strCache>
            </c:strRef>
          </c:tx>
          <c:spPr>
            <a:ln w="38100" cap="rnd">
              <a:solidFill>
                <a:srgbClr val="92D050"/>
              </a:solidFill>
              <a:round/>
            </a:ln>
            <a:effectLst/>
          </c:spPr>
          <c:marker>
            <c:symbol val="none"/>
          </c:marker>
          <c:xVal>
            <c:numRef>
              <c:f>Sheet1!$D$15:$D$19</c:f>
              <c:numCache>
                <c:formatCode>General</c:formatCode>
                <c:ptCount val="5"/>
                <c:pt idx="0">
                  <c:v>17.3</c:v>
                </c:pt>
                <c:pt idx="1">
                  <c:v>21.3</c:v>
                </c:pt>
                <c:pt idx="2">
                  <c:v>25.8</c:v>
                </c:pt>
                <c:pt idx="3">
                  <c:v>31.2</c:v>
                </c:pt>
                <c:pt idx="4">
                  <c:v>34</c:v>
                </c:pt>
              </c:numCache>
            </c:numRef>
          </c:xVal>
          <c:yVal>
            <c:numRef>
              <c:f>Sheet1!$E$15:$E$19</c:f>
              <c:numCache>
                <c:formatCode>General</c:formatCode>
                <c:ptCount val="5"/>
                <c:pt idx="0">
                  <c:v>61.2</c:v>
                </c:pt>
                <c:pt idx="1">
                  <c:v>68.3</c:v>
                </c:pt>
                <c:pt idx="2">
                  <c:v>78.2</c:v>
                </c:pt>
                <c:pt idx="3">
                  <c:v>91.3</c:v>
                </c:pt>
                <c:pt idx="4">
                  <c:v>100.3</c:v>
                </c:pt>
              </c:numCache>
            </c:numRef>
          </c:yVal>
          <c:smooth val="1"/>
          <c:extLst>
            <c:ext xmlns:c16="http://schemas.microsoft.com/office/drawing/2014/chart" uri="{C3380CC4-5D6E-409C-BE32-E72D297353CC}">
              <c16:uniqueId val="{00000001-079D-4773-9E01-E872CA5C3499}"/>
            </c:ext>
          </c:extLst>
        </c:ser>
        <c:ser>
          <c:idx val="5"/>
          <c:order val="5"/>
          <c:tx>
            <c:strRef>
              <c:f>Sheet1!$A$57</c:f>
              <c:strCache>
                <c:ptCount val="1"/>
                <c:pt idx="0">
                  <c:v>2x 40A Competitor 1 Rgon 33 Rgoff22</c:v>
                </c:pt>
              </c:strCache>
            </c:strRef>
          </c:tx>
          <c:spPr>
            <a:ln w="19050" cap="rnd">
              <a:solidFill>
                <a:schemeClr val="accent6"/>
              </a:solidFill>
              <a:prstDash val="sysDot"/>
              <a:round/>
            </a:ln>
            <a:effectLst/>
          </c:spPr>
          <c:marker>
            <c:symbol val="none"/>
          </c:marker>
          <c:xVal>
            <c:numRef>
              <c:f>Sheet1!$D$57:$D$64</c:f>
              <c:numCache>
                <c:formatCode>General</c:formatCode>
                <c:ptCount val="8"/>
                <c:pt idx="0">
                  <c:v>10.7</c:v>
                </c:pt>
                <c:pt idx="1">
                  <c:v>12.2</c:v>
                </c:pt>
                <c:pt idx="2">
                  <c:v>14</c:v>
                </c:pt>
                <c:pt idx="3">
                  <c:v>15.8</c:v>
                </c:pt>
                <c:pt idx="4">
                  <c:v>18</c:v>
                </c:pt>
                <c:pt idx="5">
                  <c:v>20</c:v>
                </c:pt>
                <c:pt idx="6">
                  <c:v>22.3</c:v>
                </c:pt>
                <c:pt idx="7">
                  <c:v>24.7</c:v>
                </c:pt>
              </c:numCache>
            </c:numRef>
          </c:xVal>
          <c:yVal>
            <c:numRef>
              <c:f>Sheet1!$E$57:$E$64</c:f>
              <c:numCache>
                <c:formatCode>0.000</c:formatCode>
                <c:ptCount val="8"/>
                <c:pt idx="0">
                  <c:v>71.400000000000006</c:v>
                </c:pt>
                <c:pt idx="1">
                  <c:v>76.099999999999994</c:v>
                </c:pt>
                <c:pt idx="2">
                  <c:v>79.8</c:v>
                </c:pt>
                <c:pt idx="3">
                  <c:v>84.2</c:v>
                </c:pt>
                <c:pt idx="4">
                  <c:v>88.1</c:v>
                </c:pt>
                <c:pt idx="5">
                  <c:v>93.4</c:v>
                </c:pt>
                <c:pt idx="6">
                  <c:v>97.8</c:v>
                </c:pt>
                <c:pt idx="7">
                  <c:v>103.4</c:v>
                </c:pt>
              </c:numCache>
            </c:numRef>
          </c:yVal>
          <c:smooth val="1"/>
          <c:extLst>
            <c:ext xmlns:c16="http://schemas.microsoft.com/office/drawing/2014/chart" uri="{C3380CC4-5D6E-409C-BE32-E72D297353CC}">
              <c16:uniqueId val="{00000005-079D-4773-9E01-E872CA5C3499}"/>
            </c:ext>
          </c:extLst>
        </c:ser>
        <c:ser>
          <c:idx val="6"/>
          <c:order val="6"/>
          <c:tx>
            <c:strRef>
              <c:f>Sheet1!$A$71</c:f>
              <c:strCache>
                <c:ptCount val="1"/>
                <c:pt idx="0">
                  <c:v>2x 40A Competitor 2 Rgon 47 Rgoff 47</c:v>
                </c:pt>
              </c:strCache>
            </c:strRef>
          </c:tx>
          <c:spPr>
            <a:ln w="19050" cap="rnd">
              <a:solidFill>
                <a:schemeClr val="accent1">
                  <a:lumMod val="60000"/>
                </a:schemeClr>
              </a:solidFill>
              <a:prstDash val="sysDot"/>
              <a:round/>
            </a:ln>
            <a:effectLst/>
          </c:spPr>
          <c:marker>
            <c:symbol val="none"/>
          </c:marker>
          <c:xVal>
            <c:numRef>
              <c:f>Sheet1!$D$71:$D$76</c:f>
              <c:numCache>
                <c:formatCode>General</c:formatCode>
                <c:ptCount val="6"/>
                <c:pt idx="0">
                  <c:v>11.6</c:v>
                </c:pt>
                <c:pt idx="1">
                  <c:v>14.9</c:v>
                </c:pt>
                <c:pt idx="2">
                  <c:v>18.600000000000001</c:v>
                </c:pt>
                <c:pt idx="3">
                  <c:v>22.6</c:v>
                </c:pt>
                <c:pt idx="4">
                  <c:v>27.6</c:v>
                </c:pt>
                <c:pt idx="5">
                  <c:v>30.3</c:v>
                </c:pt>
              </c:numCache>
            </c:numRef>
          </c:xVal>
          <c:yVal>
            <c:numRef>
              <c:f>Sheet1!$E$71:$E$76</c:f>
              <c:numCache>
                <c:formatCode>0.000</c:formatCode>
                <c:ptCount val="6"/>
                <c:pt idx="0">
                  <c:v>62.9</c:v>
                </c:pt>
                <c:pt idx="1">
                  <c:v>68.7</c:v>
                </c:pt>
                <c:pt idx="2">
                  <c:v>76.7</c:v>
                </c:pt>
                <c:pt idx="3">
                  <c:v>85.4</c:v>
                </c:pt>
                <c:pt idx="4">
                  <c:v>96.1</c:v>
                </c:pt>
                <c:pt idx="5">
                  <c:v>102.9</c:v>
                </c:pt>
              </c:numCache>
            </c:numRef>
          </c:yVal>
          <c:smooth val="1"/>
          <c:extLst>
            <c:ext xmlns:c16="http://schemas.microsoft.com/office/drawing/2014/chart" uri="{C3380CC4-5D6E-409C-BE32-E72D297353CC}">
              <c16:uniqueId val="{00000006-079D-4773-9E01-E872CA5C3499}"/>
            </c:ext>
          </c:extLst>
        </c:ser>
        <c:dLbls>
          <c:showLegendKey val="0"/>
          <c:showVal val="0"/>
          <c:showCatName val="0"/>
          <c:showSerName val="0"/>
          <c:showPercent val="0"/>
          <c:showBubbleSize val="0"/>
        </c:dLbls>
        <c:axId val="1201539759"/>
        <c:axId val="1201544751"/>
        <c:extLst>
          <c:ext xmlns:c15="http://schemas.microsoft.com/office/drawing/2012/chart" uri="{02D57815-91ED-43cb-92C2-25804820EDAC}">
            <c15:filteredScatterSeries>
              <c15:ser>
                <c:idx val="0"/>
                <c:order val="0"/>
                <c:tx>
                  <c:strRef>
                    <c:extLst>
                      <c:ext uri="{02D57815-91ED-43cb-92C2-25804820EDAC}">
                        <c15:formulaRef>
                          <c15:sqref>Sheet1!$A$3</c15:sqref>
                        </c15:formulaRef>
                      </c:ext>
                    </c:extLst>
                    <c:strCache>
                      <c:ptCount val="1"/>
                      <c:pt idx="0">
                        <c:v>IKQ75N120CS7 Rg 2.7 ohm</c:v>
                      </c:pt>
                    </c:strCache>
                  </c:strRef>
                </c:tx>
                <c:spPr>
                  <a:ln w="19050" cap="rnd">
                    <a:solidFill>
                      <a:schemeClr val="accent1"/>
                    </a:solidFill>
                    <a:round/>
                  </a:ln>
                  <a:effectLst/>
                </c:spPr>
                <c:marker>
                  <c:symbol val="none"/>
                </c:marker>
                <c:xVal>
                  <c:numRef>
                    <c:extLst>
                      <c:ext uri="{02D57815-91ED-43cb-92C2-25804820EDAC}">
                        <c15:formulaRef>
                          <c15:sqref>Sheet1!$D$3:$D$7</c15:sqref>
                        </c15:formulaRef>
                      </c:ext>
                    </c:extLst>
                    <c:numCache>
                      <c:formatCode>General</c:formatCode>
                      <c:ptCount val="5"/>
                      <c:pt idx="0">
                        <c:v>18</c:v>
                      </c:pt>
                      <c:pt idx="1">
                        <c:v>22.5</c:v>
                      </c:pt>
                      <c:pt idx="2">
                        <c:v>27.5</c:v>
                      </c:pt>
                      <c:pt idx="3">
                        <c:v>33</c:v>
                      </c:pt>
                      <c:pt idx="4">
                        <c:v>36.299999999999997</c:v>
                      </c:pt>
                    </c:numCache>
                  </c:numRef>
                </c:xVal>
                <c:yVal>
                  <c:numRef>
                    <c:extLst>
                      <c:ext uri="{02D57815-91ED-43cb-92C2-25804820EDAC}">
                        <c15:formulaRef>
                          <c15:sqref>Sheet1!$E$3:$E$7</c15:sqref>
                        </c15:formulaRef>
                      </c:ext>
                    </c:extLst>
                    <c:numCache>
                      <c:formatCode>General</c:formatCode>
                      <c:ptCount val="5"/>
                      <c:pt idx="0">
                        <c:v>62.6</c:v>
                      </c:pt>
                      <c:pt idx="1">
                        <c:v>69.201999999999998</c:v>
                      </c:pt>
                      <c:pt idx="2">
                        <c:v>78.599999999999994</c:v>
                      </c:pt>
                      <c:pt idx="3">
                        <c:v>92.402000000000001</c:v>
                      </c:pt>
                      <c:pt idx="4">
                        <c:v>101.2</c:v>
                      </c:pt>
                    </c:numCache>
                  </c:numRef>
                </c:yVal>
                <c:smooth val="1"/>
                <c:extLst>
                  <c:ext xmlns:c16="http://schemas.microsoft.com/office/drawing/2014/chart" uri="{C3380CC4-5D6E-409C-BE32-E72D297353CC}">
                    <c16:uniqueId val="{00000000-079D-4773-9E01-E872CA5C3499}"/>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Sheet1!$A$24</c15:sqref>
                        </c15:formulaRef>
                      </c:ext>
                    </c:extLst>
                    <c:strCache>
                      <c:ptCount val="1"/>
                      <c:pt idx="0">
                        <c:v>IKQ75N120CT2 Rg 6 ohm</c:v>
                      </c:pt>
                    </c:strCache>
                  </c:strRef>
                </c:tx>
                <c:spPr>
                  <a:ln w="25400" cap="rnd">
                    <a:solidFill>
                      <a:schemeClr val="accent3"/>
                    </a:solidFill>
                    <a:round/>
                  </a:ln>
                  <a:effectLst/>
                </c:spPr>
                <c:marker>
                  <c:symbol val="none"/>
                </c:marker>
                <c:xVal>
                  <c:numRef>
                    <c:extLst xmlns:c15="http://schemas.microsoft.com/office/drawing/2012/chart">
                      <c:ext xmlns:c15="http://schemas.microsoft.com/office/drawing/2012/chart" uri="{02D57815-91ED-43cb-92C2-25804820EDAC}">
                        <c15:formulaRef>
                          <c15:sqref>Sheet1!$D$24:$D$28</c15:sqref>
                        </c15:formulaRef>
                      </c:ext>
                    </c:extLst>
                    <c:numCache>
                      <c:formatCode>General</c:formatCode>
                      <c:ptCount val="5"/>
                      <c:pt idx="0">
                        <c:v>11.6</c:v>
                      </c:pt>
                      <c:pt idx="1">
                        <c:v>15</c:v>
                      </c:pt>
                      <c:pt idx="2">
                        <c:v>19</c:v>
                      </c:pt>
                      <c:pt idx="3">
                        <c:v>21.3</c:v>
                      </c:pt>
                      <c:pt idx="4">
                        <c:v>23.7</c:v>
                      </c:pt>
                    </c:numCache>
                  </c:numRef>
                </c:xVal>
                <c:yVal>
                  <c:numRef>
                    <c:extLst xmlns:c15="http://schemas.microsoft.com/office/drawing/2012/chart">
                      <c:ext xmlns:c15="http://schemas.microsoft.com/office/drawing/2012/chart" uri="{02D57815-91ED-43cb-92C2-25804820EDAC}">
                        <c15:formulaRef>
                          <c15:sqref>Sheet1!$E$24:$E$28</c15:sqref>
                        </c15:formulaRef>
                      </c:ext>
                    </c:extLst>
                    <c:numCache>
                      <c:formatCode>General</c:formatCode>
                      <c:ptCount val="5"/>
                      <c:pt idx="0" formatCode="0.000">
                        <c:v>69.8</c:v>
                      </c:pt>
                      <c:pt idx="1">
                        <c:v>79.099999999999994</c:v>
                      </c:pt>
                      <c:pt idx="2">
                        <c:v>90.1</c:v>
                      </c:pt>
                      <c:pt idx="3">
                        <c:v>97.4</c:v>
                      </c:pt>
                      <c:pt idx="4">
                        <c:v>105.5</c:v>
                      </c:pt>
                    </c:numCache>
                  </c:numRef>
                </c:yVal>
                <c:smooth val="1"/>
                <c:extLst xmlns:c15="http://schemas.microsoft.com/office/drawing/2012/chart">
                  <c:ext xmlns:c16="http://schemas.microsoft.com/office/drawing/2014/chart" uri="{C3380CC4-5D6E-409C-BE32-E72D297353CC}">
                    <c16:uniqueId val="{00000002-079D-4773-9E01-E872CA5C3499}"/>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Sheet1!$A$33</c15:sqref>
                        </c15:formulaRef>
                      </c:ext>
                    </c:extLst>
                    <c:strCache>
                      <c:ptCount val="1"/>
                      <c:pt idx="0">
                        <c:v>IKQ75N120CH3 Rg 6 ohm</c:v>
                      </c:pt>
                    </c:strCache>
                  </c:strRef>
                </c:tx>
                <c:spPr>
                  <a:ln w="25400" cap="rnd">
                    <a:solidFill>
                      <a:schemeClr val="accent1">
                        <a:lumMod val="60000"/>
                        <a:lumOff val="40000"/>
                      </a:schemeClr>
                    </a:solidFill>
                    <a:round/>
                  </a:ln>
                  <a:effectLst/>
                </c:spPr>
                <c:marker>
                  <c:symbol val="none"/>
                </c:marker>
                <c:xVal>
                  <c:numRef>
                    <c:extLst xmlns:c15="http://schemas.microsoft.com/office/drawing/2012/chart">
                      <c:ext xmlns:c15="http://schemas.microsoft.com/office/drawing/2012/chart" uri="{02D57815-91ED-43cb-92C2-25804820EDAC}">
                        <c15:formulaRef>
                          <c15:sqref>Sheet1!$D$33:$D$37</c15:sqref>
                        </c15:formulaRef>
                      </c:ext>
                    </c:extLst>
                    <c:numCache>
                      <c:formatCode>General</c:formatCode>
                      <c:ptCount val="5"/>
                      <c:pt idx="0">
                        <c:v>11.5</c:v>
                      </c:pt>
                      <c:pt idx="1">
                        <c:v>15</c:v>
                      </c:pt>
                      <c:pt idx="2">
                        <c:v>18.8</c:v>
                      </c:pt>
                      <c:pt idx="3">
                        <c:v>23.3</c:v>
                      </c:pt>
                      <c:pt idx="4">
                        <c:v>28.3</c:v>
                      </c:pt>
                    </c:numCache>
                  </c:numRef>
                </c:xVal>
                <c:yVal>
                  <c:numRef>
                    <c:extLst xmlns:c15="http://schemas.microsoft.com/office/drawing/2012/chart">
                      <c:ext xmlns:c15="http://schemas.microsoft.com/office/drawing/2012/chart" uri="{02D57815-91ED-43cb-92C2-25804820EDAC}">
                        <c15:formulaRef>
                          <c15:sqref>Sheet1!$E$33:$E$37</c15:sqref>
                        </c15:formulaRef>
                      </c:ext>
                    </c:extLst>
                    <c:numCache>
                      <c:formatCode>0.000</c:formatCode>
                      <c:ptCount val="5"/>
                      <c:pt idx="0">
                        <c:v>55</c:v>
                      </c:pt>
                      <c:pt idx="1">
                        <c:v>62.9</c:v>
                      </c:pt>
                      <c:pt idx="2" formatCode="General">
                        <c:v>73.2</c:v>
                      </c:pt>
                      <c:pt idx="3" formatCode="General">
                        <c:v>84.3</c:v>
                      </c:pt>
                      <c:pt idx="4" formatCode="General">
                        <c:v>100.4</c:v>
                      </c:pt>
                    </c:numCache>
                  </c:numRef>
                </c:yVal>
                <c:smooth val="1"/>
                <c:extLst xmlns:c15="http://schemas.microsoft.com/office/drawing/2012/chart">
                  <c:ext xmlns:c16="http://schemas.microsoft.com/office/drawing/2014/chart" uri="{C3380CC4-5D6E-409C-BE32-E72D297353CC}">
                    <c16:uniqueId val="{00000003-079D-4773-9E01-E872CA5C3499}"/>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Sheet1!$A$43</c15:sqref>
                        </c15:formulaRef>
                      </c:ext>
                    </c:extLst>
                    <c:strCache>
                      <c:ptCount val="1"/>
                      <c:pt idx="0">
                        <c:v>IMZA120R020M1H Rg 56 ohm</c:v>
                      </c:pt>
                    </c:strCache>
                  </c:strRef>
                </c:tx>
                <c:spPr>
                  <a:ln w="25400" cap="rnd">
                    <a:solidFill>
                      <a:schemeClr val="accent5"/>
                    </a:solidFill>
                    <a:round/>
                  </a:ln>
                  <a:effectLst/>
                </c:spPr>
                <c:marker>
                  <c:symbol val="none"/>
                </c:marker>
                <c:xVal>
                  <c:numRef>
                    <c:extLst xmlns:c15="http://schemas.microsoft.com/office/drawing/2012/chart">
                      <c:ext xmlns:c15="http://schemas.microsoft.com/office/drawing/2012/chart" uri="{02D57815-91ED-43cb-92C2-25804820EDAC}">
                        <c15:formulaRef>
                          <c15:sqref>Sheet1!$D$43:$D$49</c15:sqref>
                        </c15:formulaRef>
                      </c:ext>
                    </c:extLst>
                    <c:numCache>
                      <c:formatCode>General</c:formatCode>
                      <c:ptCount val="7"/>
                      <c:pt idx="0">
                        <c:v>13.1</c:v>
                      </c:pt>
                      <c:pt idx="1">
                        <c:v>14.7</c:v>
                      </c:pt>
                      <c:pt idx="2">
                        <c:v>16.5</c:v>
                      </c:pt>
                      <c:pt idx="3">
                        <c:v>18.3</c:v>
                      </c:pt>
                      <c:pt idx="4">
                        <c:v>20.5</c:v>
                      </c:pt>
                      <c:pt idx="5">
                        <c:v>23.1</c:v>
                      </c:pt>
                      <c:pt idx="6">
                        <c:v>24.3</c:v>
                      </c:pt>
                    </c:numCache>
                  </c:numRef>
                </c:xVal>
                <c:yVal>
                  <c:numRef>
                    <c:extLst xmlns:c15="http://schemas.microsoft.com/office/drawing/2012/chart">
                      <c:ext xmlns:c15="http://schemas.microsoft.com/office/drawing/2012/chart" uri="{02D57815-91ED-43cb-92C2-25804820EDAC}">
                        <c15:formulaRef>
                          <c15:sqref>Sheet1!$E$43:$E$49</c15:sqref>
                        </c15:formulaRef>
                      </c:ext>
                    </c:extLst>
                    <c:numCache>
                      <c:formatCode>0.000</c:formatCode>
                      <c:ptCount val="7"/>
                      <c:pt idx="0">
                        <c:v>71.2</c:v>
                      </c:pt>
                      <c:pt idx="1">
                        <c:v>75.5</c:v>
                      </c:pt>
                      <c:pt idx="2">
                        <c:v>79.900000000000006</c:v>
                      </c:pt>
                      <c:pt idx="3">
                        <c:v>85</c:v>
                      </c:pt>
                      <c:pt idx="4">
                        <c:v>90.4</c:v>
                      </c:pt>
                      <c:pt idx="5">
                        <c:v>97.2</c:v>
                      </c:pt>
                      <c:pt idx="6">
                        <c:v>101.2</c:v>
                      </c:pt>
                    </c:numCache>
                  </c:numRef>
                </c:yVal>
                <c:smooth val="1"/>
                <c:extLst xmlns:c15="http://schemas.microsoft.com/office/drawing/2012/chart">
                  <c:ext xmlns:c16="http://schemas.microsoft.com/office/drawing/2014/chart" uri="{C3380CC4-5D6E-409C-BE32-E72D297353CC}">
                    <c16:uniqueId val="{00000004-079D-4773-9E01-E872CA5C3499}"/>
                  </c:ext>
                </c:extLst>
              </c15:ser>
            </c15:filteredScatterSeries>
          </c:ext>
        </c:extLst>
      </c:scatterChart>
      <c:valAx>
        <c:axId val="1201539759"/>
        <c:scaling>
          <c:orientation val="minMax"/>
          <c:min val="1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r>
                  <a:rPr lang="de-AT"/>
                  <a:t>[A]</a:t>
                </a:r>
              </a:p>
            </c:rich>
          </c:tx>
          <c:overlay val="0"/>
          <c:spPr>
            <a:noFill/>
            <a:ln>
              <a:noFill/>
            </a:ln>
            <a:effectLst/>
          </c:spPr>
          <c:txPr>
            <a:bodyPr rot="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crossAx val="1201544751"/>
        <c:crosses val="autoZero"/>
        <c:crossBetween val="midCat"/>
        <c:majorUnit val="2"/>
      </c:valAx>
      <c:valAx>
        <c:axId val="1201544751"/>
        <c:scaling>
          <c:orientation val="minMax"/>
          <c:min val="4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r>
                  <a:rPr lang="de-AT"/>
                  <a:t>[°C] </a:t>
                </a:r>
              </a:p>
            </c:rich>
          </c:tx>
          <c:overlay val="0"/>
          <c:spPr>
            <a:noFill/>
            <a:ln>
              <a:noFill/>
            </a:ln>
            <a:effectLst/>
          </c:spPr>
          <c:txPr>
            <a:bodyPr rot="-5400000" spcFirstLastPara="1" vertOverflow="ellipsis" vert="horz" wrap="square" anchor="ctr" anchorCtr="1"/>
            <a:lstStyle/>
            <a:p>
              <a:pPr>
                <a:defRPr sz="1000" b="0" i="0" u="none" strike="noStrike" kern="1200" baseline="0" dirty="0">
                  <a:solidFill>
                    <a:srgbClr val="575352"/>
                  </a:solidFill>
                  <a:latin typeface="Arial"/>
                  <a:ea typeface="Arial"/>
                  <a:cs typeface="Arial"/>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crossAx val="1201539759"/>
        <c:crosses val="autoZero"/>
        <c:crossBetween val="midCat"/>
      </c:valAx>
      <c:spPr>
        <a:noFill/>
        <a:ln>
          <a:noFill/>
        </a:ln>
        <a:effectLst/>
      </c:spPr>
    </c:plotArea>
    <c:legend>
      <c:legendPos val="r"/>
      <c:legendEntry>
        <c:idx val="0"/>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egendEntry>
        <c:idx val="1"/>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egendEntry>
        <c:idx val="2"/>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ayout>
        <c:manualLayout>
          <c:xMode val="edge"/>
          <c:yMode val="edge"/>
          <c:x val="0.48485906795631828"/>
          <c:y val="0.64634614271387614"/>
          <c:w val="0.35691895159883485"/>
          <c:h val="0.227862006330114"/>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40" b="1" i="0" u="none" strike="noStrike" kern="1200" spc="0" baseline="0">
                <a:solidFill>
                  <a:schemeClr val="tx1"/>
                </a:solidFill>
                <a:latin typeface="+mn-lt"/>
                <a:ea typeface="+mn-ea"/>
                <a:cs typeface="+mn-cs"/>
              </a:defRPr>
            </a:pPr>
            <a:r>
              <a:rPr lang="en-US" b="1" dirty="0"/>
              <a:t>IGBT7 vs previous generation - V</a:t>
            </a:r>
            <a:r>
              <a:rPr lang="en-US" b="1" baseline="-25000" dirty="0"/>
              <a:t>CE(sat)</a:t>
            </a:r>
            <a:r>
              <a:rPr lang="en-US" b="1" dirty="0"/>
              <a:t> vs. E</a:t>
            </a:r>
            <a:r>
              <a:rPr lang="en-US" b="1" baseline="-25000" dirty="0"/>
              <a:t>TOTAL</a:t>
            </a:r>
          </a:p>
        </c:rich>
      </c:tx>
      <c:overlay val="0"/>
      <c:spPr>
        <a:noFill/>
        <a:ln>
          <a:noFill/>
        </a:ln>
        <a:effectLst/>
      </c:spPr>
      <c:txPr>
        <a:bodyPr rot="0" spcFirstLastPara="1" vertOverflow="ellipsis" vert="horz" wrap="square" anchor="ctr" anchorCtr="1"/>
        <a:lstStyle/>
        <a:p>
          <a:pPr algn="ctr" rtl="0">
            <a:defRPr sz="1440" b="1" i="0" u="none" strike="noStrike" kern="1200" spc="0" baseline="0">
              <a:solidFill>
                <a:schemeClr val="tx1"/>
              </a:solidFill>
              <a:latin typeface="+mn-lt"/>
              <a:ea typeface="+mn-ea"/>
              <a:cs typeface="+mn-cs"/>
            </a:defRPr>
          </a:pPr>
          <a:endParaRPr lang="de-DE"/>
        </a:p>
      </c:txPr>
    </c:title>
    <c:autoTitleDeleted val="0"/>
    <c:plotArea>
      <c:layout/>
      <c:scatterChart>
        <c:scatterStyle val="lineMarker"/>
        <c:varyColors val="0"/>
        <c:ser>
          <c:idx val="0"/>
          <c:order val="0"/>
          <c:tx>
            <c:strRef>
              <c:f>Sheet1!$B$4</c:f>
              <c:strCache>
                <c:ptCount val="1"/>
                <c:pt idx="0">
                  <c:v>CH7</c:v>
                </c:pt>
              </c:strCache>
            </c:strRef>
          </c:tx>
          <c:spPr>
            <a:ln w="25400" cap="rnd">
              <a:noFill/>
              <a:round/>
            </a:ln>
            <a:effectLst/>
          </c:spPr>
          <c:marker>
            <c:symbol val="triangle"/>
            <c:size val="25"/>
            <c:spPr>
              <a:solidFill>
                <a:schemeClr val="accent1"/>
              </a:solidFill>
              <a:ln w="9525">
                <a:solidFill>
                  <a:schemeClr val="accent1"/>
                </a:solidFill>
              </a:ln>
              <a:effectLst/>
            </c:spPr>
          </c:marker>
          <c:dPt>
            <c:idx val="0"/>
            <c:marker>
              <c:symbol val="circle"/>
              <c:size val="12"/>
              <c:spPr>
                <a:solidFill>
                  <a:schemeClr val="bg1"/>
                </a:solidFill>
                <a:ln w="28575">
                  <a:solidFill>
                    <a:schemeClr val="accent1"/>
                  </a:solidFill>
                </a:ln>
                <a:effectLst/>
              </c:spPr>
            </c:marker>
            <c:bubble3D val="0"/>
            <c:extLst>
              <c:ext xmlns:c16="http://schemas.microsoft.com/office/drawing/2014/chart" uri="{C3380CC4-5D6E-409C-BE32-E72D297353CC}">
                <c16:uniqueId val="{0000000D-EEFA-4CB1-A903-666ADA523C82}"/>
              </c:ext>
            </c:extLst>
          </c:dPt>
          <c:xVal>
            <c:numRef>
              <c:f>Sheet1!$D$4</c:f>
              <c:numCache>
                <c:formatCode>General</c:formatCode>
                <c:ptCount val="1"/>
                <c:pt idx="0">
                  <c:v>2</c:v>
                </c:pt>
              </c:numCache>
            </c:numRef>
          </c:xVal>
          <c:yVal>
            <c:numRef>
              <c:f>Sheet1!$G$4</c:f>
              <c:numCache>
                <c:formatCode>General</c:formatCode>
                <c:ptCount val="1"/>
                <c:pt idx="0">
                  <c:v>10.3</c:v>
                </c:pt>
              </c:numCache>
            </c:numRef>
          </c:yVal>
          <c:smooth val="0"/>
          <c:extLst>
            <c:ext xmlns:c16="http://schemas.microsoft.com/office/drawing/2014/chart" uri="{C3380CC4-5D6E-409C-BE32-E72D297353CC}">
              <c16:uniqueId val="{00000000-EEFA-4CB1-A903-666ADA523C82}"/>
            </c:ext>
          </c:extLst>
        </c:ser>
        <c:ser>
          <c:idx val="1"/>
          <c:order val="1"/>
          <c:tx>
            <c:strRef>
              <c:f>Sheet1!$B$8</c:f>
              <c:strCache>
                <c:ptCount val="1"/>
                <c:pt idx="0">
                  <c:v>CS7</c:v>
                </c:pt>
              </c:strCache>
            </c:strRef>
          </c:tx>
          <c:spPr>
            <a:ln w="25400" cap="rnd">
              <a:noFill/>
              <a:round/>
            </a:ln>
            <a:effectLst/>
          </c:spPr>
          <c:marker>
            <c:symbol val="diamond"/>
            <c:size val="12"/>
            <c:spPr>
              <a:solidFill>
                <a:schemeClr val="bg1"/>
              </a:solidFill>
              <a:ln w="28575">
                <a:solidFill>
                  <a:schemeClr val="tx2"/>
                </a:solidFill>
              </a:ln>
              <a:effectLst/>
            </c:spPr>
          </c:marker>
          <c:xVal>
            <c:numRef>
              <c:f>Sheet1!$D$8</c:f>
              <c:numCache>
                <c:formatCode>General</c:formatCode>
                <c:ptCount val="1"/>
                <c:pt idx="0">
                  <c:v>2</c:v>
                </c:pt>
              </c:numCache>
            </c:numRef>
          </c:xVal>
          <c:yVal>
            <c:numRef>
              <c:f>Sheet1!$G$8</c:f>
              <c:numCache>
                <c:formatCode>General</c:formatCode>
                <c:ptCount val="1"/>
                <c:pt idx="0">
                  <c:v>17.350000000000001</c:v>
                </c:pt>
              </c:numCache>
            </c:numRef>
          </c:yVal>
          <c:smooth val="0"/>
          <c:extLst>
            <c:ext xmlns:c16="http://schemas.microsoft.com/office/drawing/2014/chart" uri="{C3380CC4-5D6E-409C-BE32-E72D297353CC}">
              <c16:uniqueId val="{00000001-EEFA-4CB1-A903-666ADA523C82}"/>
            </c:ext>
          </c:extLst>
        </c:ser>
        <c:ser>
          <c:idx val="2"/>
          <c:order val="2"/>
          <c:tx>
            <c:strRef>
              <c:f>Sheet1!$B$5</c:f>
              <c:strCache>
                <c:ptCount val="1"/>
                <c:pt idx="0">
                  <c:v>CH3</c:v>
                </c:pt>
              </c:strCache>
            </c:strRef>
          </c:tx>
          <c:spPr>
            <a:ln w="25400" cap="rnd">
              <a:noFill/>
              <a:round/>
            </a:ln>
            <a:effectLst/>
          </c:spPr>
          <c:marker>
            <c:symbol val="diamond"/>
            <c:size val="12"/>
            <c:spPr>
              <a:solidFill>
                <a:schemeClr val="bg1"/>
              </a:solidFill>
              <a:ln w="28575">
                <a:solidFill>
                  <a:schemeClr val="accent3"/>
                </a:solidFill>
              </a:ln>
              <a:effectLst/>
            </c:spPr>
          </c:marker>
          <c:xVal>
            <c:numRef>
              <c:f>Sheet1!$D$5</c:f>
              <c:numCache>
                <c:formatCode>General</c:formatCode>
                <c:ptCount val="1"/>
                <c:pt idx="0">
                  <c:v>2.5</c:v>
                </c:pt>
              </c:numCache>
            </c:numRef>
          </c:xVal>
          <c:yVal>
            <c:numRef>
              <c:f>Sheet1!$G$5</c:f>
              <c:numCache>
                <c:formatCode>General</c:formatCode>
                <c:ptCount val="1"/>
                <c:pt idx="0">
                  <c:v>16.7</c:v>
                </c:pt>
              </c:numCache>
            </c:numRef>
          </c:yVal>
          <c:smooth val="0"/>
          <c:extLst>
            <c:ext xmlns:c16="http://schemas.microsoft.com/office/drawing/2014/chart" uri="{C3380CC4-5D6E-409C-BE32-E72D297353CC}">
              <c16:uniqueId val="{00000002-EEFA-4CB1-A903-666ADA523C82}"/>
            </c:ext>
          </c:extLst>
        </c:ser>
        <c:ser>
          <c:idx val="3"/>
          <c:order val="3"/>
          <c:tx>
            <c:strRef>
              <c:f>Sheet1!$B$6</c:f>
              <c:strCache>
                <c:ptCount val="1"/>
                <c:pt idx="0">
                  <c:v>CS6</c:v>
                </c:pt>
              </c:strCache>
            </c:strRef>
          </c:tx>
          <c:spPr>
            <a:ln w="25400" cap="rnd">
              <a:noFill/>
              <a:round/>
            </a:ln>
            <a:effectLst/>
          </c:spPr>
          <c:marker>
            <c:symbol val="diamond"/>
            <c:size val="12"/>
            <c:spPr>
              <a:solidFill>
                <a:schemeClr val="bg1"/>
              </a:solidFill>
              <a:ln w="28575">
                <a:solidFill>
                  <a:schemeClr val="accent3"/>
                </a:solidFill>
              </a:ln>
              <a:effectLst/>
            </c:spPr>
          </c:marker>
          <c:xVal>
            <c:numRef>
              <c:f>Sheet1!$D$6</c:f>
              <c:numCache>
                <c:formatCode>General</c:formatCode>
                <c:ptCount val="1"/>
                <c:pt idx="0">
                  <c:v>2.25</c:v>
                </c:pt>
              </c:numCache>
            </c:numRef>
          </c:xVal>
          <c:yVal>
            <c:numRef>
              <c:f>Sheet1!$G$6</c:f>
              <c:numCache>
                <c:formatCode>General</c:formatCode>
                <c:ptCount val="1"/>
                <c:pt idx="0">
                  <c:v>14.82</c:v>
                </c:pt>
              </c:numCache>
            </c:numRef>
          </c:yVal>
          <c:smooth val="0"/>
          <c:extLst>
            <c:ext xmlns:c16="http://schemas.microsoft.com/office/drawing/2014/chart" uri="{C3380CC4-5D6E-409C-BE32-E72D297353CC}">
              <c16:uniqueId val="{00000003-EEFA-4CB1-A903-666ADA523C82}"/>
            </c:ext>
          </c:extLst>
        </c:ser>
        <c:ser>
          <c:idx val="4"/>
          <c:order val="4"/>
          <c:tx>
            <c:strRef>
              <c:f>Sheet1!$B$7</c:f>
              <c:strCache>
                <c:ptCount val="1"/>
                <c:pt idx="0">
                  <c:v>CT2</c:v>
                </c:pt>
              </c:strCache>
            </c:strRef>
          </c:tx>
          <c:spPr>
            <a:ln w="25400" cap="rnd">
              <a:noFill/>
              <a:round/>
            </a:ln>
            <a:effectLst/>
          </c:spPr>
          <c:marker>
            <c:symbol val="diamond"/>
            <c:size val="12"/>
            <c:spPr>
              <a:solidFill>
                <a:schemeClr val="bg1"/>
              </a:solidFill>
              <a:ln w="28575">
                <a:solidFill>
                  <a:schemeClr val="accent3"/>
                </a:solidFill>
              </a:ln>
              <a:effectLst/>
            </c:spPr>
          </c:marker>
          <c:xVal>
            <c:numRef>
              <c:f>Sheet1!$D$7</c:f>
              <c:numCache>
                <c:formatCode>General</c:formatCode>
                <c:ptCount val="1"/>
                <c:pt idx="0">
                  <c:v>2.2999999999999998</c:v>
                </c:pt>
              </c:numCache>
            </c:numRef>
          </c:xVal>
          <c:yVal>
            <c:numRef>
              <c:f>Sheet1!$G$7</c:f>
              <c:numCache>
                <c:formatCode>General</c:formatCode>
                <c:ptCount val="1"/>
                <c:pt idx="0">
                  <c:v>19.32</c:v>
                </c:pt>
              </c:numCache>
            </c:numRef>
          </c:yVal>
          <c:smooth val="0"/>
          <c:extLst>
            <c:ext xmlns:c16="http://schemas.microsoft.com/office/drawing/2014/chart" uri="{C3380CC4-5D6E-409C-BE32-E72D297353CC}">
              <c16:uniqueId val="{00000004-EEFA-4CB1-A903-666ADA523C82}"/>
            </c:ext>
          </c:extLst>
        </c:ser>
        <c:ser>
          <c:idx val="5"/>
          <c:order val="5"/>
          <c:tx>
            <c:strRef>
              <c:f>Sheet1!$B$10</c:f>
              <c:strCache>
                <c:ptCount val="1"/>
                <c:pt idx="0">
                  <c:v>ET7</c:v>
                </c:pt>
              </c:strCache>
            </c:strRef>
          </c:tx>
          <c:spPr>
            <a:ln w="25400" cap="rnd">
              <a:noFill/>
              <a:round/>
            </a:ln>
            <a:effectLst/>
          </c:spPr>
          <c:marker>
            <c:symbol val="diamond"/>
            <c:size val="12"/>
            <c:spPr>
              <a:solidFill>
                <a:schemeClr val="bg1"/>
              </a:solidFill>
              <a:ln w="28575">
                <a:solidFill>
                  <a:srgbClr val="0A8276"/>
                </a:solidFill>
              </a:ln>
              <a:effectLst/>
            </c:spPr>
          </c:marker>
          <c:xVal>
            <c:numRef>
              <c:f>Sheet1!$D$10</c:f>
              <c:numCache>
                <c:formatCode>General</c:formatCode>
                <c:ptCount val="1"/>
                <c:pt idx="0">
                  <c:v>1.6</c:v>
                </c:pt>
              </c:numCache>
            </c:numRef>
          </c:xVal>
          <c:yVal>
            <c:numRef>
              <c:f>Sheet1!$G$10</c:f>
              <c:numCache>
                <c:formatCode>General</c:formatCode>
                <c:ptCount val="1"/>
                <c:pt idx="0">
                  <c:v>6.48</c:v>
                </c:pt>
              </c:numCache>
            </c:numRef>
          </c:yVal>
          <c:smooth val="0"/>
          <c:extLst>
            <c:ext xmlns:c16="http://schemas.microsoft.com/office/drawing/2014/chart" uri="{C3380CC4-5D6E-409C-BE32-E72D297353CC}">
              <c16:uniqueId val="{00000005-EEFA-4CB1-A903-666ADA523C82}"/>
            </c:ext>
          </c:extLst>
        </c:ser>
        <c:ser>
          <c:idx val="6"/>
          <c:order val="6"/>
          <c:tx>
            <c:strRef>
              <c:f>Sheet1!$B$11</c:f>
              <c:strCache>
                <c:ptCount val="1"/>
                <c:pt idx="0">
                  <c:v>EH7</c:v>
                </c:pt>
              </c:strCache>
            </c:strRef>
          </c:tx>
          <c:spPr>
            <a:ln w="25400" cap="rnd">
              <a:noFill/>
              <a:round/>
            </a:ln>
            <a:effectLst/>
          </c:spPr>
          <c:marker>
            <c:symbol val="circle"/>
            <c:size val="12"/>
            <c:spPr>
              <a:solidFill>
                <a:schemeClr val="bg1"/>
              </a:solidFill>
              <a:ln w="28575">
                <a:solidFill>
                  <a:schemeClr val="tx2"/>
                </a:solidFill>
              </a:ln>
              <a:effectLst/>
            </c:spPr>
          </c:marker>
          <c:xVal>
            <c:numRef>
              <c:f>Sheet1!$D$11</c:f>
              <c:numCache>
                <c:formatCode>General</c:formatCode>
                <c:ptCount val="1"/>
                <c:pt idx="0">
                  <c:v>1.6</c:v>
                </c:pt>
              </c:numCache>
            </c:numRef>
          </c:xVal>
          <c:yVal>
            <c:numRef>
              <c:f>Sheet1!$G$11</c:f>
              <c:numCache>
                <c:formatCode>General</c:formatCode>
                <c:ptCount val="1"/>
                <c:pt idx="0">
                  <c:v>4.1399999999999997</c:v>
                </c:pt>
              </c:numCache>
            </c:numRef>
          </c:yVal>
          <c:smooth val="0"/>
          <c:extLst>
            <c:ext xmlns:c16="http://schemas.microsoft.com/office/drawing/2014/chart" uri="{C3380CC4-5D6E-409C-BE32-E72D297353CC}">
              <c16:uniqueId val="{00000006-EEFA-4CB1-A903-666ADA523C82}"/>
            </c:ext>
          </c:extLst>
        </c:ser>
        <c:ser>
          <c:idx val="7"/>
          <c:order val="7"/>
          <c:tx>
            <c:strRef>
              <c:f>Sheet1!$B$12</c:f>
              <c:strCache>
                <c:ptCount val="1"/>
                <c:pt idx="0">
                  <c:v>EL5</c:v>
                </c:pt>
              </c:strCache>
            </c:strRef>
          </c:tx>
          <c:spPr>
            <a:ln w="25400" cap="rnd">
              <a:noFill/>
              <a:round/>
            </a:ln>
            <a:effectLst/>
          </c:spPr>
          <c:marker>
            <c:symbol val="diamond"/>
            <c:size val="25"/>
            <c:spPr>
              <a:solidFill>
                <a:schemeClr val="bg1"/>
              </a:solidFill>
              <a:ln w="28575">
                <a:solidFill>
                  <a:schemeClr val="accent3"/>
                </a:solidFill>
              </a:ln>
              <a:effectLst/>
            </c:spPr>
          </c:marker>
          <c:dPt>
            <c:idx val="0"/>
            <c:marker>
              <c:symbol val="circle"/>
              <c:size val="12"/>
              <c:spPr>
                <a:solidFill>
                  <a:schemeClr val="bg1"/>
                </a:solidFill>
                <a:ln w="28575">
                  <a:solidFill>
                    <a:schemeClr val="accent3"/>
                  </a:solidFill>
                </a:ln>
                <a:effectLst/>
              </c:spPr>
            </c:marker>
            <c:bubble3D val="0"/>
            <c:extLst>
              <c:ext xmlns:c16="http://schemas.microsoft.com/office/drawing/2014/chart" uri="{C3380CC4-5D6E-409C-BE32-E72D297353CC}">
                <c16:uniqueId val="{0000000B-EEFA-4CB1-A903-666ADA523C82}"/>
              </c:ext>
            </c:extLst>
          </c:dPt>
          <c:xVal>
            <c:numRef>
              <c:f>Sheet1!$D$12</c:f>
              <c:numCache>
                <c:formatCode>General</c:formatCode>
                <c:ptCount val="1"/>
                <c:pt idx="0">
                  <c:v>1.1399999999999999</c:v>
                </c:pt>
              </c:numCache>
            </c:numRef>
          </c:xVal>
          <c:yVal>
            <c:numRef>
              <c:f>Sheet1!$G$12</c:f>
              <c:numCache>
                <c:formatCode>General</c:formatCode>
                <c:ptCount val="1"/>
                <c:pt idx="0">
                  <c:v>8.25</c:v>
                </c:pt>
              </c:numCache>
            </c:numRef>
          </c:yVal>
          <c:smooth val="0"/>
          <c:extLst>
            <c:ext xmlns:c16="http://schemas.microsoft.com/office/drawing/2014/chart" uri="{C3380CC4-5D6E-409C-BE32-E72D297353CC}">
              <c16:uniqueId val="{00000007-EEFA-4CB1-A903-666ADA523C82}"/>
            </c:ext>
          </c:extLst>
        </c:ser>
        <c:ser>
          <c:idx val="8"/>
          <c:order val="8"/>
          <c:tx>
            <c:strRef>
              <c:f>Sheet1!$B$13</c:f>
              <c:strCache>
                <c:ptCount val="1"/>
                <c:pt idx="0">
                  <c:v>EH5</c:v>
                </c:pt>
              </c:strCache>
            </c:strRef>
          </c:tx>
          <c:spPr>
            <a:ln w="25400" cap="rnd">
              <a:noFill/>
              <a:round/>
            </a:ln>
            <a:effectLst/>
          </c:spPr>
          <c:marker>
            <c:symbol val="diamond"/>
            <c:size val="25"/>
            <c:spPr>
              <a:solidFill>
                <a:srgbClr val="92D050"/>
              </a:solidFill>
              <a:ln w="9525">
                <a:solidFill>
                  <a:srgbClr val="92D050"/>
                </a:solidFill>
              </a:ln>
              <a:effectLst/>
            </c:spPr>
          </c:marker>
          <c:dPt>
            <c:idx val="0"/>
            <c:marker>
              <c:symbol val="circle"/>
              <c:size val="12"/>
              <c:spPr>
                <a:solidFill>
                  <a:schemeClr val="bg1"/>
                </a:solidFill>
                <a:ln w="28575">
                  <a:solidFill>
                    <a:schemeClr val="accent3"/>
                  </a:solidFill>
                </a:ln>
                <a:effectLst/>
              </c:spPr>
            </c:marker>
            <c:bubble3D val="0"/>
            <c:extLst>
              <c:ext xmlns:c16="http://schemas.microsoft.com/office/drawing/2014/chart" uri="{C3380CC4-5D6E-409C-BE32-E72D297353CC}">
                <c16:uniqueId val="{0000000C-EEFA-4CB1-A903-666ADA523C82}"/>
              </c:ext>
            </c:extLst>
          </c:dPt>
          <c:xVal>
            <c:numRef>
              <c:f>Sheet1!$D$13</c:f>
              <c:numCache>
                <c:formatCode>General</c:formatCode>
                <c:ptCount val="1"/>
                <c:pt idx="0">
                  <c:v>1.95</c:v>
                </c:pt>
              </c:numCache>
            </c:numRef>
          </c:xVal>
          <c:yVal>
            <c:numRef>
              <c:f>Sheet1!$G$13</c:f>
              <c:numCache>
                <c:formatCode>General</c:formatCode>
                <c:ptCount val="1"/>
                <c:pt idx="0">
                  <c:v>4.51</c:v>
                </c:pt>
              </c:numCache>
            </c:numRef>
          </c:yVal>
          <c:smooth val="0"/>
          <c:extLst>
            <c:ext xmlns:c16="http://schemas.microsoft.com/office/drawing/2014/chart" uri="{C3380CC4-5D6E-409C-BE32-E72D297353CC}">
              <c16:uniqueId val="{00000008-EEFA-4CB1-A903-666ADA523C82}"/>
            </c:ext>
          </c:extLst>
        </c:ser>
        <c:ser>
          <c:idx val="9"/>
          <c:order val="9"/>
          <c:tx>
            <c:strRef>
              <c:f>Sheet1!$B$14</c:f>
              <c:strCache>
                <c:ptCount val="1"/>
                <c:pt idx="0">
                  <c:v>ES5</c:v>
                </c:pt>
              </c:strCache>
            </c:strRef>
          </c:tx>
          <c:spPr>
            <a:ln w="25400" cap="rnd">
              <a:noFill/>
              <a:round/>
            </a:ln>
            <a:effectLst/>
          </c:spPr>
          <c:marker>
            <c:symbol val="circle"/>
            <c:size val="12"/>
            <c:spPr>
              <a:solidFill>
                <a:schemeClr val="bg1"/>
              </a:solidFill>
              <a:ln w="28575">
                <a:solidFill>
                  <a:schemeClr val="accent3"/>
                </a:solidFill>
              </a:ln>
              <a:effectLst/>
            </c:spPr>
          </c:marker>
          <c:xVal>
            <c:numRef>
              <c:f>Sheet1!$D$14</c:f>
              <c:numCache>
                <c:formatCode>General</c:formatCode>
                <c:ptCount val="1"/>
                <c:pt idx="0">
                  <c:v>1.65</c:v>
                </c:pt>
              </c:numCache>
            </c:numRef>
          </c:xVal>
          <c:yVal>
            <c:numRef>
              <c:f>Sheet1!$G$14</c:f>
              <c:numCache>
                <c:formatCode>General</c:formatCode>
                <c:ptCount val="1"/>
                <c:pt idx="0">
                  <c:v>4.76</c:v>
                </c:pt>
              </c:numCache>
            </c:numRef>
          </c:yVal>
          <c:smooth val="0"/>
          <c:extLst>
            <c:ext xmlns:c16="http://schemas.microsoft.com/office/drawing/2014/chart" uri="{C3380CC4-5D6E-409C-BE32-E72D297353CC}">
              <c16:uniqueId val="{00000009-EEFA-4CB1-A903-666ADA523C82}"/>
            </c:ext>
          </c:extLst>
        </c:ser>
        <c:ser>
          <c:idx val="10"/>
          <c:order val="10"/>
          <c:tx>
            <c:strRef>
              <c:f>Sheet1!$B$16</c:f>
              <c:strCache>
                <c:ptCount val="1"/>
                <c:pt idx="0">
                  <c:v>EH7</c:v>
                </c:pt>
              </c:strCache>
            </c:strRef>
          </c:tx>
          <c:spPr>
            <a:ln w="25400" cap="rnd">
              <a:noFill/>
              <a:round/>
            </a:ln>
            <a:effectLst/>
          </c:spPr>
          <c:marker>
            <c:symbol val="triangle"/>
            <c:size val="12"/>
            <c:spPr>
              <a:noFill/>
              <a:ln w="28575">
                <a:solidFill>
                  <a:srgbClr val="9C216E"/>
                </a:solidFill>
              </a:ln>
              <a:effectLst/>
            </c:spPr>
          </c:marker>
          <c:xVal>
            <c:numRef>
              <c:f>Sheet1!$D$16</c:f>
              <c:numCache>
                <c:formatCode>General</c:formatCode>
                <c:ptCount val="1"/>
                <c:pt idx="0">
                  <c:v>1.65</c:v>
                </c:pt>
              </c:numCache>
            </c:numRef>
          </c:xVal>
          <c:yVal>
            <c:numRef>
              <c:f>Sheet1!$G$16</c:f>
              <c:numCache>
                <c:formatCode>General</c:formatCode>
                <c:ptCount val="1"/>
                <c:pt idx="0">
                  <c:v>4.59</c:v>
                </c:pt>
              </c:numCache>
            </c:numRef>
          </c:yVal>
          <c:smooth val="0"/>
          <c:extLst>
            <c:ext xmlns:c16="http://schemas.microsoft.com/office/drawing/2014/chart" uri="{C3380CC4-5D6E-409C-BE32-E72D297353CC}">
              <c16:uniqueId val="{0000000A-EEFA-4CB1-A903-666ADA523C82}"/>
            </c:ext>
          </c:extLst>
        </c:ser>
        <c:dLbls>
          <c:showLegendKey val="0"/>
          <c:showVal val="0"/>
          <c:showCatName val="0"/>
          <c:showSerName val="0"/>
          <c:showPercent val="0"/>
          <c:showBubbleSize val="0"/>
        </c:dLbls>
        <c:axId val="744750192"/>
        <c:axId val="741020944"/>
      </c:scatterChart>
      <c:valAx>
        <c:axId val="744750192"/>
        <c:scaling>
          <c:orientation val="minMax"/>
          <c:min val="1"/>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dirty="0"/>
                  <a:t>V</a:t>
                </a:r>
                <a:r>
                  <a:rPr lang="en-US" b="1" baseline="-25000" dirty="0"/>
                  <a:t>CE(sat)</a:t>
                </a:r>
                <a:r>
                  <a:rPr lang="en-US" b="1" dirty="0"/>
                  <a:t> @ I</a:t>
                </a:r>
                <a:r>
                  <a:rPr lang="en-US" b="1" baseline="-25000" dirty="0"/>
                  <a:t>nom</a:t>
                </a:r>
                <a:r>
                  <a:rPr lang="en-US" b="1" dirty="0"/>
                  <a:t>, 175 ⁰C [V]</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741020944"/>
        <c:crosses val="autoZero"/>
        <c:crossBetween val="midCat"/>
      </c:valAx>
      <c:valAx>
        <c:axId val="741020944"/>
        <c:scaling>
          <c:orientation val="minMax"/>
          <c:max val="20"/>
          <c:min val="2.5"/>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b="1" dirty="0" err="1"/>
                  <a:t>E</a:t>
                </a:r>
                <a:r>
                  <a:rPr lang="en-US" b="1" baseline="-25000" dirty="0" err="1"/>
                  <a:t>Total</a:t>
                </a:r>
                <a:r>
                  <a:rPr lang="en-US" b="1" dirty="0"/>
                  <a:t> @ I</a:t>
                </a:r>
                <a:r>
                  <a:rPr lang="en-US" b="1" baseline="-25000" dirty="0"/>
                  <a:t>nom</a:t>
                </a:r>
                <a:r>
                  <a:rPr lang="en-US" b="1" dirty="0"/>
                  <a:t>, 175 ⁰C [</a:t>
                </a:r>
                <a:r>
                  <a:rPr lang="en-US" b="1" dirty="0" err="1"/>
                  <a:t>mJ</a:t>
                </a:r>
                <a:r>
                  <a:rPr lang="en-US" b="1" dirty="0"/>
                  <a:t>]</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744750192"/>
        <c:crosses val="autoZero"/>
        <c:crossBetween val="midCat"/>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200">
          <a:solidFill>
            <a:schemeClr val="tx1"/>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575352"/>
                </a:solidFill>
                <a:latin typeface="Arial" panose="020B0604020202020204" pitchFamily="34" charset="0"/>
                <a:ea typeface="+mn-ea"/>
                <a:cs typeface="Times New Roman" panose="02020603050405020304" pitchFamily="18" charset="0"/>
              </a:defRPr>
            </a:pPr>
            <a:r>
              <a:rPr lang="en-US" b="1" dirty="0">
                <a:solidFill>
                  <a:srgbClr val="575352"/>
                </a:solidFill>
                <a:latin typeface="Arial" panose="020B0604020202020204" pitchFamily="34" charset="0"/>
              </a:rPr>
              <a:t>TO-247 3pin devices perform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rgbClr val="575352"/>
              </a:solidFill>
              <a:latin typeface="Arial" panose="020B0604020202020204" pitchFamily="34" charset="0"/>
              <a:ea typeface="+mn-ea"/>
              <a:cs typeface="Times New Roman" panose="02020603050405020304" pitchFamily="18" charset="0"/>
            </a:defRPr>
          </a:pPr>
          <a:endParaRPr lang="de-DE"/>
        </a:p>
      </c:txPr>
    </c:title>
    <c:autoTitleDeleted val="0"/>
    <c:plotArea>
      <c:layout>
        <c:manualLayout>
          <c:layoutTarget val="inner"/>
          <c:xMode val="edge"/>
          <c:yMode val="edge"/>
          <c:x val="0.1070100633979737"/>
          <c:y val="8.3776730275680125E-2"/>
          <c:w val="0.86676972892439297"/>
          <c:h val="0.8104965785533903"/>
        </c:manualLayout>
      </c:layout>
      <c:scatterChart>
        <c:scatterStyle val="smoothMarker"/>
        <c:varyColors val="0"/>
        <c:ser>
          <c:idx val="0"/>
          <c:order val="0"/>
          <c:tx>
            <c:strRef>
              <c:f>Data!$L$8</c:f>
              <c:strCache>
                <c:ptCount val="1"/>
                <c:pt idx="0">
                  <c:v>IKW40N120CH7</c:v>
                </c:pt>
              </c:strCache>
            </c:strRef>
          </c:tx>
          <c:spPr>
            <a:ln w="28575" cap="rnd">
              <a:solidFill>
                <a:srgbClr val="0A8276"/>
              </a:solidFill>
              <a:round/>
            </a:ln>
            <a:effectLst/>
          </c:spPr>
          <c:marker>
            <c:symbol val="none"/>
          </c:marker>
          <c:xVal>
            <c:numRef>
              <c:f>Data!$O$8:$O$15</c:f>
              <c:numCache>
                <c:formatCode>General</c:formatCode>
                <c:ptCount val="8"/>
                <c:pt idx="0">
                  <c:v>0.48499999999999999</c:v>
                </c:pt>
                <c:pt idx="1">
                  <c:v>1.1870000000000001</c:v>
                </c:pt>
                <c:pt idx="2">
                  <c:v>1.6479999999999999</c:v>
                </c:pt>
                <c:pt idx="3">
                  <c:v>2.3370000000000002</c:v>
                </c:pt>
                <c:pt idx="4">
                  <c:v>2.7949999999999999</c:v>
                </c:pt>
                <c:pt idx="5">
                  <c:v>3.25</c:v>
                </c:pt>
                <c:pt idx="6">
                  <c:v>3.7029999999999998</c:v>
                </c:pt>
                <c:pt idx="7">
                  <c:v>4.3460000000000001</c:v>
                </c:pt>
              </c:numCache>
            </c:numRef>
          </c:xVal>
          <c:yVal>
            <c:numRef>
              <c:f>Data!$S$8:$S$15</c:f>
              <c:numCache>
                <c:formatCode>General</c:formatCode>
                <c:ptCount val="8"/>
                <c:pt idx="0">
                  <c:v>95.355000000000004</c:v>
                </c:pt>
                <c:pt idx="1">
                  <c:v>97.441999999999993</c:v>
                </c:pt>
                <c:pt idx="2">
                  <c:v>97.680999999999997</c:v>
                </c:pt>
                <c:pt idx="3">
                  <c:v>97.706999999999994</c:v>
                </c:pt>
                <c:pt idx="4">
                  <c:v>97.620999999999995</c:v>
                </c:pt>
                <c:pt idx="5">
                  <c:v>97.513000000000005</c:v>
                </c:pt>
                <c:pt idx="6">
                  <c:v>97.369</c:v>
                </c:pt>
                <c:pt idx="7">
                  <c:v>97.111000000000004</c:v>
                </c:pt>
              </c:numCache>
            </c:numRef>
          </c:yVal>
          <c:smooth val="1"/>
          <c:extLst>
            <c:ext xmlns:c16="http://schemas.microsoft.com/office/drawing/2014/chart" uri="{C3380CC4-5D6E-409C-BE32-E72D297353CC}">
              <c16:uniqueId val="{00000000-673E-44CA-9B9E-7D122CD3C01F}"/>
            </c:ext>
          </c:extLst>
        </c:ser>
        <c:ser>
          <c:idx val="8"/>
          <c:order val="8"/>
          <c:tx>
            <c:strRef>
              <c:f>Data!$L$55</c:f>
              <c:strCache>
                <c:ptCount val="1"/>
                <c:pt idx="0">
                  <c:v>IKW40N120CS6</c:v>
                </c:pt>
              </c:strCache>
            </c:strRef>
          </c:tx>
          <c:spPr>
            <a:ln w="19050" cap="rnd">
              <a:solidFill>
                <a:srgbClr val="E9E6E6">
                  <a:lumMod val="75000"/>
                </a:srgbClr>
              </a:solidFill>
              <a:round/>
            </a:ln>
            <a:effectLst/>
          </c:spPr>
          <c:marker>
            <c:symbol val="none"/>
          </c:marker>
          <c:xVal>
            <c:numRef>
              <c:f>Data!$O$55:$O$61</c:f>
              <c:numCache>
                <c:formatCode>General</c:formatCode>
                <c:ptCount val="7"/>
                <c:pt idx="0">
                  <c:v>0.52400000000000002</c:v>
                </c:pt>
                <c:pt idx="1">
                  <c:v>1.2350000000000001</c:v>
                </c:pt>
                <c:pt idx="2">
                  <c:v>1.7090000000000001</c:v>
                </c:pt>
                <c:pt idx="3">
                  <c:v>2.419</c:v>
                </c:pt>
                <c:pt idx="4">
                  <c:v>2.895</c:v>
                </c:pt>
                <c:pt idx="5">
                  <c:v>3.371</c:v>
                </c:pt>
                <c:pt idx="6">
                  <c:v>4.0869999999999997</c:v>
                </c:pt>
              </c:numCache>
            </c:numRef>
          </c:xVal>
          <c:yVal>
            <c:numRef>
              <c:f>Data!$S$55:$S$61</c:f>
              <c:numCache>
                <c:formatCode>General</c:formatCode>
                <c:ptCount val="7"/>
                <c:pt idx="0">
                  <c:v>92.733999999999995</c:v>
                </c:pt>
                <c:pt idx="1">
                  <c:v>96.117000000000004</c:v>
                </c:pt>
                <c:pt idx="2">
                  <c:v>96.474999999999994</c:v>
                </c:pt>
                <c:pt idx="3">
                  <c:v>96.533000000000001</c:v>
                </c:pt>
                <c:pt idx="4">
                  <c:v>96.433999999999997</c:v>
                </c:pt>
                <c:pt idx="5">
                  <c:v>96.295000000000002</c:v>
                </c:pt>
                <c:pt idx="6">
                  <c:v>96.022000000000006</c:v>
                </c:pt>
              </c:numCache>
            </c:numRef>
          </c:yVal>
          <c:smooth val="1"/>
          <c:extLst>
            <c:ext xmlns:c16="http://schemas.microsoft.com/office/drawing/2014/chart" uri="{C3380CC4-5D6E-409C-BE32-E72D297353CC}">
              <c16:uniqueId val="{00000001-673E-44CA-9B9E-7D122CD3C01F}"/>
            </c:ext>
          </c:extLst>
        </c:ser>
        <c:ser>
          <c:idx val="10"/>
          <c:order val="9"/>
          <c:tx>
            <c:strRef>
              <c:f>Data!$L$67</c:f>
              <c:strCache>
                <c:ptCount val="1"/>
                <c:pt idx="0">
                  <c:v>IKQ40N120CH3</c:v>
                </c:pt>
              </c:strCache>
            </c:strRef>
          </c:tx>
          <c:spPr>
            <a:ln w="19050" cap="rnd">
              <a:solidFill>
                <a:srgbClr val="928285">
                  <a:lumMod val="75000"/>
                </a:srgbClr>
              </a:solidFill>
              <a:round/>
            </a:ln>
            <a:effectLst/>
          </c:spPr>
          <c:marker>
            <c:symbol val="none"/>
          </c:marker>
          <c:xVal>
            <c:numRef>
              <c:f>Data!$O$67:$O$73</c:f>
              <c:numCache>
                <c:formatCode>General</c:formatCode>
                <c:ptCount val="7"/>
                <c:pt idx="0">
                  <c:v>0.51200000000000001</c:v>
                </c:pt>
                <c:pt idx="1">
                  <c:v>1.2110000000000001</c:v>
                </c:pt>
                <c:pt idx="2">
                  <c:v>1.6779999999999999</c:v>
                </c:pt>
                <c:pt idx="3">
                  <c:v>2.3620000000000001</c:v>
                </c:pt>
                <c:pt idx="4">
                  <c:v>2.84</c:v>
                </c:pt>
                <c:pt idx="5">
                  <c:v>3.3069999999999999</c:v>
                </c:pt>
                <c:pt idx="6">
                  <c:v>3.7719999999999998</c:v>
                </c:pt>
              </c:numCache>
            </c:numRef>
          </c:xVal>
          <c:yVal>
            <c:numRef>
              <c:f>Data!$S$67:$S$73</c:f>
              <c:numCache>
                <c:formatCode>General</c:formatCode>
                <c:ptCount val="7"/>
                <c:pt idx="0">
                  <c:v>93.641000000000005</c:v>
                </c:pt>
                <c:pt idx="1">
                  <c:v>96.432000000000002</c:v>
                </c:pt>
                <c:pt idx="2">
                  <c:v>96.724999999999994</c:v>
                </c:pt>
                <c:pt idx="3">
                  <c:v>96.716999999999999</c:v>
                </c:pt>
                <c:pt idx="4">
                  <c:v>96.614000000000004</c:v>
                </c:pt>
                <c:pt idx="5">
                  <c:v>96.421999999999997</c:v>
                </c:pt>
                <c:pt idx="6">
                  <c:v>96.234999999999999</c:v>
                </c:pt>
              </c:numCache>
            </c:numRef>
          </c:yVal>
          <c:smooth val="1"/>
          <c:extLst>
            <c:ext xmlns:c16="http://schemas.microsoft.com/office/drawing/2014/chart" uri="{C3380CC4-5D6E-409C-BE32-E72D297353CC}">
              <c16:uniqueId val="{00000002-673E-44CA-9B9E-7D122CD3C01F}"/>
            </c:ext>
          </c:extLst>
        </c:ser>
        <c:dLbls>
          <c:showLegendKey val="0"/>
          <c:showVal val="0"/>
          <c:showCatName val="0"/>
          <c:showSerName val="0"/>
          <c:showPercent val="0"/>
          <c:showBubbleSize val="0"/>
        </c:dLbls>
        <c:axId val="1622423263"/>
        <c:axId val="1406861727"/>
      </c:scatterChart>
      <c:scatterChart>
        <c:scatterStyle val="smoothMarker"/>
        <c:varyColors val="0"/>
        <c:dLbls>
          <c:showLegendKey val="0"/>
          <c:showVal val="0"/>
          <c:showCatName val="0"/>
          <c:showSerName val="0"/>
          <c:showPercent val="0"/>
          <c:showBubbleSize val="0"/>
        </c:dLbls>
        <c:axId val="1612094031"/>
        <c:axId val="1612092367"/>
        <c:extLst>
          <c:ext xmlns:c15="http://schemas.microsoft.com/office/drawing/2012/chart" uri="{02D57815-91ED-43cb-92C2-25804820EDAC}">
            <c15:filteredScatterSeries>
              <c15:ser>
                <c:idx val="4"/>
                <c:order val="1"/>
                <c:spPr>
                  <a:ln w="12700" cap="rnd">
                    <a:solidFill>
                      <a:schemeClr val="accent5"/>
                    </a:solidFill>
                    <a:prstDash val="sysDash"/>
                    <a:round/>
                  </a:ln>
                  <a:effectLst/>
                </c:spPr>
                <c:marker>
                  <c:symbol val="none"/>
                </c:marker>
                <c:xVal>
                  <c:numRef>
                    <c:extLst>
                      <c:ext uri="{02D57815-91ED-43cb-92C2-25804820EDAC}">
                        <c15:formulaRef>
                          <c15:sqref>Data!$O$8:$O$15</c15:sqref>
                        </c15:formulaRef>
                      </c:ext>
                    </c:extLst>
                    <c:numCache>
                      <c:formatCode>General</c:formatCode>
                      <c:ptCount val="8"/>
                      <c:pt idx="0">
                        <c:v>0.48499999999999999</c:v>
                      </c:pt>
                      <c:pt idx="1">
                        <c:v>1.1870000000000001</c:v>
                      </c:pt>
                      <c:pt idx="2">
                        <c:v>1.6479999999999999</c:v>
                      </c:pt>
                      <c:pt idx="3">
                        <c:v>2.3370000000000002</c:v>
                      </c:pt>
                      <c:pt idx="4">
                        <c:v>2.7949999999999999</c:v>
                      </c:pt>
                      <c:pt idx="5">
                        <c:v>3.25</c:v>
                      </c:pt>
                      <c:pt idx="6">
                        <c:v>3.7029999999999998</c:v>
                      </c:pt>
                      <c:pt idx="7">
                        <c:v>4.3460000000000001</c:v>
                      </c:pt>
                    </c:numCache>
                  </c:numRef>
                </c:xVal>
                <c:yVal>
                  <c:numRef>
                    <c:extLst>
                      <c:ext uri="{02D57815-91ED-43cb-92C2-25804820EDAC}">
                        <c15:formulaRef>
                          <c15:sqref>Data!$P$8:$P$15</c15:sqref>
                        </c15:formulaRef>
                      </c:ext>
                    </c:extLst>
                    <c:numCache>
                      <c:formatCode>General</c:formatCode>
                      <c:ptCount val="8"/>
                      <c:pt idx="0">
                        <c:v>44.9</c:v>
                      </c:pt>
                      <c:pt idx="1">
                        <c:v>54.1</c:v>
                      </c:pt>
                      <c:pt idx="2">
                        <c:v>62.4</c:v>
                      </c:pt>
                      <c:pt idx="3">
                        <c:v>75.400000000000006</c:v>
                      </c:pt>
                      <c:pt idx="4">
                        <c:v>86.2</c:v>
                      </c:pt>
                      <c:pt idx="5">
                        <c:v>97.6</c:v>
                      </c:pt>
                      <c:pt idx="6">
                        <c:v>109.6</c:v>
                      </c:pt>
                      <c:pt idx="7">
                        <c:v>129.4</c:v>
                      </c:pt>
                    </c:numCache>
                  </c:numRef>
                </c:yVal>
                <c:smooth val="1"/>
                <c:extLst>
                  <c:ext xmlns:c16="http://schemas.microsoft.com/office/drawing/2014/chart" uri="{C3380CC4-5D6E-409C-BE32-E72D297353CC}">
                    <c16:uniqueId val="{00000003-673E-44CA-9B9E-7D122CD3C01F}"/>
                  </c:ext>
                </c:extLst>
              </c15:ser>
            </c15:filteredScatterSeries>
            <c15:filteredScatterSeries>
              <c15:ser>
                <c:idx val="5"/>
                <c:order val="2"/>
                <c:spPr>
                  <a:ln w="12700" cap="rnd">
                    <a:solidFill>
                      <a:schemeClr val="accent6">
                        <a:lumMod val="75000"/>
                      </a:schemeClr>
                    </a:solidFill>
                    <a:prstDash val="sysDash"/>
                    <a:round/>
                  </a:ln>
                  <a:effectLst/>
                </c:spPr>
                <c:marker>
                  <c:symbol val="none"/>
                </c:marker>
                <c:xVal>
                  <c:numRef>
                    <c:extLst xmlns:c15="http://schemas.microsoft.com/office/drawing/2012/chart">
                      <c:ext xmlns:c15="http://schemas.microsoft.com/office/drawing/2012/chart" uri="{02D57815-91ED-43cb-92C2-25804820EDAC}">
                        <c15:formulaRef>
                          <c15:sqref>Data!$O$19:$O$25</c15:sqref>
                        </c15:formulaRef>
                      </c:ext>
                    </c:extLst>
                    <c:numCache>
                      <c:formatCode>General</c:formatCode>
                      <c:ptCount val="7"/>
                      <c:pt idx="0">
                        <c:v>0.48299999999999998</c:v>
                      </c:pt>
                      <c:pt idx="1">
                        <c:v>1.1779999999999999</c:v>
                      </c:pt>
                      <c:pt idx="2">
                        <c:v>1.637</c:v>
                      </c:pt>
                      <c:pt idx="3">
                        <c:v>2.3199999999999998</c:v>
                      </c:pt>
                      <c:pt idx="4">
                        <c:v>2.7730000000000001</c:v>
                      </c:pt>
                      <c:pt idx="5">
                        <c:v>3.2250000000000001</c:v>
                      </c:pt>
                      <c:pt idx="6">
                        <c:v>3.6739999999999999</c:v>
                      </c:pt>
                    </c:numCache>
                  </c:numRef>
                </c:xVal>
                <c:yVal>
                  <c:numRef>
                    <c:extLst xmlns:c15="http://schemas.microsoft.com/office/drawing/2012/chart">
                      <c:ext xmlns:c15="http://schemas.microsoft.com/office/drawing/2012/chart" uri="{02D57815-91ED-43cb-92C2-25804820EDAC}">
                        <c15:formulaRef>
                          <c15:sqref>Data!$P$19:$P$25</c15:sqref>
                        </c15:formulaRef>
                      </c:ext>
                    </c:extLst>
                    <c:numCache>
                      <c:formatCode>General</c:formatCode>
                      <c:ptCount val="7"/>
                      <c:pt idx="0">
                        <c:v>50.2</c:v>
                      </c:pt>
                      <c:pt idx="1">
                        <c:v>60.2</c:v>
                      </c:pt>
                      <c:pt idx="2">
                        <c:v>69.099999999999994</c:v>
                      </c:pt>
                      <c:pt idx="3">
                        <c:v>85.2</c:v>
                      </c:pt>
                      <c:pt idx="4">
                        <c:v>96</c:v>
                      </c:pt>
                      <c:pt idx="5">
                        <c:v>108.1</c:v>
                      </c:pt>
                      <c:pt idx="6">
                        <c:v>121.3</c:v>
                      </c:pt>
                    </c:numCache>
                  </c:numRef>
                </c:yVal>
                <c:smooth val="1"/>
                <c:extLst xmlns:c15="http://schemas.microsoft.com/office/drawing/2012/chart">
                  <c:ext xmlns:c16="http://schemas.microsoft.com/office/drawing/2014/chart" uri="{C3380CC4-5D6E-409C-BE32-E72D297353CC}">
                    <c16:uniqueId val="{00000004-673E-44CA-9B9E-7D122CD3C01F}"/>
                  </c:ext>
                </c:extLst>
              </c15:ser>
            </c15:filteredScatterSeries>
            <c15:filteredScatterSeries>
              <c15:ser>
                <c:idx val="6"/>
                <c:order val="3"/>
                <c:spPr>
                  <a:ln w="12700" cap="rnd">
                    <a:solidFill>
                      <a:schemeClr val="accent6"/>
                    </a:solidFill>
                    <a:prstDash val="sysDash"/>
                    <a:round/>
                  </a:ln>
                  <a:effectLst/>
                </c:spPr>
                <c:marker>
                  <c:symbol val="none"/>
                </c:marker>
                <c:xVal>
                  <c:numRef>
                    <c:extLst xmlns:c15="http://schemas.microsoft.com/office/drawing/2012/chart">
                      <c:ext xmlns:c15="http://schemas.microsoft.com/office/drawing/2012/chart" uri="{02D57815-91ED-43cb-92C2-25804820EDAC}">
                        <c15:formulaRef>
                          <c15:sqref>Data!$O$30:$O$36</c15:sqref>
                        </c15:formulaRef>
                      </c:ext>
                    </c:extLst>
                    <c:numCache>
                      <c:formatCode>General</c:formatCode>
                      <c:ptCount val="7"/>
                      <c:pt idx="0">
                        <c:v>0.47699999999999998</c:v>
                      </c:pt>
                      <c:pt idx="1">
                        <c:v>1.163</c:v>
                      </c:pt>
                      <c:pt idx="2">
                        <c:v>1.617</c:v>
                      </c:pt>
                      <c:pt idx="3">
                        <c:v>2.2909999999999999</c:v>
                      </c:pt>
                      <c:pt idx="4">
                        <c:v>2.74</c:v>
                      </c:pt>
                      <c:pt idx="5">
                        <c:v>3.1859999999999999</c:v>
                      </c:pt>
                      <c:pt idx="6">
                        <c:v>3.63</c:v>
                      </c:pt>
                    </c:numCache>
                  </c:numRef>
                </c:xVal>
                <c:yVal>
                  <c:numRef>
                    <c:extLst xmlns:c15="http://schemas.microsoft.com/office/drawing/2012/chart">
                      <c:ext xmlns:c15="http://schemas.microsoft.com/office/drawing/2012/chart" uri="{02D57815-91ED-43cb-92C2-25804820EDAC}">
                        <c15:formulaRef>
                          <c15:sqref>Data!$P$30:$P$36</c15:sqref>
                        </c15:formulaRef>
                      </c:ext>
                    </c:extLst>
                    <c:numCache>
                      <c:formatCode>General</c:formatCode>
                      <c:ptCount val="7"/>
                      <c:pt idx="0">
                        <c:v>50.8</c:v>
                      </c:pt>
                      <c:pt idx="1">
                        <c:v>60</c:v>
                      </c:pt>
                      <c:pt idx="2">
                        <c:v>69.7</c:v>
                      </c:pt>
                      <c:pt idx="3">
                        <c:v>85.2</c:v>
                      </c:pt>
                      <c:pt idx="4">
                        <c:v>99.2</c:v>
                      </c:pt>
                      <c:pt idx="5">
                        <c:v>114</c:v>
                      </c:pt>
                      <c:pt idx="6">
                        <c:v>130.9</c:v>
                      </c:pt>
                    </c:numCache>
                  </c:numRef>
                </c:yVal>
                <c:smooth val="1"/>
                <c:extLst xmlns:c15="http://schemas.microsoft.com/office/drawing/2012/chart">
                  <c:ext xmlns:c16="http://schemas.microsoft.com/office/drawing/2014/chart" uri="{C3380CC4-5D6E-409C-BE32-E72D297353CC}">
                    <c16:uniqueId val="{00000005-673E-44CA-9B9E-7D122CD3C01F}"/>
                  </c:ext>
                </c:extLst>
              </c15:ser>
            </c15:filteredScatterSeries>
            <c15:filteredScatterSeries>
              <c15:ser>
                <c:idx val="7"/>
                <c:order val="4"/>
                <c:spPr>
                  <a:ln w="12700" cap="rnd">
                    <a:solidFill>
                      <a:schemeClr val="accent6">
                        <a:lumMod val="60000"/>
                        <a:lumOff val="40000"/>
                      </a:schemeClr>
                    </a:solidFill>
                    <a:prstDash val="sysDash"/>
                    <a:round/>
                  </a:ln>
                  <a:effectLst/>
                </c:spPr>
                <c:marker>
                  <c:symbol val="none"/>
                </c:marker>
                <c:xVal>
                  <c:numRef>
                    <c:extLst xmlns:c15="http://schemas.microsoft.com/office/drawing/2012/chart">
                      <c:ext xmlns:c15="http://schemas.microsoft.com/office/drawing/2012/chart" uri="{02D57815-91ED-43cb-92C2-25804820EDAC}">
                        <c15:formulaRef>
                          <c15:sqref>Data!$O$41:$O$47</c15:sqref>
                        </c15:formulaRef>
                      </c:ext>
                    </c:extLst>
                    <c:numCache>
                      <c:formatCode>General</c:formatCode>
                      <c:ptCount val="7"/>
                      <c:pt idx="0">
                        <c:v>0.47699999999999998</c:v>
                      </c:pt>
                      <c:pt idx="1">
                        <c:v>1.163</c:v>
                      </c:pt>
                      <c:pt idx="2">
                        <c:v>1.613</c:v>
                      </c:pt>
                      <c:pt idx="3">
                        <c:v>2.286</c:v>
                      </c:pt>
                      <c:pt idx="4">
                        <c:v>2.7330000000000001</c:v>
                      </c:pt>
                      <c:pt idx="5">
                        <c:v>3.1789999999999998</c:v>
                      </c:pt>
                      <c:pt idx="6">
                        <c:v>3.625</c:v>
                      </c:pt>
                    </c:numCache>
                  </c:numRef>
                </c:xVal>
                <c:yVal>
                  <c:numRef>
                    <c:extLst xmlns:c15="http://schemas.microsoft.com/office/drawing/2012/chart">
                      <c:ext xmlns:c15="http://schemas.microsoft.com/office/drawing/2012/chart" uri="{02D57815-91ED-43cb-92C2-25804820EDAC}">
                        <c15:formulaRef>
                          <c15:sqref>Data!$P$41:$P$47</c15:sqref>
                        </c15:formulaRef>
                      </c:ext>
                    </c:extLst>
                    <c:numCache>
                      <c:formatCode>General</c:formatCode>
                      <c:ptCount val="7"/>
                      <c:pt idx="0">
                        <c:v>50</c:v>
                      </c:pt>
                      <c:pt idx="1">
                        <c:v>59</c:v>
                      </c:pt>
                      <c:pt idx="2">
                        <c:v>68.900000000000006</c:v>
                      </c:pt>
                      <c:pt idx="3">
                        <c:v>81.2</c:v>
                      </c:pt>
                      <c:pt idx="4">
                        <c:v>91.9</c:v>
                      </c:pt>
                      <c:pt idx="5">
                        <c:v>102.8</c:v>
                      </c:pt>
                      <c:pt idx="6">
                        <c:v>115</c:v>
                      </c:pt>
                    </c:numCache>
                  </c:numRef>
                </c:yVal>
                <c:smooth val="1"/>
                <c:extLst xmlns:c15="http://schemas.microsoft.com/office/drawing/2012/chart">
                  <c:ext xmlns:c16="http://schemas.microsoft.com/office/drawing/2014/chart" uri="{C3380CC4-5D6E-409C-BE32-E72D297353CC}">
                    <c16:uniqueId val="{00000006-673E-44CA-9B9E-7D122CD3C01F}"/>
                  </c:ext>
                </c:extLst>
              </c15:ser>
            </c15:filteredScatterSeries>
            <c15:filteredScatterSeries>
              <c15:ser>
                <c:idx val="9"/>
                <c:order val="5"/>
                <c:spPr>
                  <a:ln w="19050" cap="rnd">
                    <a:solidFill>
                      <a:schemeClr val="accent4">
                        <a:lumMod val="60000"/>
                      </a:schemeClr>
                    </a:solidFill>
                    <a:prstDash val="sysDash"/>
                    <a:round/>
                  </a:ln>
                  <a:effectLst/>
                </c:spPr>
                <c:marker>
                  <c:symbol val="none"/>
                </c:marker>
                <c:xVal>
                  <c:numRef>
                    <c:extLst xmlns:c15="http://schemas.microsoft.com/office/drawing/2012/chart">
                      <c:ext xmlns:c15="http://schemas.microsoft.com/office/drawing/2012/chart" uri="{02D57815-91ED-43cb-92C2-25804820EDAC}">
                        <c15:formulaRef>
                          <c15:sqref>Data!$O$55:$O$61</c15:sqref>
                        </c15:formulaRef>
                      </c:ext>
                    </c:extLst>
                    <c:numCache>
                      <c:formatCode>General</c:formatCode>
                      <c:ptCount val="7"/>
                      <c:pt idx="0">
                        <c:v>0.52400000000000002</c:v>
                      </c:pt>
                      <c:pt idx="1">
                        <c:v>1.2350000000000001</c:v>
                      </c:pt>
                      <c:pt idx="2">
                        <c:v>1.7090000000000001</c:v>
                      </c:pt>
                      <c:pt idx="3">
                        <c:v>2.419</c:v>
                      </c:pt>
                      <c:pt idx="4">
                        <c:v>2.895</c:v>
                      </c:pt>
                      <c:pt idx="5">
                        <c:v>3.371</c:v>
                      </c:pt>
                      <c:pt idx="6">
                        <c:v>4.0869999999999997</c:v>
                      </c:pt>
                    </c:numCache>
                  </c:numRef>
                </c:xVal>
                <c:yVal>
                  <c:numRef>
                    <c:extLst xmlns:c15="http://schemas.microsoft.com/office/drawing/2012/chart">
                      <c:ext xmlns:c15="http://schemas.microsoft.com/office/drawing/2012/chart" uri="{02D57815-91ED-43cb-92C2-25804820EDAC}">
                        <c15:formulaRef>
                          <c15:sqref>Data!$P$55:$P$61</c15:sqref>
                        </c15:formulaRef>
                      </c:ext>
                    </c:extLst>
                    <c:numCache>
                      <c:formatCode>General</c:formatCode>
                      <c:ptCount val="7"/>
                      <c:pt idx="0">
                        <c:v>53.6</c:v>
                      </c:pt>
                      <c:pt idx="1">
                        <c:v>61.9</c:v>
                      </c:pt>
                      <c:pt idx="2">
                        <c:v>70.599999999999994</c:v>
                      </c:pt>
                      <c:pt idx="3">
                        <c:v>85.1</c:v>
                      </c:pt>
                      <c:pt idx="4">
                        <c:v>97.2</c:v>
                      </c:pt>
                      <c:pt idx="5">
                        <c:v>109.3</c:v>
                      </c:pt>
                      <c:pt idx="6">
                        <c:v>128.1</c:v>
                      </c:pt>
                    </c:numCache>
                  </c:numRef>
                </c:yVal>
                <c:smooth val="1"/>
                <c:extLst xmlns:c15="http://schemas.microsoft.com/office/drawing/2012/chart">
                  <c:ext xmlns:c16="http://schemas.microsoft.com/office/drawing/2014/chart" uri="{C3380CC4-5D6E-409C-BE32-E72D297353CC}">
                    <c16:uniqueId val="{00000007-673E-44CA-9B9E-7D122CD3C01F}"/>
                  </c:ext>
                </c:extLst>
              </c15:ser>
            </c15:filteredScatterSeries>
            <c15:filteredScatterSeries>
              <c15:ser>
                <c:idx val="12"/>
                <c:order val="6"/>
                <c:spPr>
                  <a:ln w="19050" cap="rnd">
                    <a:solidFill>
                      <a:schemeClr val="accent1">
                        <a:lumMod val="80000"/>
                        <a:lumOff val="20000"/>
                      </a:schemeClr>
                    </a:solidFill>
                    <a:prstDash val="sysDash"/>
                    <a:round/>
                  </a:ln>
                  <a:effectLst/>
                </c:spPr>
                <c:marker>
                  <c:symbol val="none"/>
                </c:marker>
                <c:xVal>
                  <c:numRef>
                    <c:extLst xmlns:c15="http://schemas.microsoft.com/office/drawing/2012/chart">
                      <c:ext xmlns:c15="http://schemas.microsoft.com/office/drawing/2012/chart" uri="{02D57815-91ED-43cb-92C2-25804820EDAC}">
                        <c15:formulaRef>
                          <c15:sqref>Data!$O$67:$O$73</c15:sqref>
                        </c15:formulaRef>
                      </c:ext>
                    </c:extLst>
                    <c:numCache>
                      <c:formatCode>General</c:formatCode>
                      <c:ptCount val="7"/>
                      <c:pt idx="0">
                        <c:v>0.51200000000000001</c:v>
                      </c:pt>
                      <c:pt idx="1">
                        <c:v>1.2110000000000001</c:v>
                      </c:pt>
                      <c:pt idx="2">
                        <c:v>1.6779999999999999</c:v>
                      </c:pt>
                      <c:pt idx="3">
                        <c:v>2.3620000000000001</c:v>
                      </c:pt>
                      <c:pt idx="4">
                        <c:v>2.84</c:v>
                      </c:pt>
                      <c:pt idx="5">
                        <c:v>3.3069999999999999</c:v>
                      </c:pt>
                      <c:pt idx="6">
                        <c:v>3.7719999999999998</c:v>
                      </c:pt>
                    </c:numCache>
                  </c:numRef>
                </c:xVal>
                <c:yVal>
                  <c:numRef>
                    <c:extLst xmlns:c15="http://schemas.microsoft.com/office/drawing/2012/chart">
                      <c:ext xmlns:c15="http://schemas.microsoft.com/office/drawing/2012/chart" uri="{02D57815-91ED-43cb-92C2-25804820EDAC}">
                        <c15:formulaRef>
                          <c15:sqref>Data!$P$67:$P$73</c15:sqref>
                        </c15:formulaRef>
                      </c:ext>
                    </c:extLst>
                    <c:numCache>
                      <c:formatCode>General</c:formatCode>
                      <c:ptCount val="7"/>
                      <c:pt idx="0">
                        <c:v>51.9</c:v>
                      </c:pt>
                      <c:pt idx="1">
                        <c:v>59.4</c:v>
                      </c:pt>
                      <c:pt idx="2">
                        <c:v>67.400000000000006</c:v>
                      </c:pt>
                      <c:pt idx="3">
                        <c:v>81.099999999999994</c:v>
                      </c:pt>
                      <c:pt idx="4">
                        <c:v>94.2</c:v>
                      </c:pt>
                      <c:pt idx="5">
                        <c:v>109.3</c:v>
                      </c:pt>
                      <c:pt idx="6">
                        <c:v>122.2</c:v>
                      </c:pt>
                    </c:numCache>
                  </c:numRef>
                </c:yVal>
                <c:smooth val="1"/>
                <c:extLst xmlns:c15="http://schemas.microsoft.com/office/drawing/2012/chart">
                  <c:ext xmlns:c16="http://schemas.microsoft.com/office/drawing/2014/chart" uri="{C3380CC4-5D6E-409C-BE32-E72D297353CC}">
                    <c16:uniqueId val="{00000008-673E-44CA-9B9E-7D122CD3C01F}"/>
                  </c:ext>
                </c:extLst>
              </c15:ser>
            </c15:filteredScatterSeries>
            <c15:filteredScatterSeries>
              <c15:ser>
                <c:idx val="13"/>
                <c:order val="7"/>
                <c:spPr>
                  <a:ln w="19050" cap="rnd">
                    <a:solidFill>
                      <a:schemeClr val="accent2">
                        <a:lumMod val="80000"/>
                        <a:lumOff val="20000"/>
                      </a:schemeClr>
                    </a:solidFill>
                    <a:prstDash val="sysDash"/>
                    <a:round/>
                  </a:ln>
                  <a:effectLst/>
                </c:spPr>
                <c:marker>
                  <c:symbol val="none"/>
                </c:marker>
                <c:xVal>
                  <c:numRef>
                    <c:extLst xmlns:c15="http://schemas.microsoft.com/office/drawing/2012/chart">
                      <c:ext xmlns:c15="http://schemas.microsoft.com/office/drawing/2012/chart" uri="{02D57815-91ED-43cb-92C2-25804820EDAC}">
                        <c15:formulaRef>
                          <c15:sqref>Data!$O$79:$O$85</c15:sqref>
                        </c15:formulaRef>
                      </c:ext>
                    </c:extLst>
                    <c:numCache>
                      <c:formatCode>General</c:formatCode>
                      <c:ptCount val="7"/>
                      <c:pt idx="0">
                        <c:v>0.50900000000000001</c:v>
                      </c:pt>
                      <c:pt idx="1">
                        <c:v>1.208</c:v>
                      </c:pt>
                      <c:pt idx="2">
                        <c:v>1.673</c:v>
                      </c:pt>
                      <c:pt idx="3">
                        <c:v>2.3690000000000002</c:v>
                      </c:pt>
                      <c:pt idx="4">
                        <c:v>2.8340000000000001</c:v>
                      </c:pt>
                      <c:pt idx="5">
                        <c:v>3.2989999999999999</c:v>
                      </c:pt>
                      <c:pt idx="6">
                        <c:v>3.7639999999999998</c:v>
                      </c:pt>
                    </c:numCache>
                  </c:numRef>
                </c:xVal>
                <c:yVal>
                  <c:numRef>
                    <c:extLst xmlns:c15="http://schemas.microsoft.com/office/drawing/2012/chart">
                      <c:ext xmlns:c15="http://schemas.microsoft.com/office/drawing/2012/chart" uri="{02D57815-91ED-43cb-92C2-25804820EDAC}">
                        <c15:formulaRef>
                          <c15:sqref>Data!$P$79:$P$85</c15:sqref>
                        </c15:formulaRef>
                      </c:ext>
                    </c:extLst>
                    <c:numCache>
                      <c:formatCode>General</c:formatCode>
                      <c:ptCount val="7"/>
                      <c:pt idx="0">
                        <c:v>47.1</c:v>
                      </c:pt>
                      <c:pt idx="1">
                        <c:v>56.8</c:v>
                      </c:pt>
                      <c:pt idx="2">
                        <c:v>66.3</c:v>
                      </c:pt>
                      <c:pt idx="3">
                        <c:v>81.400000000000006</c:v>
                      </c:pt>
                      <c:pt idx="4">
                        <c:v>94.1</c:v>
                      </c:pt>
                      <c:pt idx="5">
                        <c:v>106.9</c:v>
                      </c:pt>
                      <c:pt idx="6">
                        <c:v>122</c:v>
                      </c:pt>
                    </c:numCache>
                  </c:numRef>
                </c:yVal>
                <c:smooth val="1"/>
                <c:extLst xmlns:c15="http://schemas.microsoft.com/office/drawing/2012/chart">
                  <c:ext xmlns:c16="http://schemas.microsoft.com/office/drawing/2014/chart" uri="{C3380CC4-5D6E-409C-BE32-E72D297353CC}">
                    <c16:uniqueId val="{00000009-673E-44CA-9B9E-7D122CD3C01F}"/>
                  </c:ext>
                </c:extLst>
              </c15:ser>
            </c15:filteredScatterSeries>
          </c:ext>
        </c:extLst>
      </c:scatterChart>
      <c:valAx>
        <c:axId val="1622423263"/>
        <c:scaling>
          <c:orientation val="minMax"/>
          <c:max val="4.5"/>
          <c:min val="0.5"/>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rgbClr val="575352"/>
                    </a:solidFill>
                    <a:latin typeface="Arial"/>
                    <a:ea typeface="Arial"/>
                    <a:cs typeface="Arial"/>
                  </a:defRPr>
                </a:pPr>
                <a:r>
                  <a:rPr lang="en-US"/>
                  <a:t>System Output Power (kW)</a:t>
                </a:r>
              </a:p>
            </c:rich>
          </c:tx>
          <c:overlay val="0"/>
          <c:spPr>
            <a:noFill/>
            <a:ln>
              <a:noFill/>
            </a:ln>
            <a:effectLst/>
          </c:spPr>
          <c:txPr>
            <a:bodyPr rot="0" spcFirstLastPara="1" vertOverflow="ellipsis" vert="horz" wrap="square" anchor="ctr" anchorCtr="1"/>
            <a:lstStyle/>
            <a:p>
              <a:pPr>
                <a:defRPr sz="1000" b="0" i="0" u="none" strike="noStrike" kern="1200" baseline="0">
                  <a:solidFill>
                    <a:srgbClr val="575352"/>
                  </a:solidFill>
                  <a:latin typeface="Arial"/>
                  <a:ea typeface="Arial"/>
                  <a:cs typeface="Arial"/>
                </a:defRPr>
              </a:pPr>
              <a:endParaRPr lang="de-DE"/>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crossAx val="1406861727"/>
        <c:crosses val="autoZero"/>
        <c:crossBetween val="midCat"/>
      </c:valAx>
      <c:valAx>
        <c:axId val="1406861727"/>
        <c:scaling>
          <c:orientation val="minMax"/>
          <c:max val="97.9"/>
          <c:min val="93.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rgbClr val="575352"/>
                    </a:solidFill>
                    <a:latin typeface="Arial"/>
                    <a:ea typeface="Arial"/>
                    <a:cs typeface="Arial"/>
                  </a:defRPr>
                </a:pPr>
                <a:r>
                  <a:rPr lang="en-US"/>
                  <a:t>Efficiency (%)</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575352"/>
                  </a:solidFill>
                  <a:latin typeface="Arial"/>
                  <a:ea typeface="Arial"/>
                  <a:cs typeface="Arial"/>
                </a:defRPr>
              </a:pPr>
              <a:endParaRPr lang="de-DE"/>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crossAx val="1622423263"/>
        <c:crosses val="autoZero"/>
        <c:crossBetween val="midCat"/>
      </c:valAx>
      <c:valAx>
        <c:axId val="1612092367"/>
        <c:scaling>
          <c:orientation val="minMax"/>
          <c:max val="130"/>
          <c:min val="40"/>
        </c:scaling>
        <c:delete val="1"/>
        <c:axPos val="r"/>
        <c:numFmt formatCode="General" sourceLinked="1"/>
        <c:majorTickMark val="out"/>
        <c:minorTickMark val="none"/>
        <c:tickLblPos val="nextTo"/>
        <c:crossAx val="1612094031"/>
        <c:crosses val="max"/>
        <c:crossBetween val="midCat"/>
      </c:valAx>
      <c:valAx>
        <c:axId val="1612094031"/>
        <c:scaling>
          <c:orientation val="minMax"/>
        </c:scaling>
        <c:delete val="1"/>
        <c:axPos val="b"/>
        <c:numFmt formatCode="General" sourceLinked="1"/>
        <c:majorTickMark val="out"/>
        <c:minorTickMark val="none"/>
        <c:tickLblPos val="nextTo"/>
        <c:crossAx val="1612092367"/>
        <c:crosses val="autoZero"/>
        <c:crossBetween val="midCat"/>
      </c:valAx>
      <c:spPr>
        <a:noFill/>
        <a:ln>
          <a:noFill/>
        </a:ln>
        <a:effectLst/>
      </c:spPr>
    </c:plotArea>
    <c:legend>
      <c:legendPos val="r"/>
      <c:legendEntry>
        <c:idx val="0"/>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egendEntry>
        <c:idx val="1"/>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egendEntry>
        <c:idx val="2"/>
        <c:txPr>
          <a:bodyPr rot="0" spcFirstLastPara="1" vertOverflow="ellipsis" vert="horz" wrap="square" anchor="ctr" anchorCtr="1"/>
          <a:lstStyle/>
          <a:p>
            <a:pPr>
              <a:defRPr sz="900" b="0" i="0" u="none" strike="noStrike" kern="1200" baseline="0">
                <a:solidFill>
                  <a:srgbClr val="575352"/>
                </a:solidFill>
                <a:latin typeface="Arial"/>
                <a:ea typeface="Arial"/>
                <a:cs typeface="Arial"/>
              </a:defRPr>
            </a:pPr>
            <a:endParaRPr lang="de-DE"/>
          </a:p>
        </c:txPr>
      </c:legendEntry>
      <c:layout>
        <c:manualLayout>
          <c:xMode val="edge"/>
          <c:yMode val="edge"/>
          <c:x val="0.59609366620116822"/>
          <c:y val="0.56603843303312618"/>
          <c:w val="0.29051511342575959"/>
          <c:h val="0.1720030070270144"/>
        </c:manualLayout>
      </c:layout>
      <c:overlay val="0"/>
      <c:spPr>
        <a:solidFill>
          <a:schemeClr val="bg1"/>
        </a:solidFill>
        <a:ln w="9525">
          <a:solidFill>
            <a:schemeClr val="tx1"/>
          </a:solidFill>
          <a:prstDash val="solid"/>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Times New Roman" panose="02020603050405020304" pitchFamily="18"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rgbClr val="575352"/>
                </a:solidFill>
                <a:latin typeface="+mn-lt"/>
                <a:ea typeface="+mn-ea"/>
                <a:cs typeface="Times New Roman" panose="02020603050405020304" pitchFamily="18" charset="0"/>
              </a:defRPr>
            </a:pPr>
            <a:r>
              <a:rPr lang="de-AT" b="1" dirty="0">
                <a:solidFill>
                  <a:srgbClr val="575352"/>
                </a:solidFill>
                <a:latin typeface="+mn-lt"/>
              </a:rPr>
              <a:t>Max temperature in °C</a:t>
            </a:r>
          </a:p>
        </c:rich>
      </c:tx>
      <c:layout>
        <c:manualLayout>
          <c:xMode val="edge"/>
          <c:yMode val="edge"/>
          <c:x val="0.3559087317893504"/>
          <c:y val="1.4985056241157932E-2"/>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rgbClr val="575352"/>
              </a:solidFill>
              <a:latin typeface="+mn-lt"/>
              <a:ea typeface="+mn-ea"/>
              <a:cs typeface="Times New Roman" panose="02020603050405020304" pitchFamily="18" charset="0"/>
            </a:defRPr>
          </a:pPr>
          <a:endParaRPr lang="de-DE"/>
        </a:p>
      </c:txPr>
    </c:title>
    <c:autoTitleDeleted val="0"/>
    <c:plotArea>
      <c:layout/>
      <c:barChart>
        <c:barDir val="col"/>
        <c:grouping val="clustered"/>
        <c:varyColors val="0"/>
        <c:ser>
          <c:idx val="0"/>
          <c:order val="0"/>
          <c:spPr>
            <a:solidFill>
              <a:schemeClr val="accent1"/>
            </a:solidFill>
            <a:ln>
              <a:noFill/>
            </a:ln>
            <a:effectLst/>
          </c:spPr>
          <c:invertIfNegative val="0"/>
          <c:cat>
            <c:strRef>
              <c:f>'[Application test data_V1_Sept062022.xlsx]Sheet2'!$A$15:$A$17</c:f>
              <c:strCache>
                <c:ptCount val="3"/>
                <c:pt idx="0">
                  <c:v>IKW40N120CH7</c:v>
                </c:pt>
                <c:pt idx="1">
                  <c:v>IKQ40N120CH3</c:v>
                </c:pt>
                <c:pt idx="2">
                  <c:v>IKW40N120CS6</c:v>
                </c:pt>
              </c:strCache>
            </c:strRef>
          </c:cat>
          <c:val>
            <c:numRef>
              <c:f>'[Application test data_V1_Sept062022.xlsx]Sheet2'!$B$15:$B$17</c:f>
              <c:numCache>
                <c:formatCode>General</c:formatCode>
                <c:ptCount val="3"/>
                <c:pt idx="0">
                  <c:v>109.6</c:v>
                </c:pt>
                <c:pt idx="1">
                  <c:v>122.2</c:v>
                </c:pt>
                <c:pt idx="2">
                  <c:v>128.1</c:v>
                </c:pt>
              </c:numCache>
            </c:numRef>
          </c:val>
          <c:extLst>
            <c:ext xmlns:c16="http://schemas.microsoft.com/office/drawing/2014/chart" uri="{C3380CC4-5D6E-409C-BE32-E72D297353CC}">
              <c16:uniqueId val="{00000000-436F-4996-85F8-092F36073ECC}"/>
            </c:ext>
          </c:extLst>
        </c:ser>
        <c:dLbls>
          <c:showLegendKey val="0"/>
          <c:showVal val="0"/>
          <c:showCatName val="0"/>
          <c:showSerName val="0"/>
          <c:showPercent val="0"/>
          <c:showBubbleSize val="0"/>
        </c:dLbls>
        <c:gapWidth val="90"/>
        <c:axId val="891468240"/>
        <c:axId val="889921280"/>
      </c:barChart>
      <c:catAx>
        <c:axId val="891468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575352"/>
                </a:solidFill>
                <a:latin typeface="Arial"/>
                <a:ea typeface="Arial"/>
                <a:cs typeface="Arial"/>
              </a:defRPr>
            </a:pPr>
            <a:endParaRPr lang="de-DE"/>
          </a:p>
        </c:txPr>
        <c:crossAx val="889921280"/>
        <c:crosses val="autoZero"/>
        <c:auto val="1"/>
        <c:lblAlgn val="ctr"/>
        <c:lblOffset val="100"/>
        <c:noMultiLvlLbl val="0"/>
      </c:catAx>
      <c:valAx>
        <c:axId val="8899212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75352"/>
                </a:solidFill>
                <a:latin typeface="Arial"/>
                <a:ea typeface="Arial"/>
                <a:cs typeface="Arial"/>
              </a:defRPr>
            </a:pPr>
            <a:endParaRPr lang="de-DE"/>
          </a:p>
        </c:txPr>
        <c:crossAx val="891468240"/>
        <c:crosses val="autoZero"/>
        <c:crossBetween val="between"/>
      </c:valAx>
      <c:spPr>
        <a:noFill/>
        <a:ln>
          <a:noFill/>
        </a:ln>
        <a:effectLst/>
      </c:spPr>
    </c:plotArea>
    <c:plotVisOnly val="1"/>
    <c:dispBlanksAs val="gap"/>
    <c:showDLblsOverMax val="0"/>
  </c:chart>
  <c:spPr>
    <a:noFill/>
    <a:ln>
      <a:noFill/>
    </a:ln>
    <a:effectLst/>
  </c:spPr>
  <c:txPr>
    <a:bodyPr/>
    <a:lstStyle/>
    <a:p>
      <a:pPr>
        <a:defRPr sz="1100">
          <a:latin typeface="Times New Roman" panose="02020603050405020304" pitchFamily="18" charset="0"/>
          <a:cs typeface="Times New Roman" panose="02020603050405020304" pitchFamily="18" charset="0"/>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rgbClr val="1D1D1D"/>
                </a:solidFill>
                <a:latin typeface="+mj-lt"/>
                <a:ea typeface="+mn-ea"/>
                <a:cs typeface="+mn-cs"/>
              </a:defRPr>
            </a:pPr>
            <a:r>
              <a:rPr lang="de-AT" sz="1100" dirty="0">
                <a:solidFill>
                  <a:srgbClr val="1D1D1D"/>
                </a:solidFill>
                <a:latin typeface="+mj-lt"/>
                <a:ea typeface="Source Sans Pro" panose="020B0503030403020204" pitchFamily="34" charset="0"/>
              </a:rPr>
              <a:t>Switching</a:t>
            </a:r>
            <a:r>
              <a:rPr lang="de-AT" sz="1100" baseline="0" dirty="0">
                <a:solidFill>
                  <a:srgbClr val="1D1D1D"/>
                </a:solidFill>
                <a:latin typeface="+mj-lt"/>
                <a:ea typeface="Source Sans Pro" panose="020B0503030403020204" pitchFamily="34" charset="0"/>
              </a:rPr>
              <a:t> </a:t>
            </a:r>
            <a:r>
              <a:rPr lang="de-AT" sz="1100" dirty="0">
                <a:solidFill>
                  <a:srgbClr val="1D1D1D"/>
                </a:solidFill>
                <a:latin typeface="+mj-lt"/>
                <a:ea typeface="Source Sans Pro" panose="020B0503030403020204" pitchFamily="34" charset="0"/>
              </a:rPr>
              <a:t>event 3-pin</a:t>
            </a:r>
            <a:r>
              <a:rPr lang="de-AT" sz="1100" baseline="0" dirty="0">
                <a:solidFill>
                  <a:srgbClr val="1D1D1D"/>
                </a:solidFill>
                <a:latin typeface="+mj-lt"/>
                <a:ea typeface="Source Sans Pro" panose="020B0503030403020204" pitchFamily="34" charset="0"/>
              </a:rPr>
              <a:t> vs. 4-pin</a:t>
            </a:r>
            <a:endParaRPr lang="de-AT" sz="1100" dirty="0">
              <a:solidFill>
                <a:srgbClr val="1D1D1D"/>
              </a:solidFill>
              <a:latin typeface="+mj-lt"/>
              <a:ea typeface="Source Sans Pro" panose="020B0503030403020204" pitchFamily="34" charset="0"/>
            </a:endParaRPr>
          </a:p>
          <a:p>
            <a:pPr>
              <a:defRPr sz="1100">
                <a:solidFill>
                  <a:srgbClr val="1D1D1D"/>
                </a:solidFill>
                <a:latin typeface="+mj-lt"/>
              </a:defRPr>
            </a:pPr>
            <a:r>
              <a:rPr lang="de-AT" sz="1100" dirty="0">
                <a:solidFill>
                  <a:srgbClr val="1D1D1D"/>
                </a:solidFill>
                <a:latin typeface="+mj-lt"/>
                <a:ea typeface="Source Sans Pro" panose="020B0503030403020204" pitchFamily="34" charset="0"/>
              </a:rPr>
              <a:t>@ T = 150</a:t>
            </a:r>
            <a:r>
              <a:rPr lang="de-AT" sz="1100" baseline="0" dirty="0">
                <a:solidFill>
                  <a:srgbClr val="1D1D1D"/>
                </a:solidFill>
                <a:latin typeface="+mj-lt"/>
                <a:ea typeface="Source Sans Pro" panose="020B0503030403020204" pitchFamily="34" charset="0"/>
              </a:rPr>
              <a:t> </a:t>
            </a:r>
            <a:r>
              <a:rPr lang="de-AT" sz="1100" dirty="0">
                <a:solidFill>
                  <a:srgbClr val="1D1D1D"/>
                </a:solidFill>
                <a:latin typeface="+mj-lt"/>
                <a:ea typeface="Source Sans Pro" panose="020B0503030403020204" pitchFamily="34" charset="0"/>
              </a:rPr>
              <a:t>[°C] V = 600 [V] Rg = 10.1 [</a:t>
            </a:r>
            <a:r>
              <a:rPr lang="el-GR" sz="1100" dirty="0">
                <a:solidFill>
                  <a:srgbClr val="1D1D1D"/>
                </a:solidFill>
                <a:latin typeface="+mj-lt"/>
                <a:ea typeface="Source Sans Pro" panose="020B0503030403020204" pitchFamily="34" charset="0"/>
              </a:rPr>
              <a:t>Ω</a:t>
            </a:r>
            <a:r>
              <a:rPr lang="en-US" sz="1100" dirty="0">
                <a:solidFill>
                  <a:srgbClr val="1D1D1D"/>
                </a:solidFill>
                <a:latin typeface="+mj-lt"/>
                <a:ea typeface="Source Sans Pro" panose="020B0503030403020204" pitchFamily="34" charset="0"/>
              </a:rPr>
              <a:t>] </a:t>
            </a:r>
            <a:r>
              <a:rPr lang="de-AT" sz="1100" dirty="0">
                <a:solidFill>
                  <a:srgbClr val="1D1D1D"/>
                </a:solidFill>
                <a:latin typeface="+mj-lt"/>
                <a:ea typeface="Source Sans Pro" panose="020B0503030403020204" pitchFamily="34" charset="0"/>
              </a:rPr>
              <a:t>Vg = 15 [V]</a:t>
            </a:r>
          </a:p>
        </c:rich>
      </c:tx>
      <c:overlay val="0"/>
      <c:spPr>
        <a:noFill/>
        <a:ln>
          <a:noFill/>
        </a:ln>
        <a:effectLst/>
      </c:spPr>
      <c:txPr>
        <a:bodyPr rot="0" spcFirstLastPara="1" vertOverflow="ellipsis" vert="horz" wrap="square" anchor="ctr" anchorCtr="1"/>
        <a:lstStyle/>
        <a:p>
          <a:pPr>
            <a:defRPr sz="1100" b="0" i="0" u="none" strike="noStrike" kern="1200" spc="0" baseline="0">
              <a:solidFill>
                <a:srgbClr val="1D1D1D"/>
              </a:solidFill>
              <a:latin typeface="+mj-lt"/>
              <a:ea typeface="+mn-ea"/>
              <a:cs typeface="+mn-cs"/>
            </a:defRPr>
          </a:pPr>
          <a:endParaRPr lang="de-DE"/>
        </a:p>
      </c:txPr>
    </c:title>
    <c:autoTitleDeleted val="0"/>
    <c:plotArea>
      <c:layout>
        <c:manualLayout>
          <c:layoutTarget val="inner"/>
          <c:xMode val="edge"/>
          <c:yMode val="edge"/>
          <c:x val="0.12583152880034648"/>
          <c:y val="0.1369445998153799"/>
          <c:w val="0.76483759203118229"/>
          <c:h val="0.64243831245434091"/>
        </c:manualLayout>
      </c:layout>
      <c:scatterChart>
        <c:scatterStyle val="smoothMarker"/>
        <c:varyColors val="0"/>
        <c:ser>
          <c:idx val="0"/>
          <c:order val="0"/>
          <c:tx>
            <c:strRef>
              <c:f>'4-Pin vs 3-Pin waveform'!$N$2</c:f>
              <c:strCache>
                <c:ptCount val="1"/>
                <c:pt idx="0">
                  <c:v>IKW40N120CH7 - U [V]</c:v>
                </c:pt>
              </c:strCache>
            </c:strRef>
          </c:tx>
          <c:spPr>
            <a:ln w="19050" cap="rnd">
              <a:solidFill>
                <a:schemeClr val="accent3"/>
              </a:solidFill>
              <a:round/>
            </a:ln>
            <a:effectLst/>
          </c:spPr>
          <c:marker>
            <c:symbol val="none"/>
          </c:marker>
          <c:xVal>
            <c:numRef>
              <c:f>'4-Pin vs 3-Pin waveform'!$A$3:$A$5002</c:f>
              <c:numCache>
                <c:formatCode>General</c:formatCode>
                <c:ptCount val="5000"/>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8.9999999999999993E-3</c:v>
                </c:pt>
                <c:pt idx="10">
                  <c:v>0.01</c:v>
                </c:pt>
                <c:pt idx="11">
                  <c:v>1.0999999999999999E-2</c:v>
                </c:pt>
                <c:pt idx="12">
                  <c:v>1.2E-2</c:v>
                </c:pt>
                <c:pt idx="13">
                  <c:v>1.2999999999999999E-2</c:v>
                </c:pt>
                <c:pt idx="14">
                  <c:v>1.4E-2</c:v>
                </c:pt>
                <c:pt idx="15">
                  <c:v>1.4999999999999999E-2</c:v>
                </c:pt>
                <c:pt idx="16">
                  <c:v>1.6E-2</c:v>
                </c:pt>
                <c:pt idx="17">
                  <c:v>1.7000000000000001E-2</c:v>
                </c:pt>
                <c:pt idx="18">
                  <c:v>1.7999999999999999E-2</c:v>
                </c:pt>
                <c:pt idx="19">
                  <c:v>1.9E-2</c:v>
                </c:pt>
                <c:pt idx="20">
                  <c:v>0.02</c:v>
                </c:pt>
                <c:pt idx="21">
                  <c:v>2.1000000000000001E-2</c:v>
                </c:pt>
                <c:pt idx="22">
                  <c:v>2.1999999999999999E-2</c:v>
                </c:pt>
                <c:pt idx="23">
                  <c:v>2.3E-2</c:v>
                </c:pt>
                <c:pt idx="24">
                  <c:v>2.4E-2</c:v>
                </c:pt>
                <c:pt idx="25">
                  <c:v>2.5000000000000001E-2</c:v>
                </c:pt>
                <c:pt idx="26">
                  <c:v>2.5999999999999999E-2</c:v>
                </c:pt>
                <c:pt idx="27">
                  <c:v>2.7E-2</c:v>
                </c:pt>
                <c:pt idx="28">
                  <c:v>2.8000000000000001E-2</c:v>
                </c:pt>
                <c:pt idx="29">
                  <c:v>2.9000000000000001E-2</c:v>
                </c:pt>
                <c:pt idx="30">
                  <c:v>0.03</c:v>
                </c:pt>
                <c:pt idx="31">
                  <c:v>3.1E-2</c:v>
                </c:pt>
                <c:pt idx="32">
                  <c:v>3.2000000000000001E-2</c:v>
                </c:pt>
                <c:pt idx="33">
                  <c:v>3.3000000000000002E-2</c:v>
                </c:pt>
                <c:pt idx="34">
                  <c:v>3.4000000000000002E-2</c:v>
                </c:pt>
                <c:pt idx="35">
                  <c:v>3.5000000000000003E-2</c:v>
                </c:pt>
                <c:pt idx="36">
                  <c:v>3.5999999999999997E-2</c:v>
                </c:pt>
                <c:pt idx="37">
                  <c:v>3.6999999999999998E-2</c:v>
                </c:pt>
                <c:pt idx="38">
                  <c:v>3.7999999999999999E-2</c:v>
                </c:pt>
                <c:pt idx="39">
                  <c:v>3.9E-2</c:v>
                </c:pt>
                <c:pt idx="40">
                  <c:v>0.04</c:v>
                </c:pt>
                <c:pt idx="41">
                  <c:v>4.1000000000000002E-2</c:v>
                </c:pt>
                <c:pt idx="42">
                  <c:v>4.2000000000000003E-2</c:v>
                </c:pt>
                <c:pt idx="43">
                  <c:v>4.2999999999999997E-2</c:v>
                </c:pt>
                <c:pt idx="44">
                  <c:v>4.3999999999999997E-2</c:v>
                </c:pt>
                <c:pt idx="45">
                  <c:v>4.4999999999999998E-2</c:v>
                </c:pt>
                <c:pt idx="46">
                  <c:v>4.5999999999999999E-2</c:v>
                </c:pt>
                <c:pt idx="47">
                  <c:v>4.7E-2</c:v>
                </c:pt>
                <c:pt idx="48">
                  <c:v>4.8000000000000001E-2</c:v>
                </c:pt>
                <c:pt idx="49">
                  <c:v>4.9000000000000002E-2</c:v>
                </c:pt>
                <c:pt idx="50">
                  <c:v>0.05</c:v>
                </c:pt>
                <c:pt idx="51">
                  <c:v>5.0999999999999997E-2</c:v>
                </c:pt>
                <c:pt idx="52">
                  <c:v>5.1999999999999998E-2</c:v>
                </c:pt>
                <c:pt idx="53">
                  <c:v>5.2999999999999999E-2</c:v>
                </c:pt>
                <c:pt idx="54">
                  <c:v>5.3999999999999999E-2</c:v>
                </c:pt>
                <c:pt idx="55">
                  <c:v>5.5E-2</c:v>
                </c:pt>
                <c:pt idx="56">
                  <c:v>5.6000000000000001E-2</c:v>
                </c:pt>
                <c:pt idx="57">
                  <c:v>5.7000000000000002E-2</c:v>
                </c:pt>
                <c:pt idx="58">
                  <c:v>5.8000000000000003E-2</c:v>
                </c:pt>
                <c:pt idx="59">
                  <c:v>5.8999999999999997E-2</c:v>
                </c:pt>
                <c:pt idx="60">
                  <c:v>0.06</c:v>
                </c:pt>
                <c:pt idx="61">
                  <c:v>6.0999999999999999E-2</c:v>
                </c:pt>
                <c:pt idx="62">
                  <c:v>6.2E-2</c:v>
                </c:pt>
                <c:pt idx="63">
                  <c:v>6.3E-2</c:v>
                </c:pt>
                <c:pt idx="64">
                  <c:v>6.4000000000000001E-2</c:v>
                </c:pt>
                <c:pt idx="65">
                  <c:v>6.5000000000000002E-2</c:v>
                </c:pt>
                <c:pt idx="66">
                  <c:v>6.6000000000000003E-2</c:v>
                </c:pt>
                <c:pt idx="67">
                  <c:v>6.7000000000000004E-2</c:v>
                </c:pt>
                <c:pt idx="68">
                  <c:v>6.8000000000000005E-2</c:v>
                </c:pt>
                <c:pt idx="69">
                  <c:v>6.9000000000000006E-2</c:v>
                </c:pt>
                <c:pt idx="70">
                  <c:v>7.0000000000000007E-2</c:v>
                </c:pt>
                <c:pt idx="71">
                  <c:v>7.0999999999999994E-2</c:v>
                </c:pt>
                <c:pt idx="72">
                  <c:v>7.1999999999999995E-2</c:v>
                </c:pt>
                <c:pt idx="73">
                  <c:v>7.2999999999999995E-2</c:v>
                </c:pt>
                <c:pt idx="74">
                  <c:v>7.3999999999999996E-2</c:v>
                </c:pt>
                <c:pt idx="75">
                  <c:v>7.4999999999999997E-2</c:v>
                </c:pt>
                <c:pt idx="76">
                  <c:v>7.5999999999999998E-2</c:v>
                </c:pt>
                <c:pt idx="77">
                  <c:v>7.6999999999999999E-2</c:v>
                </c:pt>
                <c:pt idx="78">
                  <c:v>7.8E-2</c:v>
                </c:pt>
                <c:pt idx="79">
                  <c:v>7.9000000000000001E-2</c:v>
                </c:pt>
                <c:pt idx="80">
                  <c:v>0.08</c:v>
                </c:pt>
                <c:pt idx="81">
                  <c:v>8.1000000000000003E-2</c:v>
                </c:pt>
                <c:pt idx="82">
                  <c:v>8.2000000000000003E-2</c:v>
                </c:pt>
                <c:pt idx="83">
                  <c:v>8.3000000000000004E-2</c:v>
                </c:pt>
                <c:pt idx="84">
                  <c:v>8.4000000000000005E-2</c:v>
                </c:pt>
                <c:pt idx="85">
                  <c:v>8.5000000000000006E-2</c:v>
                </c:pt>
                <c:pt idx="86">
                  <c:v>8.5999999999999993E-2</c:v>
                </c:pt>
                <c:pt idx="87">
                  <c:v>8.6999999999999994E-2</c:v>
                </c:pt>
                <c:pt idx="88">
                  <c:v>8.7999999999999995E-2</c:v>
                </c:pt>
                <c:pt idx="89">
                  <c:v>8.8999999999999996E-2</c:v>
                </c:pt>
                <c:pt idx="90">
                  <c:v>0.09</c:v>
                </c:pt>
                <c:pt idx="91">
                  <c:v>9.0999999999999998E-2</c:v>
                </c:pt>
                <c:pt idx="92">
                  <c:v>9.1999999999999998E-2</c:v>
                </c:pt>
                <c:pt idx="93">
                  <c:v>9.2999999999999999E-2</c:v>
                </c:pt>
                <c:pt idx="94">
                  <c:v>9.4E-2</c:v>
                </c:pt>
                <c:pt idx="95">
                  <c:v>9.5000000000000001E-2</c:v>
                </c:pt>
                <c:pt idx="96">
                  <c:v>9.6000000000000002E-2</c:v>
                </c:pt>
                <c:pt idx="97">
                  <c:v>9.7000000000000003E-2</c:v>
                </c:pt>
                <c:pt idx="98">
                  <c:v>9.8000000000000004E-2</c:v>
                </c:pt>
                <c:pt idx="99">
                  <c:v>9.9000000000000005E-2</c:v>
                </c:pt>
                <c:pt idx="100">
                  <c:v>0.1</c:v>
                </c:pt>
                <c:pt idx="101">
                  <c:v>0.10100000000000001</c:v>
                </c:pt>
                <c:pt idx="102">
                  <c:v>0.10199999999999999</c:v>
                </c:pt>
                <c:pt idx="103">
                  <c:v>0.10299999999999999</c:v>
                </c:pt>
                <c:pt idx="104">
                  <c:v>0.104</c:v>
                </c:pt>
                <c:pt idx="105">
                  <c:v>0.105</c:v>
                </c:pt>
                <c:pt idx="106">
                  <c:v>0.106</c:v>
                </c:pt>
                <c:pt idx="107">
                  <c:v>0.107</c:v>
                </c:pt>
                <c:pt idx="108">
                  <c:v>0.108</c:v>
                </c:pt>
                <c:pt idx="109">
                  <c:v>0.109</c:v>
                </c:pt>
                <c:pt idx="110">
                  <c:v>0.11</c:v>
                </c:pt>
                <c:pt idx="111">
                  <c:v>0.111</c:v>
                </c:pt>
                <c:pt idx="112">
                  <c:v>0.112</c:v>
                </c:pt>
                <c:pt idx="113">
                  <c:v>0.113</c:v>
                </c:pt>
                <c:pt idx="114">
                  <c:v>0.114</c:v>
                </c:pt>
                <c:pt idx="115">
                  <c:v>0.115</c:v>
                </c:pt>
                <c:pt idx="116">
                  <c:v>0.11600000000000001</c:v>
                </c:pt>
                <c:pt idx="117">
                  <c:v>0.11700000000000001</c:v>
                </c:pt>
                <c:pt idx="118">
                  <c:v>0.11799999999999999</c:v>
                </c:pt>
                <c:pt idx="119">
                  <c:v>0.11899999999999999</c:v>
                </c:pt>
                <c:pt idx="120">
                  <c:v>0.12</c:v>
                </c:pt>
                <c:pt idx="121">
                  <c:v>0.121</c:v>
                </c:pt>
                <c:pt idx="122">
                  <c:v>0.122</c:v>
                </c:pt>
                <c:pt idx="123">
                  <c:v>0.123</c:v>
                </c:pt>
                <c:pt idx="124">
                  <c:v>0.124</c:v>
                </c:pt>
                <c:pt idx="125">
                  <c:v>0.125</c:v>
                </c:pt>
                <c:pt idx="126">
                  <c:v>0.126</c:v>
                </c:pt>
                <c:pt idx="127">
                  <c:v>0.127</c:v>
                </c:pt>
                <c:pt idx="128">
                  <c:v>0.128</c:v>
                </c:pt>
                <c:pt idx="129">
                  <c:v>0.129</c:v>
                </c:pt>
                <c:pt idx="130">
                  <c:v>0.13</c:v>
                </c:pt>
                <c:pt idx="131">
                  <c:v>0.13100000000000001</c:v>
                </c:pt>
                <c:pt idx="132">
                  <c:v>0.13200000000000001</c:v>
                </c:pt>
                <c:pt idx="133">
                  <c:v>0.13300000000000001</c:v>
                </c:pt>
                <c:pt idx="134">
                  <c:v>0.13400000000000001</c:v>
                </c:pt>
                <c:pt idx="135">
                  <c:v>0.13500000000000001</c:v>
                </c:pt>
                <c:pt idx="136">
                  <c:v>0.13600000000000001</c:v>
                </c:pt>
                <c:pt idx="137">
                  <c:v>0.13700000000000001</c:v>
                </c:pt>
                <c:pt idx="138">
                  <c:v>0.13800000000000001</c:v>
                </c:pt>
                <c:pt idx="139">
                  <c:v>0.13900000000000001</c:v>
                </c:pt>
                <c:pt idx="140">
                  <c:v>0.14000000000000001</c:v>
                </c:pt>
                <c:pt idx="141">
                  <c:v>0.14099999999999999</c:v>
                </c:pt>
                <c:pt idx="142">
                  <c:v>0.14199999999999999</c:v>
                </c:pt>
                <c:pt idx="143">
                  <c:v>0.14299999999999999</c:v>
                </c:pt>
                <c:pt idx="144">
                  <c:v>0.14399999999999999</c:v>
                </c:pt>
                <c:pt idx="145">
                  <c:v>0.14499999999999999</c:v>
                </c:pt>
                <c:pt idx="146">
                  <c:v>0.14599999999999999</c:v>
                </c:pt>
                <c:pt idx="147">
                  <c:v>0.14699999999999999</c:v>
                </c:pt>
                <c:pt idx="148">
                  <c:v>0.14799999999999999</c:v>
                </c:pt>
                <c:pt idx="149">
                  <c:v>0.14899999999999999</c:v>
                </c:pt>
                <c:pt idx="150">
                  <c:v>0.15</c:v>
                </c:pt>
                <c:pt idx="151">
                  <c:v>0.151</c:v>
                </c:pt>
                <c:pt idx="152">
                  <c:v>0.152</c:v>
                </c:pt>
                <c:pt idx="153">
                  <c:v>0.153</c:v>
                </c:pt>
                <c:pt idx="154">
                  <c:v>0.154</c:v>
                </c:pt>
                <c:pt idx="155">
                  <c:v>0.155</c:v>
                </c:pt>
                <c:pt idx="156">
                  <c:v>0.156</c:v>
                </c:pt>
                <c:pt idx="157">
                  <c:v>0.157</c:v>
                </c:pt>
                <c:pt idx="158">
                  <c:v>0.158</c:v>
                </c:pt>
                <c:pt idx="159">
                  <c:v>0.159</c:v>
                </c:pt>
                <c:pt idx="160">
                  <c:v>0.16</c:v>
                </c:pt>
                <c:pt idx="161">
                  <c:v>0.161</c:v>
                </c:pt>
                <c:pt idx="162">
                  <c:v>0.16200000000000001</c:v>
                </c:pt>
                <c:pt idx="163">
                  <c:v>0.16300000000000001</c:v>
                </c:pt>
                <c:pt idx="164">
                  <c:v>0.16400000000000001</c:v>
                </c:pt>
                <c:pt idx="165">
                  <c:v>0.16500000000000001</c:v>
                </c:pt>
                <c:pt idx="166">
                  <c:v>0.16600000000000001</c:v>
                </c:pt>
                <c:pt idx="167">
                  <c:v>0.16700000000000001</c:v>
                </c:pt>
                <c:pt idx="168">
                  <c:v>0.16800000000000001</c:v>
                </c:pt>
                <c:pt idx="169">
                  <c:v>0.16900000000000001</c:v>
                </c:pt>
                <c:pt idx="170">
                  <c:v>0.17</c:v>
                </c:pt>
                <c:pt idx="171">
                  <c:v>0.17100000000000001</c:v>
                </c:pt>
                <c:pt idx="172">
                  <c:v>0.17199999999999999</c:v>
                </c:pt>
                <c:pt idx="173">
                  <c:v>0.17299999999999999</c:v>
                </c:pt>
                <c:pt idx="174">
                  <c:v>0.17399999999999999</c:v>
                </c:pt>
                <c:pt idx="175">
                  <c:v>0.17499999999999999</c:v>
                </c:pt>
                <c:pt idx="176">
                  <c:v>0.17599999999999999</c:v>
                </c:pt>
                <c:pt idx="177">
                  <c:v>0.17699999999999999</c:v>
                </c:pt>
                <c:pt idx="178">
                  <c:v>0.17799999999999999</c:v>
                </c:pt>
                <c:pt idx="179">
                  <c:v>0.17899999999999999</c:v>
                </c:pt>
                <c:pt idx="180">
                  <c:v>0.18</c:v>
                </c:pt>
                <c:pt idx="181">
                  <c:v>0.18099999999999999</c:v>
                </c:pt>
                <c:pt idx="182">
                  <c:v>0.182</c:v>
                </c:pt>
                <c:pt idx="183">
                  <c:v>0.183</c:v>
                </c:pt>
                <c:pt idx="184">
                  <c:v>0.184</c:v>
                </c:pt>
                <c:pt idx="185">
                  <c:v>0.185</c:v>
                </c:pt>
                <c:pt idx="186">
                  <c:v>0.186</c:v>
                </c:pt>
                <c:pt idx="187">
                  <c:v>0.187</c:v>
                </c:pt>
                <c:pt idx="188">
                  <c:v>0.188</c:v>
                </c:pt>
                <c:pt idx="189">
                  <c:v>0.189</c:v>
                </c:pt>
                <c:pt idx="190">
                  <c:v>0.19</c:v>
                </c:pt>
                <c:pt idx="191">
                  <c:v>0.191</c:v>
                </c:pt>
                <c:pt idx="192">
                  <c:v>0.192</c:v>
                </c:pt>
                <c:pt idx="193">
                  <c:v>0.193</c:v>
                </c:pt>
                <c:pt idx="194">
                  <c:v>0.19400000000000001</c:v>
                </c:pt>
                <c:pt idx="195">
                  <c:v>0.19500000000000001</c:v>
                </c:pt>
                <c:pt idx="196">
                  <c:v>0.19600000000000001</c:v>
                </c:pt>
                <c:pt idx="197">
                  <c:v>0.19700000000000001</c:v>
                </c:pt>
                <c:pt idx="198">
                  <c:v>0.19800000000000001</c:v>
                </c:pt>
                <c:pt idx="199">
                  <c:v>0.19900000000000001</c:v>
                </c:pt>
                <c:pt idx="200">
                  <c:v>0.2</c:v>
                </c:pt>
                <c:pt idx="201">
                  <c:v>0.20100000000000001</c:v>
                </c:pt>
                <c:pt idx="202">
                  <c:v>0.20200000000000001</c:v>
                </c:pt>
                <c:pt idx="203">
                  <c:v>0.20300000000000001</c:v>
                </c:pt>
                <c:pt idx="204">
                  <c:v>0.20399999999999999</c:v>
                </c:pt>
                <c:pt idx="205">
                  <c:v>0.20499999999999999</c:v>
                </c:pt>
                <c:pt idx="206">
                  <c:v>0.20599999999999999</c:v>
                </c:pt>
                <c:pt idx="207">
                  <c:v>0.20699999999999999</c:v>
                </c:pt>
                <c:pt idx="208">
                  <c:v>0.20799999999999999</c:v>
                </c:pt>
                <c:pt idx="209">
                  <c:v>0.20899999999999999</c:v>
                </c:pt>
                <c:pt idx="210">
                  <c:v>0.21</c:v>
                </c:pt>
                <c:pt idx="211">
                  <c:v>0.21099999999999999</c:v>
                </c:pt>
                <c:pt idx="212">
                  <c:v>0.21199999999999999</c:v>
                </c:pt>
                <c:pt idx="213">
                  <c:v>0.21299999999999999</c:v>
                </c:pt>
                <c:pt idx="214">
                  <c:v>0.214</c:v>
                </c:pt>
                <c:pt idx="215">
                  <c:v>0.215</c:v>
                </c:pt>
                <c:pt idx="216">
                  <c:v>0.216</c:v>
                </c:pt>
                <c:pt idx="217">
                  <c:v>0.217</c:v>
                </c:pt>
                <c:pt idx="218">
                  <c:v>0.218</c:v>
                </c:pt>
                <c:pt idx="219">
                  <c:v>0.219</c:v>
                </c:pt>
                <c:pt idx="220">
                  <c:v>0.22</c:v>
                </c:pt>
                <c:pt idx="221">
                  <c:v>0.221</c:v>
                </c:pt>
                <c:pt idx="222">
                  <c:v>0.222</c:v>
                </c:pt>
                <c:pt idx="223">
                  <c:v>0.223</c:v>
                </c:pt>
                <c:pt idx="224">
                  <c:v>0.224</c:v>
                </c:pt>
                <c:pt idx="225">
                  <c:v>0.22500000000000001</c:v>
                </c:pt>
                <c:pt idx="226">
                  <c:v>0.22600000000000001</c:v>
                </c:pt>
                <c:pt idx="227">
                  <c:v>0.22700000000000001</c:v>
                </c:pt>
                <c:pt idx="228">
                  <c:v>0.22800000000000001</c:v>
                </c:pt>
                <c:pt idx="229">
                  <c:v>0.22900000000000001</c:v>
                </c:pt>
                <c:pt idx="230">
                  <c:v>0.23</c:v>
                </c:pt>
                <c:pt idx="231">
                  <c:v>0.23100000000000001</c:v>
                </c:pt>
                <c:pt idx="232">
                  <c:v>0.23200000000000001</c:v>
                </c:pt>
                <c:pt idx="233">
                  <c:v>0.23300000000000001</c:v>
                </c:pt>
                <c:pt idx="234">
                  <c:v>0.23400000000000001</c:v>
                </c:pt>
                <c:pt idx="235">
                  <c:v>0.23499999999999999</c:v>
                </c:pt>
                <c:pt idx="236">
                  <c:v>0.23599999999999999</c:v>
                </c:pt>
                <c:pt idx="237">
                  <c:v>0.23699999999999999</c:v>
                </c:pt>
                <c:pt idx="238">
                  <c:v>0.23799999999999999</c:v>
                </c:pt>
                <c:pt idx="239">
                  <c:v>0.23899999999999999</c:v>
                </c:pt>
                <c:pt idx="240">
                  <c:v>0.24</c:v>
                </c:pt>
                <c:pt idx="241">
                  <c:v>0.24099999999999999</c:v>
                </c:pt>
                <c:pt idx="242">
                  <c:v>0.24199999999999999</c:v>
                </c:pt>
                <c:pt idx="243">
                  <c:v>0.24299999999999999</c:v>
                </c:pt>
                <c:pt idx="244">
                  <c:v>0.24399999999999999</c:v>
                </c:pt>
                <c:pt idx="245">
                  <c:v>0.245</c:v>
                </c:pt>
                <c:pt idx="246">
                  <c:v>0.246</c:v>
                </c:pt>
                <c:pt idx="247">
                  <c:v>0.247</c:v>
                </c:pt>
                <c:pt idx="248">
                  <c:v>0.248</c:v>
                </c:pt>
                <c:pt idx="249">
                  <c:v>0.249</c:v>
                </c:pt>
                <c:pt idx="250">
                  <c:v>0.25</c:v>
                </c:pt>
                <c:pt idx="251">
                  <c:v>0.251</c:v>
                </c:pt>
                <c:pt idx="252">
                  <c:v>0.252</c:v>
                </c:pt>
                <c:pt idx="253">
                  <c:v>0.253</c:v>
                </c:pt>
                <c:pt idx="254">
                  <c:v>0.254</c:v>
                </c:pt>
                <c:pt idx="255">
                  <c:v>0.255</c:v>
                </c:pt>
                <c:pt idx="256">
                  <c:v>0.25600000000000001</c:v>
                </c:pt>
                <c:pt idx="257">
                  <c:v>0.25700000000000001</c:v>
                </c:pt>
                <c:pt idx="258">
                  <c:v>0.25800000000000001</c:v>
                </c:pt>
                <c:pt idx="259">
                  <c:v>0.25900000000000001</c:v>
                </c:pt>
                <c:pt idx="260">
                  <c:v>0.26</c:v>
                </c:pt>
                <c:pt idx="261">
                  <c:v>0.26100000000000001</c:v>
                </c:pt>
                <c:pt idx="262">
                  <c:v>0.26200000000000001</c:v>
                </c:pt>
                <c:pt idx="263">
                  <c:v>0.26300000000000001</c:v>
                </c:pt>
                <c:pt idx="264">
                  <c:v>0.26400000000000001</c:v>
                </c:pt>
                <c:pt idx="265">
                  <c:v>0.26500000000000001</c:v>
                </c:pt>
                <c:pt idx="266">
                  <c:v>0.26600000000000001</c:v>
                </c:pt>
                <c:pt idx="267">
                  <c:v>0.26700000000000002</c:v>
                </c:pt>
                <c:pt idx="268">
                  <c:v>0.26800000000000002</c:v>
                </c:pt>
                <c:pt idx="269">
                  <c:v>0.26900000000000002</c:v>
                </c:pt>
                <c:pt idx="270">
                  <c:v>0.27</c:v>
                </c:pt>
                <c:pt idx="271">
                  <c:v>0.27100000000000002</c:v>
                </c:pt>
                <c:pt idx="272">
                  <c:v>0.27200000000000002</c:v>
                </c:pt>
                <c:pt idx="273">
                  <c:v>0.27300000000000002</c:v>
                </c:pt>
                <c:pt idx="274">
                  <c:v>0.27400000000000002</c:v>
                </c:pt>
                <c:pt idx="275">
                  <c:v>0.27500000000000002</c:v>
                </c:pt>
                <c:pt idx="276">
                  <c:v>0.27600000000000002</c:v>
                </c:pt>
                <c:pt idx="277">
                  <c:v>0.27700000000000002</c:v>
                </c:pt>
                <c:pt idx="278">
                  <c:v>0.27800000000000002</c:v>
                </c:pt>
                <c:pt idx="279">
                  <c:v>0.27900000000000003</c:v>
                </c:pt>
                <c:pt idx="280">
                  <c:v>0.28000000000000003</c:v>
                </c:pt>
                <c:pt idx="281">
                  <c:v>0.28100000000000003</c:v>
                </c:pt>
                <c:pt idx="282">
                  <c:v>0.28199999999999997</c:v>
                </c:pt>
                <c:pt idx="283">
                  <c:v>0.28299999999999997</c:v>
                </c:pt>
                <c:pt idx="284">
                  <c:v>0.28399999999999997</c:v>
                </c:pt>
                <c:pt idx="285">
                  <c:v>0.28499999999999998</c:v>
                </c:pt>
                <c:pt idx="286">
                  <c:v>0.28599999999999998</c:v>
                </c:pt>
                <c:pt idx="287">
                  <c:v>0.28699999999999998</c:v>
                </c:pt>
                <c:pt idx="288">
                  <c:v>0.28799999999999998</c:v>
                </c:pt>
                <c:pt idx="289">
                  <c:v>0.28899999999999998</c:v>
                </c:pt>
                <c:pt idx="290">
                  <c:v>0.28999999999999998</c:v>
                </c:pt>
                <c:pt idx="291">
                  <c:v>0.29099999999999998</c:v>
                </c:pt>
                <c:pt idx="292">
                  <c:v>0.29199999999999998</c:v>
                </c:pt>
                <c:pt idx="293">
                  <c:v>0.29299999999999998</c:v>
                </c:pt>
                <c:pt idx="294">
                  <c:v>0.29399999999999998</c:v>
                </c:pt>
                <c:pt idx="295">
                  <c:v>0.29499999999999998</c:v>
                </c:pt>
                <c:pt idx="296">
                  <c:v>0.29599999999999999</c:v>
                </c:pt>
                <c:pt idx="297">
                  <c:v>0.29699999999999999</c:v>
                </c:pt>
                <c:pt idx="298">
                  <c:v>0.29799999999999999</c:v>
                </c:pt>
                <c:pt idx="299">
                  <c:v>0.29899999999999999</c:v>
                </c:pt>
                <c:pt idx="300">
                  <c:v>0.3</c:v>
                </c:pt>
                <c:pt idx="301">
                  <c:v>0.30099999999999999</c:v>
                </c:pt>
                <c:pt idx="302">
                  <c:v>0.30199999999999999</c:v>
                </c:pt>
                <c:pt idx="303">
                  <c:v>0.30299999999999999</c:v>
                </c:pt>
                <c:pt idx="304">
                  <c:v>0.30399999999999999</c:v>
                </c:pt>
                <c:pt idx="305">
                  <c:v>0.30499999999999999</c:v>
                </c:pt>
                <c:pt idx="306">
                  <c:v>0.30599999999999999</c:v>
                </c:pt>
                <c:pt idx="307">
                  <c:v>0.307</c:v>
                </c:pt>
                <c:pt idx="308">
                  <c:v>0.308</c:v>
                </c:pt>
                <c:pt idx="309">
                  <c:v>0.309</c:v>
                </c:pt>
                <c:pt idx="310">
                  <c:v>0.31</c:v>
                </c:pt>
                <c:pt idx="311">
                  <c:v>0.311</c:v>
                </c:pt>
                <c:pt idx="312">
                  <c:v>0.312</c:v>
                </c:pt>
                <c:pt idx="313">
                  <c:v>0.313</c:v>
                </c:pt>
                <c:pt idx="314">
                  <c:v>0.314</c:v>
                </c:pt>
                <c:pt idx="315">
                  <c:v>0.315</c:v>
                </c:pt>
                <c:pt idx="316">
                  <c:v>0.316</c:v>
                </c:pt>
                <c:pt idx="317">
                  <c:v>0.317</c:v>
                </c:pt>
                <c:pt idx="318">
                  <c:v>0.318</c:v>
                </c:pt>
                <c:pt idx="319">
                  <c:v>0.31900000000000001</c:v>
                </c:pt>
                <c:pt idx="320">
                  <c:v>0.32</c:v>
                </c:pt>
                <c:pt idx="321">
                  <c:v>0.32100000000000001</c:v>
                </c:pt>
                <c:pt idx="322">
                  <c:v>0.32200000000000001</c:v>
                </c:pt>
                <c:pt idx="323">
                  <c:v>0.32300000000000001</c:v>
                </c:pt>
                <c:pt idx="324">
                  <c:v>0.32400000000000001</c:v>
                </c:pt>
                <c:pt idx="325">
                  <c:v>0.32500000000000001</c:v>
                </c:pt>
                <c:pt idx="326">
                  <c:v>0.32600000000000001</c:v>
                </c:pt>
                <c:pt idx="327">
                  <c:v>0.32700000000000001</c:v>
                </c:pt>
                <c:pt idx="328">
                  <c:v>0.32800000000000001</c:v>
                </c:pt>
                <c:pt idx="329">
                  <c:v>0.32900000000000001</c:v>
                </c:pt>
                <c:pt idx="330">
                  <c:v>0.33</c:v>
                </c:pt>
                <c:pt idx="331">
                  <c:v>0.33100000000000002</c:v>
                </c:pt>
                <c:pt idx="332">
                  <c:v>0.33200000000000002</c:v>
                </c:pt>
                <c:pt idx="333">
                  <c:v>0.33300000000000002</c:v>
                </c:pt>
                <c:pt idx="334">
                  <c:v>0.33400000000000002</c:v>
                </c:pt>
                <c:pt idx="335">
                  <c:v>0.33500000000000002</c:v>
                </c:pt>
                <c:pt idx="336">
                  <c:v>0.33600000000000002</c:v>
                </c:pt>
                <c:pt idx="337">
                  <c:v>0.33700000000000002</c:v>
                </c:pt>
                <c:pt idx="338">
                  <c:v>0.33800000000000002</c:v>
                </c:pt>
                <c:pt idx="339">
                  <c:v>0.33900000000000002</c:v>
                </c:pt>
                <c:pt idx="340">
                  <c:v>0.34</c:v>
                </c:pt>
                <c:pt idx="341">
                  <c:v>0.34100000000000003</c:v>
                </c:pt>
                <c:pt idx="342">
                  <c:v>0.34200000000000003</c:v>
                </c:pt>
                <c:pt idx="343">
                  <c:v>0.34300000000000003</c:v>
                </c:pt>
                <c:pt idx="344">
                  <c:v>0.34399999999999997</c:v>
                </c:pt>
                <c:pt idx="345">
                  <c:v>0.34499999999999997</c:v>
                </c:pt>
                <c:pt idx="346">
                  <c:v>0.34599999999999997</c:v>
                </c:pt>
                <c:pt idx="347">
                  <c:v>0.34699999999999998</c:v>
                </c:pt>
                <c:pt idx="348">
                  <c:v>0.34799999999999998</c:v>
                </c:pt>
                <c:pt idx="349">
                  <c:v>0.34899999999999998</c:v>
                </c:pt>
                <c:pt idx="350">
                  <c:v>0.35</c:v>
                </c:pt>
                <c:pt idx="351">
                  <c:v>0.35099999999999998</c:v>
                </c:pt>
                <c:pt idx="352">
                  <c:v>0.35199999999999998</c:v>
                </c:pt>
                <c:pt idx="353">
                  <c:v>0.35299999999999998</c:v>
                </c:pt>
                <c:pt idx="354">
                  <c:v>0.35399999999999998</c:v>
                </c:pt>
                <c:pt idx="355">
                  <c:v>0.35499999999999998</c:v>
                </c:pt>
                <c:pt idx="356">
                  <c:v>0.35599999999999998</c:v>
                </c:pt>
                <c:pt idx="357">
                  <c:v>0.35699999999999998</c:v>
                </c:pt>
                <c:pt idx="358">
                  <c:v>0.35799999999999998</c:v>
                </c:pt>
                <c:pt idx="359">
                  <c:v>0.35899999999999999</c:v>
                </c:pt>
                <c:pt idx="360">
                  <c:v>0.36</c:v>
                </c:pt>
                <c:pt idx="361">
                  <c:v>0.36099999999999999</c:v>
                </c:pt>
                <c:pt idx="362">
                  <c:v>0.36199999999999999</c:v>
                </c:pt>
                <c:pt idx="363">
                  <c:v>0.36299999999999999</c:v>
                </c:pt>
                <c:pt idx="364">
                  <c:v>0.36399999999999999</c:v>
                </c:pt>
                <c:pt idx="365">
                  <c:v>0.36499999999999999</c:v>
                </c:pt>
                <c:pt idx="366">
                  <c:v>0.36599999999999999</c:v>
                </c:pt>
                <c:pt idx="367">
                  <c:v>0.36699999999999999</c:v>
                </c:pt>
                <c:pt idx="368">
                  <c:v>0.36799999999999999</c:v>
                </c:pt>
                <c:pt idx="369">
                  <c:v>0.36899999999999999</c:v>
                </c:pt>
                <c:pt idx="370">
                  <c:v>0.37</c:v>
                </c:pt>
                <c:pt idx="371">
                  <c:v>0.371</c:v>
                </c:pt>
                <c:pt idx="372">
                  <c:v>0.372</c:v>
                </c:pt>
                <c:pt idx="373">
                  <c:v>0.373</c:v>
                </c:pt>
                <c:pt idx="374">
                  <c:v>0.374</c:v>
                </c:pt>
                <c:pt idx="375">
                  <c:v>0.375</c:v>
                </c:pt>
                <c:pt idx="376">
                  <c:v>0.376</c:v>
                </c:pt>
                <c:pt idx="377">
                  <c:v>0.377</c:v>
                </c:pt>
                <c:pt idx="378">
                  <c:v>0.378</c:v>
                </c:pt>
                <c:pt idx="379">
                  <c:v>0.379</c:v>
                </c:pt>
                <c:pt idx="380">
                  <c:v>0.38</c:v>
                </c:pt>
                <c:pt idx="381">
                  <c:v>0.38100000000000001</c:v>
                </c:pt>
                <c:pt idx="382">
                  <c:v>0.38200000000000001</c:v>
                </c:pt>
                <c:pt idx="383">
                  <c:v>0.38300000000000001</c:v>
                </c:pt>
                <c:pt idx="384">
                  <c:v>0.38400000000000001</c:v>
                </c:pt>
                <c:pt idx="385">
                  <c:v>0.38500000000000001</c:v>
                </c:pt>
                <c:pt idx="386">
                  <c:v>0.38600000000000001</c:v>
                </c:pt>
                <c:pt idx="387">
                  <c:v>0.38700000000000001</c:v>
                </c:pt>
                <c:pt idx="388">
                  <c:v>0.38800000000000001</c:v>
                </c:pt>
                <c:pt idx="389">
                  <c:v>0.38900000000000001</c:v>
                </c:pt>
                <c:pt idx="390">
                  <c:v>0.39</c:v>
                </c:pt>
                <c:pt idx="391">
                  <c:v>0.39100000000000001</c:v>
                </c:pt>
                <c:pt idx="392">
                  <c:v>0.39200000000000002</c:v>
                </c:pt>
                <c:pt idx="393">
                  <c:v>0.39300000000000002</c:v>
                </c:pt>
                <c:pt idx="394">
                  <c:v>0.39400000000000002</c:v>
                </c:pt>
                <c:pt idx="395">
                  <c:v>0.39500000000000002</c:v>
                </c:pt>
                <c:pt idx="396">
                  <c:v>0.39600000000000002</c:v>
                </c:pt>
                <c:pt idx="397">
                  <c:v>0.39700000000000002</c:v>
                </c:pt>
                <c:pt idx="398">
                  <c:v>0.39800000000000002</c:v>
                </c:pt>
                <c:pt idx="399">
                  <c:v>0.39900000000000002</c:v>
                </c:pt>
                <c:pt idx="400">
                  <c:v>0.4</c:v>
                </c:pt>
                <c:pt idx="401">
                  <c:v>0.40100000000000002</c:v>
                </c:pt>
                <c:pt idx="402">
                  <c:v>0.40200000000000002</c:v>
                </c:pt>
                <c:pt idx="403">
                  <c:v>0.40300000000000002</c:v>
                </c:pt>
                <c:pt idx="404">
                  <c:v>0.40400000000000003</c:v>
                </c:pt>
                <c:pt idx="405">
                  <c:v>0.40500000000000003</c:v>
                </c:pt>
                <c:pt idx="406">
                  <c:v>0.40600000000000003</c:v>
                </c:pt>
                <c:pt idx="407">
                  <c:v>0.40699999999999997</c:v>
                </c:pt>
                <c:pt idx="408">
                  <c:v>0.40799999999999997</c:v>
                </c:pt>
                <c:pt idx="409">
                  <c:v>0.40899999999999997</c:v>
                </c:pt>
                <c:pt idx="410">
                  <c:v>0.41</c:v>
                </c:pt>
                <c:pt idx="411">
                  <c:v>0.41099999999999998</c:v>
                </c:pt>
                <c:pt idx="412">
                  <c:v>0.41199999999999998</c:v>
                </c:pt>
                <c:pt idx="413">
                  <c:v>0.41299999999999998</c:v>
                </c:pt>
                <c:pt idx="414">
                  <c:v>0.41399999999999998</c:v>
                </c:pt>
                <c:pt idx="415">
                  <c:v>0.41499999999999998</c:v>
                </c:pt>
                <c:pt idx="416">
                  <c:v>0.41599999999999998</c:v>
                </c:pt>
                <c:pt idx="417">
                  <c:v>0.41699999999999998</c:v>
                </c:pt>
                <c:pt idx="418">
                  <c:v>0.41799999999999998</c:v>
                </c:pt>
                <c:pt idx="419">
                  <c:v>0.41899999999999998</c:v>
                </c:pt>
                <c:pt idx="420">
                  <c:v>0.42</c:v>
                </c:pt>
                <c:pt idx="421">
                  <c:v>0.42099999999999999</c:v>
                </c:pt>
                <c:pt idx="422">
                  <c:v>0.42199999999999999</c:v>
                </c:pt>
                <c:pt idx="423">
                  <c:v>0.42299999999999999</c:v>
                </c:pt>
                <c:pt idx="424">
                  <c:v>0.42399999999999999</c:v>
                </c:pt>
                <c:pt idx="425">
                  <c:v>0.42499999999999999</c:v>
                </c:pt>
                <c:pt idx="426">
                  <c:v>0.42599999999999999</c:v>
                </c:pt>
                <c:pt idx="427">
                  <c:v>0.42699999999999999</c:v>
                </c:pt>
                <c:pt idx="428">
                  <c:v>0.42799999999999999</c:v>
                </c:pt>
                <c:pt idx="429">
                  <c:v>0.42899999999999999</c:v>
                </c:pt>
                <c:pt idx="430">
                  <c:v>0.43</c:v>
                </c:pt>
                <c:pt idx="431">
                  <c:v>0.43099999999999999</c:v>
                </c:pt>
                <c:pt idx="432">
                  <c:v>0.432</c:v>
                </c:pt>
                <c:pt idx="433">
                  <c:v>0.433</c:v>
                </c:pt>
                <c:pt idx="434">
                  <c:v>0.434</c:v>
                </c:pt>
                <c:pt idx="435">
                  <c:v>0.435</c:v>
                </c:pt>
                <c:pt idx="436">
                  <c:v>0.436</c:v>
                </c:pt>
                <c:pt idx="437">
                  <c:v>0.437</c:v>
                </c:pt>
                <c:pt idx="438">
                  <c:v>0.438</c:v>
                </c:pt>
                <c:pt idx="439">
                  <c:v>0.439</c:v>
                </c:pt>
                <c:pt idx="440">
                  <c:v>0.44</c:v>
                </c:pt>
                <c:pt idx="441">
                  <c:v>0.441</c:v>
                </c:pt>
                <c:pt idx="442">
                  <c:v>0.442</c:v>
                </c:pt>
                <c:pt idx="443">
                  <c:v>0.443</c:v>
                </c:pt>
                <c:pt idx="444">
                  <c:v>0.44400000000000001</c:v>
                </c:pt>
                <c:pt idx="445">
                  <c:v>0.44500000000000001</c:v>
                </c:pt>
                <c:pt idx="446">
                  <c:v>0.44600000000000001</c:v>
                </c:pt>
                <c:pt idx="447">
                  <c:v>0.44700000000000001</c:v>
                </c:pt>
                <c:pt idx="448">
                  <c:v>0.44800000000000001</c:v>
                </c:pt>
                <c:pt idx="449">
                  <c:v>0.44900000000000001</c:v>
                </c:pt>
                <c:pt idx="450">
                  <c:v>0.45</c:v>
                </c:pt>
                <c:pt idx="451">
                  <c:v>0.45100000000000001</c:v>
                </c:pt>
                <c:pt idx="452">
                  <c:v>0.45200000000000001</c:v>
                </c:pt>
                <c:pt idx="453">
                  <c:v>0.45300000000000001</c:v>
                </c:pt>
                <c:pt idx="454">
                  <c:v>0.45400000000000001</c:v>
                </c:pt>
                <c:pt idx="455">
                  <c:v>0.45500000000000002</c:v>
                </c:pt>
                <c:pt idx="456">
                  <c:v>0.45600000000000002</c:v>
                </c:pt>
                <c:pt idx="457">
                  <c:v>0.45700000000000002</c:v>
                </c:pt>
                <c:pt idx="458">
                  <c:v>0.45800000000000002</c:v>
                </c:pt>
                <c:pt idx="459">
                  <c:v>0.45900000000000002</c:v>
                </c:pt>
                <c:pt idx="460">
                  <c:v>0.46</c:v>
                </c:pt>
                <c:pt idx="461">
                  <c:v>0.46100000000000002</c:v>
                </c:pt>
                <c:pt idx="462">
                  <c:v>0.46200000000000002</c:v>
                </c:pt>
                <c:pt idx="463">
                  <c:v>0.46300000000000002</c:v>
                </c:pt>
                <c:pt idx="464">
                  <c:v>0.46400000000000002</c:v>
                </c:pt>
                <c:pt idx="465">
                  <c:v>0.46500000000000002</c:v>
                </c:pt>
                <c:pt idx="466">
                  <c:v>0.46600000000000003</c:v>
                </c:pt>
                <c:pt idx="467">
                  <c:v>0.46700000000000003</c:v>
                </c:pt>
                <c:pt idx="468">
                  <c:v>0.46800000000000003</c:v>
                </c:pt>
                <c:pt idx="469">
                  <c:v>0.46899999999999997</c:v>
                </c:pt>
                <c:pt idx="470">
                  <c:v>0.47</c:v>
                </c:pt>
                <c:pt idx="471">
                  <c:v>0.47099999999999997</c:v>
                </c:pt>
                <c:pt idx="472">
                  <c:v>0.47199999999999998</c:v>
                </c:pt>
                <c:pt idx="473">
                  <c:v>0.47299999999999998</c:v>
                </c:pt>
                <c:pt idx="474">
                  <c:v>0.47399999999999998</c:v>
                </c:pt>
                <c:pt idx="475">
                  <c:v>0.47499999999999998</c:v>
                </c:pt>
                <c:pt idx="476">
                  <c:v>0.47599999999999998</c:v>
                </c:pt>
                <c:pt idx="477">
                  <c:v>0.47699999999999998</c:v>
                </c:pt>
                <c:pt idx="478">
                  <c:v>0.47799999999999998</c:v>
                </c:pt>
                <c:pt idx="479">
                  <c:v>0.47899999999999998</c:v>
                </c:pt>
                <c:pt idx="480">
                  <c:v>0.48</c:v>
                </c:pt>
                <c:pt idx="481">
                  <c:v>0.48099999999999998</c:v>
                </c:pt>
                <c:pt idx="482">
                  <c:v>0.48199999999999998</c:v>
                </c:pt>
                <c:pt idx="483">
                  <c:v>0.48299999999999998</c:v>
                </c:pt>
                <c:pt idx="484">
                  <c:v>0.48399999999999999</c:v>
                </c:pt>
                <c:pt idx="485">
                  <c:v>0.48499999999999999</c:v>
                </c:pt>
                <c:pt idx="486">
                  <c:v>0.48599999999999999</c:v>
                </c:pt>
                <c:pt idx="487">
                  <c:v>0.48699999999999999</c:v>
                </c:pt>
                <c:pt idx="488">
                  <c:v>0.48799999999999999</c:v>
                </c:pt>
                <c:pt idx="489">
                  <c:v>0.48899999999999999</c:v>
                </c:pt>
                <c:pt idx="490">
                  <c:v>0.49</c:v>
                </c:pt>
                <c:pt idx="491">
                  <c:v>0.49099999999999999</c:v>
                </c:pt>
                <c:pt idx="492">
                  <c:v>0.49199999999999999</c:v>
                </c:pt>
                <c:pt idx="493">
                  <c:v>0.49299999999999999</c:v>
                </c:pt>
                <c:pt idx="494">
                  <c:v>0.49399999999999999</c:v>
                </c:pt>
                <c:pt idx="495">
                  <c:v>0.495</c:v>
                </c:pt>
                <c:pt idx="496">
                  <c:v>0.496</c:v>
                </c:pt>
                <c:pt idx="497">
                  <c:v>0.497</c:v>
                </c:pt>
                <c:pt idx="498">
                  <c:v>0.498</c:v>
                </c:pt>
                <c:pt idx="499">
                  <c:v>0.499</c:v>
                </c:pt>
                <c:pt idx="500">
                  <c:v>0.5</c:v>
                </c:pt>
                <c:pt idx="501">
                  <c:v>0.501</c:v>
                </c:pt>
                <c:pt idx="502">
                  <c:v>0.502</c:v>
                </c:pt>
                <c:pt idx="503">
                  <c:v>0.503</c:v>
                </c:pt>
                <c:pt idx="504">
                  <c:v>0.504</c:v>
                </c:pt>
                <c:pt idx="505">
                  <c:v>0.505</c:v>
                </c:pt>
                <c:pt idx="506">
                  <c:v>0.50600000000000001</c:v>
                </c:pt>
                <c:pt idx="507">
                  <c:v>0.50700000000000001</c:v>
                </c:pt>
                <c:pt idx="508">
                  <c:v>0.50800000000000001</c:v>
                </c:pt>
                <c:pt idx="509">
                  <c:v>0.50900000000000001</c:v>
                </c:pt>
                <c:pt idx="510">
                  <c:v>0.51</c:v>
                </c:pt>
                <c:pt idx="511">
                  <c:v>0.51100000000000001</c:v>
                </c:pt>
                <c:pt idx="512">
                  <c:v>0.51200000000000001</c:v>
                </c:pt>
                <c:pt idx="513">
                  <c:v>0.51300000000000001</c:v>
                </c:pt>
                <c:pt idx="514">
                  <c:v>0.51400000000000001</c:v>
                </c:pt>
                <c:pt idx="515">
                  <c:v>0.51500000000000001</c:v>
                </c:pt>
                <c:pt idx="516">
                  <c:v>0.51600000000000001</c:v>
                </c:pt>
                <c:pt idx="517">
                  <c:v>0.51700000000000002</c:v>
                </c:pt>
                <c:pt idx="518">
                  <c:v>0.51800000000000002</c:v>
                </c:pt>
                <c:pt idx="519">
                  <c:v>0.51900000000000002</c:v>
                </c:pt>
                <c:pt idx="520">
                  <c:v>0.52</c:v>
                </c:pt>
                <c:pt idx="521">
                  <c:v>0.52100000000000002</c:v>
                </c:pt>
                <c:pt idx="522">
                  <c:v>0.52200000000000002</c:v>
                </c:pt>
                <c:pt idx="523">
                  <c:v>0.52300000000000002</c:v>
                </c:pt>
                <c:pt idx="524">
                  <c:v>0.52400000000000002</c:v>
                </c:pt>
                <c:pt idx="525">
                  <c:v>0.52500000000000002</c:v>
                </c:pt>
                <c:pt idx="526">
                  <c:v>0.52600000000000002</c:v>
                </c:pt>
                <c:pt idx="527">
                  <c:v>0.52700000000000002</c:v>
                </c:pt>
                <c:pt idx="528">
                  <c:v>0.52800000000000002</c:v>
                </c:pt>
                <c:pt idx="529">
                  <c:v>0.52900000000000003</c:v>
                </c:pt>
                <c:pt idx="530">
                  <c:v>0.53</c:v>
                </c:pt>
                <c:pt idx="531">
                  <c:v>0.53100000000000003</c:v>
                </c:pt>
                <c:pt idx="532">
                  <c:v>0.53200000000000003</c:v>
                </c:pt>
                <c:pt idx="533">
                  <c:v>0.53300000000000003</c:v>
                </c:pt>
                <c:pt idx="534">
                  <c:v>0.53400000000000003</c:v>
                </c:pt>
                <c:pt idx="535">
                  <c:v>0.53500000000000003</c:v>
                </c:pt>
                <c:pt idx="536">
                  <c:v>0.53600000000000003</c:v>
                </c:pt>
                <c:pt idx="537">
                  <c:v>0.53700000000000003</c:v>
                </c:pt>
                <c:pt idx="538">
                  <c:v>0.53800000000000003</c:v>
                </c:pt>
                <c:pt idx="539">
                  <c:v>0.53900000000000003</c:v>
                </c:pt>
                <c:pt idx="540">
                  <c:v>0.54</c:v>
                </c:pt>
                <c:pt idx="541">
                  <c:v>0.54100000000000004</c:v>
                </c:pt>
                <c:pt idx="542">
                  <c:v>0.54200000000000004</c:v>
                </c:pt>
                <c:pt idx="543">
                  <c:v>0.54300000000000004</c:v>
                </c:pt>
                <c:pt idx="544">
                  <c:v>0.54400000000000004</c:v>
                </c:pt>
                <c:pt idx="545">
                  <c:v>0.54500000000000004</c:v>
                </c:pt>
                <c:pt idx="546">
                  <c:v>0.54600000000000004</c:v>
                </c:pt>
                <c:pt idx="547">
                  <c:v>0.54700000000000004</c:v>
                </c:pt>
                <c:pt idx="548">
                  <c:v>0.54800000000000004</c:v>
                </c:pt>
                <c:pt idx="549">
                  <c:v>0.54900000000000004</c:v>
                </c:pt>
                <c:pt idx="550">
                  <c:v>0.55000000000000004</c:v>
                </c:pt>
                <c:pt idx="551">
                  <c:v>0.55100000000000005</c:v>
                </c:pt>
                <c:pt idx="552">
                  <c:v>0.55200000000000005</c:v>
                </c:pt>
                <c:pt idx="553">
                  <c:v>0.55300000000000005</c:v>
                </c:pt>
                <c:pt idx="554">
                  <c:v>0.55400000000000005</c:v>
                </c:pt>
                <c:pt idx="555">
                  <c:v>0.55500000000000005</c:v>
                </c:pt>
                <c:pt idx="556">
                  <c:v>0.55600000000000005</c:v>
                </c:pt>
                <c:pt idx="557">
                  <c:v>0.55700000000000005</c:v>
                </c:pt>
                <c:pt idx="558">
                  <c:v>0.55800000000000005</c:v>
                </c:pt>
                <c:pt idx="559">
                  <c:v>0.55900000000000005</c:v>
                </c:pt>
                <c:pt idx="560">
                  <c:v>0.56000000000000005</c:v>
                </c:pt>
                <c:pt idx="561">
                  <c:v>0.56100000000000005</c:v>
                </c:pt>
                <c:pt idx="562">
                  <c:v>0.56200000000000006</c:v>
                </c:pt>
                <c:pt idx="563">
                  <c:v>0.56299999999999994</c:v>
                </c:pt>
                <c:pt idx="564">
                  <c:v>0.56399999999999995</c:v>
                </c:pt>
                <c:pt idx="565">
                  <c:v>0.56499999999999995</c:v>
                </c:pt>
                <c:pt idx="566">
                  <c:v>0.56599999999999995</c:v>
                </c:pt>
                <c:pt idx="567">
                  <c:v>0.56699999999999995</c:v>
                </c:pt>
                <c:pt idx="568">
                  <c:v>0.56799999999999995</c:v>
                </c:pt>
                <c:pt idx="569">
                  <c:v>0.56899999999999995</c:v>
                </c:pt>
                <c:pt idx="570">
                  <c:v>0.56999999999999995</c:v>
                </c:pt>
                <c:pt idx="571">
                  <c:v>0.57099999999999995</c:v>
                </c:pt>
                <c:pt idx="572">
                  <c:v>0.57199999999999995</c:v>
                </c:pt>
                <c:pt idx="573">
                  <c:v>0.57299999999999995</c:v>
                </c:pt>
                <c:pt idx="574">
                  <c:v>0.57399999999999995</c:v>
                </c:pt>
                <c:pt idx="575">
                  <c:v>0.57499999999999996</c:v>
                </c:pt>
                <c:pt idx="576">
                  <c:v>0.57599999999999996</c:v>
                </c:pt>
                <c:pt idx="577">
                  <c:v>0.57699999999999996</c:v>
                </c:pt>
                <c:pt idx="578">
                  <c:v>0.57799999999999996</c:v>
                </c:pt>
                <c:pt idx="579">
                  <c:v>0.57899999999999996</c:v>
                </c:pt>
                <c:pt idx="580">
                  <c:v>0.57999999999999996</c:v>
                </c:pt>
                <c:pt idx="581">
                  <c:v>0.58099999999999996</c:v>
                </c:pt>
                <c:pt idx="582">
                  <c:v>0.58199999999999996</c:v>
                </c:pt>
                <c:pt idx="583">
                  <c:v>0.58299999999999996</c:v>
                </c:pt>
                <c:pt idx="584">
                  <c:v>0.58399999999999996</c:v>
                </c:pt>
                <c:pt idx="585">
                  <c:v>0.58499999999999996</c:v>
                </c:pt>
                <c:pt idx="586">
                  <c:v>0.58599999999999997</c:v>
                </c:pt>
                <c:pt idx="587">
                  <c:v>0.58699999999999997</c:v>
                </c:pt>
                <c:pt idx="588">
                  <c:v>0.58799999999999997</c:v>
                </c:pt>
                <c:pt idx="589">
                  <c:v>0.58899999999999997</c:v>
                </c:pt>
                <c:pt idx="590">
                  <c:v>0.59</c:v>
                </c:pt>
                <c:pt idx="591">
                  <c:v>0.59099999999999997</c:v>
                </c:pt>
                <c:pt idx="592">
                  <c:v>0.59199999999999997</c:v>
                </c:pt>
                <c:pt idx="593">
                  <c:v>0.59299999999999997</c:v>
                </c:pt>
                <c:pt idx="594">
                  <c:v>0.59399999999999997</c:v>
                </c:pt>
                <c:pt idx="595">
                  <c:v>0.59499999999999997</c:v>
                </c:pt>
                <c:pt idx="596">
                  <c:v>0.59599999999999997</c:v>
                </c:pt>
                <c:pt idx="597">
                  <c:v>0.59699999999999998</c:v>
                </c:pt>
                <c:pt idx="598">
                  <c:v>0.59799999999999998</c:v>
                </c:pt>
                <c:pt idx="599">
                  <c:v>0.59899999999999998</c:v>
                </c:pt>
                <c:pt idx="600">
                  <c:v>0.6</c:v>
                </c:pt>
                <c:pt idx="601">
                  <c:v>0.60099999999999998</c:v>
                </c:pt>
                <c:pt idx="602">
                  <c:v>0.60199999999999998</c:v>
                </c:pt>
                <c:pt idx="603">
                  <c:v>0.60299999999999998</c:v>
                </c:pt>
                <c:pt idx="604">
                  <c:v>0.60399999999999998</c:v>
                </c:pt>
                <c:pt idx="605">
                  <c:v>0.60499999999999998</c:v>
                </c:pt>
                <c:pt idx="606">
                  <c:v>0.60599999999999998</c:v>
                </c:pt>
                <c:pt idx="607">
                  <c:v>0.60699999999999998</c:v>
                </c:pt>
                <c:pt idx="608">
                  <c:v>0.60799999999999998</c:v>
                </c:pt>
                <c:pt idx="609">
                  <c:v>0.60899999999999999</c:v>
                </c:pt>
                <c:pt idx="610">
                  <c:v>0.61</c:v>
                </c:pt>
                <c:pt idx="611">
                  <c:v>0.61099999999999999</c:v>
                </c:pt>
                <c:pt idx="612">
                  <c:v>0.61199999999999999</c:v>
                </c:pt>
                <c:pt idx="613">
                  <c:v>0.61299999999999999</c:v>
                </c:pt>
                <c:pt idx="614">
                  <c:v>0.61399999999999999</c:v>
                </c:pt>
                <c:pt idx="615">
                  <c:v>0.61499999999999999</c:v>
                </c:pt>
                <c:pt idx="616">
                  <c:v>0.61599999999999999</c:v>
                </c:pt>
                <c:pt idx="617">
                  <c:v>0.61699999999999999</c:v>
                </c:pt>
                <c:pt idx="618">
                  <c:v>0.61799999999999999</c:v>
                </c:pt>
                <c:pt idx="619">
                  <c:v>0.61899999999999999</c:v>
                </c:pt>
                <c:pt idx="620">
                  <c:v>0.62</c:v>
                </c:pt>
                <c:pt idx="621">
                  <c:v>0.621</c:v>
                </c:pt>
                <c:pt idx="622">
                  <c:v>0.622</c:v>
                </c:pt>
                <c:pt idx="623">
                  <c:v>0.623</c:v>
                </c:pt>
                <c:pt idx="624">
                  <c:v>0.624</c:v>
                </c:pt>
                <c:pt idx="625">
                  <c:v>0.625</c:v>
                </c:pt>
                <c:pt idx="626">
                  <c:v>0.626</c:v>
                </c:pt>
                <c:pt idx="627">
                  <c:v>0.627</c:v>
                </c:pt>
                <c:pt idx="628">
                  <c:v>0.628</c:v>
                </c:pt>
                <c:pt idx="629">
                  <c:v>0.629</c:v>
                </c:pt>
                <c:pt idx="630">
                  <c:v>0.63</c:v>
                </c:pt>
                <c:pt idx="631">
                  <c:v>0.63100000000000001</c:v>
                </c:pt>
                <c:pt idx="632">
                  <c:v>0.63200000000000001</c:v>
                </c:pt>
                <c:pt idx="633">
                  <c:v>0.63300000000000001</c:v>
                </c:pt>
                <c:pt idx="634">
                  <c:v>0.63400000000000001</c:v>
                </c:pt>
                <c:pt idx="635">
                  <c:v>0.63500000000000001</c:v>
                </c:pt>
                <c:pt idx="636">
                  <c:v>0.63600000000000001</c:v>
                </c:pt>
                <c:pt idx="637">
                  <c:v>0.63700000000000001</c:v>
                </c:pt>
                <c:pt idx="638">
                  <c:v>0.63800000000000001</c:v>
                </c:pt>
                <c:pt idx="639">
                  <c:v>0.63900000000000001</c:v>
                </c:pt>
                <c:pt idx="640">
                  <c:v>0.64</c:v>
                </c:pt>
                <c:pt idx="641">
                  <c:v>0.64100000000000001</c:v>
                </c:pt>
                <c:pt idx="642">
                  <c:v>0.64200000000000002</c:v>
                </c:pt>
                <c:pt idx="643">
                  <c:v>0.64300000000000002</c:v>
                </c:pt>
                <c:pt idx="644">
                  <c:v>0.64400000000000002</c:v>
                </c:pt>
                <c:pt idx="645">
                  <c:v>0.64500000000000002</c:v>
                </c:pt>
                <c:pt idx="646">
                  <c:v>0.64600000000000002</c:v>
                </c:pt>
                <c:pt idx="647">
                  <c:v>0.64700000000000002</c:v>
                </c:pt>
                <c:pt idx="648">
                  <c:v>0.64800000000000002</c:v>
                </c:pt>
                <c:pt idx="649">
                  <c:v>0.64900000000000002</c:v>
                </c:pt>
                <c:pt idx="650">
                  <c:v>0.65</c:v>
                </c:pt>
                <c:pt idx="651">
                  <c:v>0.65100000000000002</c:v>
                </c:pt>
                <c:pt idx="652">
                  <c:v>0.65200000000000002</c:v>
                </c:pt>
                <c:pt idx="653">
                  <c:v>0.65300000000000002</c:v>
                </c:pt>
                <c:pt idx="654">
                  <c:v>0.65400000000000003</c:v>
                </c:pt>
                <c:pt idx="655">
                  <c:v>0.65500000000000003</c:v>
                </c:pt>
                <c:pt idx="656">
                  <c:v>0.65600000000000003</c:v>
                </c:pt>
                <c:pt idx="657">
                  <c:v>0.65700000000000003</c:v>
                </c:pt>
                <c:pt idx="658">
                  <c:v>0.65800000000000003</c:v>
                </c:pt>
                <c:pt idx="659">
                  <c:v>0.65900000000000003</c:v>
                </c:pt>
                <c:pt idx="660">
                  <c:v>0.66</c:v>
                </c:pt>
                <c:pt idx="661">
                  <c:v>0.66100000000000003</c:v>
                </c:pt>
                <c:pt idx="662">
                  <c:v>0.66200000000000003</c:v>
                </c:pt>
                <c:pt idx="663">
                  <c:v>0.66300000000000003</c:v>
                </c:pt>
                <c:pt idx="664">
                  <c:v>0.66400000000000003</c:v>
                </c:pt>
                <c:pt idx="665">
                  <c:v>0.66500000000000004</c:v>
                </c:pt>
                <c:pt idx="666">
                  <c:v>0.66600000000000004</c:v>
                </c:pt>
                <c:pt idx="667">
                  <c:v>0.66700000000000004</c:v>
                </c:pt>
                <c:pt idx="668">
                  <c:v>0.66800000000000004</c:v>
                </c:pt>
                <c:pt idx="669">
                  <c:v>0.66900000000000004</c:v>
                </c:pt>
                <c:pt idx="670">
                  <c:v>0.67</c:v>
                </c:pt>
                <c:pt idx="671">
                  <c:v>0.67100000000000004</c:v>
                </c:pt>
                <c:pt idx="672">
                  <c:v>0.67200000000000004</c:v>
                </c:pt>
                <c:pt idx="673">
                  <c:v>0.67300000000000004</c:v>
                </c:pt>
                <c:pt idx="674">
                  <c:v>0.67400000000000004</c:v>
                </c:pt>
                <c:pt idx="675">
                  <c:v>0.67500000000000004</c:v>
                </c:pt>
                <c:pt idx="676">
                  <c:v>0.67600000000000005</c:v>
                </c:pt>
                <c:pt idx="677">
                  <c:v>0.67700000000000005</c:v>
                </c:pt>
                <c:pt idx="678">
                  <c:v>0.67800000000000005</c:v>
                </c:pt>
                <c:pt idx="679">
                  <c:v>0.67900000000000005</c:v>
                </c:pt>
                <c:pt idx="680">
                  <c:v>0.68</c:v>
                </c:pt>
                <c:pt idx="681">
                  <c:v>0.68100000000000005</c:v>
                </c:pt>
                <c:pt idx="682">
                  <c:v>0.68200000000000005</c:v>
                </c:pt>
                <c:pt idx="683">
                  <c:v>0.68300000000000005</c:v>
                </c:pt>
                <c:pt idx="684">
                  <c:v>0.68400000000000005</c:v>
                </c:pt>
                <c:pt idx="685">
                  <c:v>0.68500000000000005</c:v>
                </c:pt>
                <c:pt idx="686">
                  <c:v>0.68600000000000005</c:v>
                </c:pt>
                <c:pt idx="687">
                  <c:v>0.68700000000000006</c:v>
                </c:pt>
                <c:pt idx="688">
                  <c:v>0.68799999999999994</c:v>
                </c:pt>
                <c:pt idx="689">
                  <c:v>0.68899999999999995</c:v>
                </c:pt>
                <c:pt idx="690">
                  <c:v>0.69</c:v>
                </c:pt>
                <c:pt idx="691">
                  <c:v>0.69099999999999995</c:v>
                </c:pt>
                <c:pt idx="692">
                  <c:v>0.69199999999999995</c:v>
                </c:pt>
                <c:pt idx="693">
                  <c:v>0.69299999999999995</c:v>
                </c:pt>
                <c:pt idx="694">
                  <c:v>0.69399999999999995</c:v>
                </c:pt>
                <c:pt idx="695">
                  <c:v>0.69499999999999995</c:v>
                </c:pt>
                <c:pt idx="696">
                  <c:v>0.69599999999999995</c:v>
                </c:pt>
                <c:pt idx="697">
                  <c:v>0.69699999999999995</c:v>
                </c:pt>
                <c:pt idx="698">
                  <c:v>0.69799999999999995</c:v>
                </c:pt>
                <c:pt idx="699">
                  <c:v>0.69899999999999995</c:v>
                </c:pt>
                <c:pt idx="700">
                  <c:v>0.7</c:v>
                </c:pt>
                <c:pt idx="701">
                  <c:v>0.70099999999999996</c:v>
                </c:pt>
                <c:pt idx="702">
                  <c:v>0.70199999999999996</c:v>
                </c:pt>
                <c:pt idx="703">
                  <c:v>0.70299999999999996</c:v>
                </c:pt>
                <c:pt idx="704">
                  <c:v>0.70399999999999996</c:v>
                </c:pt>
                <c:pt idx="705">
                  <c:v>0.70499999999999996</c:v>
                </c:pt>
                <c:pt idx="706">
                  <c:v>0.70599999999999996</c:v>
                </c:pt>
                <c:pt idx="707">
                  <c:v>0.70699999999999996</c:v>
                </c:pt>
                <c:pt idx="708">
                  <c:v>0.70799999999999996</c:v>
                </c:pt>
                <c:pt idx="709">
                  <c:v>0.70899999999999996</c:v>
                </c:pt>
                <c:pt idx="710">
                  <c:v>0.71</c:v>
                </c:pt>
                <c:pt idx="711">
                  <c:v>0.71099999999999997</c:v>
                </c:pt>
                <c:pt idx="712">
                  <c:v>0.71199999999999997</c:v>
                </c:pt>
                <c:pt idx="713">
                  <c:v>0.71299999999999997</c:v>
                </c:pt>
                <c:pt idx="714">
                  <c:v>0.71399999999999997</c:v>
                </c:pt>
                <c:pt idx="715">
                  <c:v>0.71499999999999997</c:v>
                </c:pt>
                <c:pt idx="716">
                  <c:v>0.71599999999999997</c:v>
                </c:pt>
                <c:pt idx="717">
                  <c:v>0.71699999999999997</c:v>
                </c:pt>
                <c:pt idx="718">
                  <c:v>0.71799999999999997</c:v>
                </c:pt>
                <c:pt idx="719">
                  <c:v>0.71899999999999997</c:v>
                </c:pt>
                <c:pt idx="720">
                  <c:v>0.72</c:v>
                </c:pt>
                <c:pt idx="721">
                  <c:v>0.72099999999999997</c:v>
                </c:pt>
                <c:pt idx="722">
                  <c:v>0.72199999999999998</c:v>
                </c:pt>
                <c:pt idx="723">
                  <c:v>0.72299999999999998</c:v>
                </c:pt>
                <c:pt idx="724">
                  <c:v>0.72399999999999998</c:v>
                </c:pt>
                <c:pt idx="725">
                  <c:v>0.72499999999999998</c:v>
                </c:pt>
                <c:pt idx="726">
                  <c:v>0.72599999999999998</c:v>
                </c:pt>
                <c:pt idx="727">
                  <c:v>0.72699999999999998</c:v>
                </c:pt>
                <c:pt idx="728">
                  <c:v>0.72799999999999998</c:v>
                </c:pt>
                <c:pt idx="729">
                  <c:v>0.72899999999999998</c:v>
                </c:pt>
                <c:pt idx="730">
                  <c:v>0.73</c:v>
                </c:pt>
                <c:pt idx="731">
                  <c:v>0.73099999999999998</c:v>
                </c:pt>
                <c:pt idx="732">
                  <c:v>0.73199999999999998</c:v>
                </c:pt>
                <c:pt idx="733">
                  <c:v>0.73299999999999998</c:v>
                </c:pt>
                <c:pt idx="734">
                  <c:v>0.73399999999999999</c:v>
                </c:pt>
                <c:pt idx="735">
                  <c:v>0.73499999999999999</c:v>
                </c:pt>
                <c:pt idx="736">
                  <c:v>0.73599999999999999</c:v>
                </c:pt>
                <c:pt idx="737">
                  <c:v>0.73699999999999999</c:v>
                </c:pt>
                <c:pt idx="738">
                  <c:v>0.73799999999999999</c:v>
                </c:pt>
                <c:pt idx="739">
                  <c:v>0.73899999999999999</c:v>
                </c:pt>
                <c:pt idx="740">
                  <c:v>0.74</c:v>
                </c:pt>
                <c:pt idx="741">
                  <c:v>0.74099999999999999</c:v>
                </c:pt>
                <c:pt idx="742">
                  <c:v>0.74199999999999999</c:v>
                </c:pt>
                <c:pt idx="743">
                  <c:v>0.74299999999999999</c:v>
                </c:pt>
                <c:pt idx="744">
                  <c:v>0.74399999999999999</c:v>
                </c:pt>
                <c:pt idx="745">
                  <c:v>0.745</c:v>
                </c:pt>
                <c:pt idx="746">
                  <c:v>0.746</c:v>
                </c:pt>
                <c:pt idx="747">
                  <c:v>0.747</c:v>
                </c:pt>
                <c:pt idx="748">
                  <c:v>0.748</c:v>
                </c:pt>
                <c:pt idx="749">
                  <c:v>0.749</c:v>
                </c:pt>
                <c:pt idx="750">
                  <c:v>0.75</c:v>
                </c:pt>
                <c:pt idx="751">
                  <c:v>0.751</c:v>
                </c:pt>
                <c:pt idx="752">
                  <c:v>0.752</c:v>
                </c:pt>
                <c:pt idx="753">
                  <c:v>0.753</c:v>
                </c:pt>
                <c:pt idx="754">
                  <c:v>0.754</c:v>
                </c:pt>
                <c:pt idx="755">
                  <c:v>0.755</c:v>
                </c:pt>
                <c:pt idx="756">
                  <c:v>0.75600000000000001</c:v>
                </c:pt>
                <c:pt idx="757">
                  <c:v>0.75700000000000001</c:v>
                </c:pt>
                <c:pt idx="758">
                  <c:v>0.75800000000000001</c:v>
                </c:pt>
                <c:pt idx="759">
                  <c:v>0.75900000000000001</c:v>
                </c:pt>
                <c:pt idx="760">
                  <c:v>0.76</c:v>
                </c:pt>
                <c:pt idx="761">
                  <c:v>0.76100000000000001</c:v>
                </c:pt>
                <c:pt idx="762">
                  <c:v>0.76200000000000001</c:v>
                </c:pt>
                <c:pt idx="763">
                  <c:v>0.76300000000000001</c:v>
                </c:pt>
                <c:pt idx="764">
                  <c:v>0.76400000000000001</c:v>
                </c:pt>
                <c:pt idx="765">
                  <c:v>0.76500000000000001</c:v>
                </c:pt>
                <c:pt idx="766">
                  <c:v>0.76600000000000001</c:v>
                </c:pt>
                <c:pt idx="767">
                  <c:v>0.76700000000000002</c:v>
                </c:pt>
                <c:pt idx="768">
                  <c:v>0.76800000000000002</c:v>
                </c:pt>
                <c:pt idx="769">
                  <c:v>0.76900000000000002</c:v>
                </c:pt>
                <c:pt idx="770">
                  <c:v>0.77</c:v>
                </c:pt>
                <c:pt idx="771">
                  <c:v>0.77100000000000002</c:v>
                </c:pt>
                <c:pt idx="772">
                  <c:v>0.77200000000000002</c:v>
                </c:pt>
                <c:pt idx="773">
                  <c:v>0.77300000000000002</c:v>
                </c:pt>
                <c:pt idx="774">
                  <c:v>0.77400000000000002</c:v>
                </c:pt>
                <c:pt idx="775">
                  <c:v>0.77500000000000002</c:v>
                </c:pt>
                <c:pt idx="776">
                  <c:v>0.77600000000000002</c:v>
                </c:pt>
                <c:pt idx="777">
                  <c:v>0.77700000000000002</c:v>
                </c:pt>
                <c:pt idx="778">
                  <c:v>0.77800000000000002</c:v>
                </c:pt>
                <c:pt idx="779">
                  <c:v>0.77900000000000003</c:v>
                </c:pt>
                <c:pt idx="780">
                  <c:v>0.78</c:v>
                </c:pt>
                <c:pt idx="781">
                  <c:v>0.78100000000000003</c:v>
                </c:pt>
                <c:pt idx="782">
                  <c:v>0.78200000000000003</c:v>
                </c:pt>
                <c:pt idx="783">
                  <c:v>0.78300000000000003</c:v>
                </c:pt>
                <c:pt idx="784">
                  <c:v>0.78400000000000003</c:v>
                </c:pt>
                <c:pt idx="785">
                  <c:v>0.78500000000000003</c:v>
                </c:pt>
                <c:pt idx="786">
                  <c:v>0.78600000000000003</c:v>
                </c:pt>
                <c:pt idx="787">
                  <c:v>0.78700000000000003</c:v>
                </c:pt>
                <c:pt idx="788">
                  <c:v>0.78800000000000003</c:v>
                </c:pt>
                <c:pt idx="789">
                  <c:v>0.78900000000000003</c:v>
                </c:pt>
                <c:pt idx="790">
                  <c:v>0.79</c:v>
                </c:pt>
                <c:pt idx="791">
                  <c:v>0.79100000000000004</c:v>
                </c:pt>
                <c:pt idx="792">
                  <c:v>0.79200000000000004</c:v>
                </c:pt>
                <c:pt idx="793">
                  <c:v>0.79300000000000004</c:v>
                </c:pt>
                <c:pt idx="794">
                  <c:v>0.79400000000000004</c:v>
                </c:pt>
                <c:pt idx="795">
                  <c:v>0.79500000000000004</c:v>
                </c:pt>
                <c:pt idx="796">
                  <c:v>0.79600000000000004</c:v>
                </c:pt>
                <c:pt idx="797">
                  <c:v>0.79700000000000004</c:v>
                </c:pt>
                <c:pt idx="798">
                  <c:v>0.79800000000000004</c:v>
                </c:pt>
                <c:pt idx="799">
                  <c:v>0.79900000000000004</c:v>
                </c:pt>
                <c:pt idx="800">
                  <c:v>0.8</c:v>
                </c:pt>
                <c:pt idx="801">
                  <c:v>0.80100000000000005</c:v>
                </c:pt>
                <c:pt idx="802">
                  <c:v>0.80200000000000005</c:v>
                </c:pt>
                <c:pt idx="803">
                  <c:v>0.80300000000000005</c:v>
                </c:pt>
                <c:pt idx="804">
                  <c:v>0.80400000000000005</c:v>
                </c:pt>
                <c:pt idx="805">
                  <c:v>0.80500000000000005</c:v>
                </c:pt>
                <c:pt idx="806">
                  <c:v>0.80600000000000005</c:v>
                </c:pt>
                <c:pt idx="807">
                  <c:v>0.80700000000000005</c:v>
                </c:pt>
                <c:pt idx="808">
                  <c:v>0.80800000000000005</c:v>
                </c:pt>
                <c:pt idx="809">
                  <c:v>0.80900000000000005</c:v>
                </c:pt>
                <c:pt idx="810">
                  <c:v>0.81</c:v>
                </c:pt>
                <c:pt idx="811">
                  <c:v>0.81100000000000005</c:v>
                </c:pt>
                <c:pt idx="812">
                  <c:v>0.81200000000000006</c:v>
                </c:pt>
                <c:pt idx="813">
                  <c:v>0.81299999999999994</c:v>
                </c:pt>
                <c:pt idx="814">
                  <c:v>0.81399999999999995</c:v>
                </c:pt>
                <c:pt idx="815">
                  <c:v>0.81499999999999995</c:v>
                </c:pt>
                <c:pt idx="816">
                  <c:v>0.81599999999999995</c:v>
                </c:pt>
                <c:pt idx="817">
                  <c:v>0.81699999999999995</c:v>
                </c:pt>
                <c:pt idx="818">
                  <c:v>0.81799999999999995</c:v>
                </c:pt>
                <c:pt idx="819">
                  <c:v>0.81899999999999995</c:v>
                </c:pt>
                <c:pt idx="820">
                  <c:v>0.82</c:v>
                </c:pt>
                <c:pt idx="821">
                  <c:v>0.82099999999999995</c:v>
                </c:pt>
                <c:pt idx="822">
                  <c:v>0.82199999999999995</c:v>
                </c:pt>
                <c:pt idx="823">
                  <c:v>0.82299999999999995</c:v>
                </c:pt>
                <c:pt idx="824">
                  <c:v>0.82399999999999995</c:v>
                </c:pt>
                <c:pt idx="825">
                  <c:v>0.82499999999999996</c:v>
                </c:pt>
                <c:pt idx="826">
                  <c:v>0.82599999999999996</c:v>
                </c:pt>
                <c:pt idx="827">
                  <c:v>0.82699999999999996</c:v>
                </c:pt>
                <c:pt idx="828">
                  <c:v>0.82799999999999996</c:v>
                </c:pt>
                <c:pt idx="829">
                  <c:v>0.82899999999999996</c:v>
                </c:pt>
                <c:pt idx="830">
                  <c:v>0.83</c:v>
                </c:pt>
                <c:pt idx="831">
                  <c:v>0.83099999999999996</c:v>
                </c:pt>
                <c:pt idx="832">
                  <c:v>0.83199999999999996</c:v>
                </c:pt>
                <c:pt idx="833">
                  <c:v>0.83299999999999996</c:v>
                </c:pt>
                <c:pt idx="834">
                  <c:v>0.83399999999999996</c:v>
                </c:pt>
                <c:pt idx="835">
                  <c:v>0.83499999999999996</c:v>
                </c:pt>
                <c:pt idx="836">
                  <c:v>0.83599999999999997</c:v>
                </c:pt>
                <c:pt idx="837">
                  <c:v>0.83699999999999997</c:v>
                </c:pt>
                <c:pt idx="838">
                  <c:v>0.83799999999999997</c:v>
                </c:pt>
                <c:pt idx="839">
                  <c:v>0.83899999999999997</c:v>
                </c:pt>
                <c:pt idx="840">
                  <c:v>0.84</c:v>
                </c:pt>
                <c:pt idx="841">
                  <c:v>0.84099999999999997</c:v>
                </c:pt>
                <c:pt idx="842">
                  <c:v>0.84199999999999997</c:v>
                </c:pt>
                <c:pt idx="843">
                  <c:v>0.84299999999999997</c:v>
                </c:pt>
                <c:pt idx="844">
                  <c:v>0.84399999999999997</c:v>
                </c:pt>
                <c:pt idx="845">
                  <c:v>0.84499999999999997</c:v>
                </c:pt>
                <c:pt idx="846">
                  <c:v>0.84599999999999997</c:v>
                </c:pt>
                <c:pt idx="847">
                  <c:v>0.84699999999999998</c:v>
                </c:pt>
                <c:pt idx="848">
                  <c:v>0.84799999999999998</c:v>
                </c:pt>
                <c:pt idx="849">
                  <c:v>0.84899999999999998</c:v>
                </c:pt>
                <c:pt idx="850">
                  <c:v>0.85</c:v>
                </c:pt>
                <c:pt idx="851">
                  <c:v>0.85099999999999998</c:v>
                </c:pt>
                <c:pt idx="852">
                  <c:v>0.85199999999999998</c:v>
                </c:pt>
                <c:pt idx="853">
                  <c:v>0.85299999999999998</c:v>
                </c:pt>
                <c:pt idx="854">
                  <c:v>0.85399999999999998</c:v>
                </c:pt>
                <c:pt idx="855">
                  <c:v>0.85499999999999998</c:v>
                </c:pt>
                <c:pt idx="856">
                  <c:v>0.85599999999999998</c:v>
                </c:pt>
                <c:pt idx="857">
                  <c:v>0.85699999999999998</c:v>
                </c:pt>
                <c:pt idx="858">
                  <c:v>0.85799999999999998</c:v>
                </c:pt>
                <c:pt idx="859">
                  <c:v>0.85899999999999999</c:v>
                </c:pt>
                <c:pt idx="860">
                  <c:v>0.86</c:v>
                </c:pt>
                <c:pt idx="861">
                  <c:v>0.86099999999999999</c:v>
                </c:pt>
                <c:pt idx="862">
                  <c:v>0.86199999999999999</c:v>
                </c:pt>
                <c:pt idx="863">
                  <c:v>0.86299999999999999</c:v>
                </c:pt>
                <c:pt idx="864">
                  <c:v>0.86399999999999999</c:v>
                </c:pt>
                <c:pt idx="865">
                  <c:v>0.86499999999999999</c:v>
                </c:pt>
                <c:pt idx="866">
                  <c:v>0.86599999999999999</c:v>
                </c:pt>
                <c:pt idx="867">
                  <c:v>0.86699999999999999</c:v>
                </c:pt>
                <c:pt idx="868">
                  <c:v>0.86799999999999999</c:v>
                </c:pt>
                <c:pt idx="869">
                  <c:v>0.86899999999999999</c:v>
                </c:pt>
                <c:pt idx="870">
                  <c:v>0.87</c:v>
                </c:pt>
                <c:pt idx="871">
                  <c:v>0.871</c:v>
                </c:pt>
                <c:pt idx="872">
                  <c:v>0.872</c:v>
                </c:pt>
                <c:pt idx="873">
                  <c:v>0.873</c:v>
                </c:pt>
                <c:pt idx="874">
                  <c:v>0.874</c:v>
                </c:pt>
                <c:pt idx="875">
                  <c:v>0.875</c:v>
                </c:pt>
                <c:pt idx="876">
                  <c:v>0.876</c:v>
                </c:pt>
                <c:pt idx="877">
                  <c:v>0.877</c:v>
                </c:pt>
                <c:pt idx="878">
                  <c:v>0.878</c:v>
                </c:pt>
                <c:pt idx="879">
                  <c:v>0.879</c:v>
                </c:pt>
                <c:pt idx="880">
                  <c:v>0.88</c:v>
                </c:pt>
                <c:pt idx="881">
                  <c:v>0.88100000000000001</c:v>
                </c:pt>
                <c:pt idx="882">
                  <c:v>0.88200000000000001</c:v>
                </c:pt>
                <c:pt idx="883">
                  <c:v>0.88300000000000001</c:v>
                </c:pt>
                <c:pt idx="884">
                  <c:v>0.88400000000000001</c:v>
                </c:pt>
                <c:pt idx="885">
                  <c:v>0.88500000000000001</c:v>
                </c:pt>
                <c:pt idx="886">
                  <c:v>0.88600000000000001</c:v>
                </c:pt>
                <c:pt idx="887">
                  <c:v>0.88700000000000001</c:v>
                </c:pt>
                <c:pt idx="888">
                  <c:v>0.88800000000000001</c:v>
                </c:pt>
                <c:pt idx="889">
                  <c:v>0.88900000000000001</c:v>
                </c:pt>
                <c:pt idx="890">
                  <c:v>0.89</c:v>
                </c:pt>
                <c:pt idx="891">
                  <c:v>0.89100000000000001</c:v>
                </c:pt>
                <c:pt idx="892">
                  <c:v>0.89200000000000002</c:v>
                </c:pt>
                <c:pt idx="893">
                  <c:v>0.89300000000000002</c:v>
                </c:pt>
                <c:pt idx="894">
                  <c:v>0.89400000000000002</c:v>
                </c:pt>
                <c:pt idx="895">
                  <c:v>0.89500000000000002</c:v>
                </c:pt>
                <c:pt idx="896">
                  <c:v>0.89600000000000002</c:v>
                </c:pt>
                <c:pt idx="897">
                  <c:v>0.89700000000000002</c:v>
                </c:pt>
                <c:pt idx="898">
                  <c:v>0.89800000000000002</c:v>
                </c:pt>
                <c:pt idx="899">
                  <c:v>0.89900000000000002</c:v>
                </c:pt>
                <c:pt idx="900">
                  <c:v>0.9</c:v>
                </c:pt>
                <c:pt idx="901">
                  <c:v>0.90100000000000002</c:v>
                </c:pt>
                <c:pt idx="902">
                  <c:v>0.90200000000000002</c:v>
                </c:pt>
                <c:pt idx="903">
                  <c:v>0.90300000000000002</c:v>
                </c:pt>
                <c:pt idx="904">
                  <c:v>0.90400000000000003</c:v>
                </c:pt>
                <c:pt idx="905">
                  <c:v>0.90500000000000003</c:v>
                </c:pt>
                <c:pt idx="906">
                  <c:v>0.90600000000000003</c:v>
                </c:pt>
                <c:pt idx="907">
                  <c:v>0.90700000000000003</c:v>
                </c:pt>
                <c:pt idx="908">
                  <c:v>0.90800000000000003</c:v>
                </c:pt>
                <c:pt idx="909">
                  <c:v>0.90900000000000003</c:v>
                </c:pt>
                <c:pt idx="910">
                  <c:v>0.91</c:v>
                </c:pt>
                <c:pt idx="911">
                  <c:v>0.91100000000000003</c:v>
                </c:pt>
                <c:pt idx="912">
                  <c:v>0.91200000000000003</c:v>
                </c:pt>
                <c:pt idx="913">
                  <c:v>0.91300000000000003</c:v>
                </c:pt>
                <c:pt idx="914">
                  <c:v>0.91400000000000003</c:v>
                </c:pt>
                <c:pt idx="915">
                  <c:v>0.91500000000000004</c:v>
                </c:pt>
                <c:pt idx="916">
                  <c:v>0.91600000000000004</c:v>
                </c:pt>
                <c:pt idx="917">
                  <c:v>0.91700000000000004</c:v>
                </c:pt>
                <c:pt idx="918">
                  <c:v>0.91800000000000004</c:v>
                </c:pt>
                <c:pt idx="919">
                  <c:v>0.91900000000000004</c:v>
                </c:pt>
                <c:pt idx="920">
                  <c:v>0.92</c:v>
                </c:pt>
                <c:pt idx="921">
                  <c:v>0.92100000000000004</c:v>
                </c:pt>
                <c:pt idx="922">
                  <c:v>0.92200000000000004</c:v>
                </c:pt>
                <c:pt idx="923">
                  <c:v>0.92300000000000004</c:v>
                </c:pt>
                <c:pt idx="924">
                  <c:v>0.92400000000000004</c:v>
                </c:pt>
                <c:pt idx="925">
                  <c:v>0.92500000000000004</c:v>
                </c:pt>
                <c:pt idx="926">
                  <c:v>0.92600000000000005</c:v>
                </c:pt>
                <c:pt idx="927">
                  <c:v>0.92700000000000005</c:v>
                </c:pt>
                <c:pt idx="928">
                  <c:v>0.92800000000000005</c:v>
                </c:pt>
                <c:pt idx="929">
                  <c:v>0.92900000000000005</c:v>
                </c:pt>
                <c:pt idx="930">
                  <c:v>0.93</c:v>
                </c:pt>
                <c:pt idx="931">
                  <c:v>0.93100000000000005</c:v>
                </c:pt>
                <c:pt idx="932">
                  <c:v>0.93200000000000005</c:v>
                </c:pt>
                <c:pt idx="933">
                  <c:v>0.93300000000000005</c:v>
                </c:pt>
                <c:pt idx="934">
                  <c:v>0.93400000000000005</c:v>
                </c:pt>
                <c:pt idx="935">
                  <c:v>0.93500000000000005</c:v>
                </c:pt>
                <c:pt idx="936">
                  <c:v>0.93600000000000005</c:v>
                </c:pt>
                <c:pt idx="937">
                  <c:v>0.93700000000000006</c:v>
                </c:pt>
                <c:pt idx="938">
                  <c:v>0.93799999999999994</c:v>
                </c:pt>
                <c:pt idx="939">
                  <c:v>0.93899999999999995</c:v>
                </c:pt>
                <c:pt idx="940">
                  <c:v>0.94</c:v>
                </c:pt>
                <c:pt idx="941">
                  <c:v>0.94099999999999995</c:v>
                </c:pt>
                <c:pt idx="942">
                  <c:v>0.94199999999999995</c:v>
                </c:pt>
                <c:pt idx="943">
                  <c:v>0.94299999999999995</c:v>
                </c:pt>
                <c:pt idx="944">
                  <c:v>0.94399999999999995</c:v>
                </c:pt>
                <c:pt idx="945">
                  <c:v>0.94499999999999995</c:v>
                </c:pt>
                <c:pt idx="946">
                  <c:v>0.94599999999999995</c:v>
                </c:pt>
                <c:pt idx="947">
                  <c:v>0.94699999999999995</c:v>
                </c:pt>
                <c:pt idx="948">
                  <c:v>0.94799999999999995</c:v>
                </c:pt>
                <c:pt idx="949">
                  <c:v>0.94899999999999995</c:v>
                </c:pt>
                <c:pt idx="950">
                  <c:v>0.95</c:v>
                </c:pt>
                <c:pt idx="951">
                  <c:v>0.95099999999999996</c:v>
                </c:pt>
                <c:pt idx="952">
                  <c:v>0.95199999999999996</c:v>
                </c:pt>
                <c:pt idx="953">
                  <c:v>0.95299999999999996</c:v>
                </c:pt>
                <c:pt idx="954">
                  <c:v>0.95399999999999996</c:v>
                </c:pt>
                <c:pt idx="955">
                  <c:v>0.95499999999999996</c:v>
                </c:pt>
                <c:pt idx="956">
                  <c:v>0.95599999999999996</c:v>
                </c:pt>
                <c:pt idx="957">
                  <c:v>0.95699999999999996</c:v>
                </c:pt>
                <c:pt idx="958">
                  <c:v>0.95799999999999996</c:v>
                </c:pt>
                <c:pt idx="959">
                  <c:v>0.95899999999999996</c:v>
                </c:pt>
                <c:pt idx="960">
                  <c:v>0.96</c:v>
                </c:pt>
                <c:pt idx="961">
                  <c:v>0.96099999999999997</c:v>
                </c:pt>
                <c:pt idx="962">
                  <c:v>0.96199999999999997</c:v>
                </c:pt>
                <c:pt idx="963">
                  <c:v>0.96299999999999997</c:v>
                </c:pt>
                <c:pt idx="964">
                  <c:v>0.96399999999999997</c:v>
                </c:pt>
                <c:pt idx="965">
                  <c:v>0.96499999999999997</c:v>
                </c:pt>
                <c:pt idx="966">
                  <c:v>0.96599999999999997</c:v>
                </c:pt>
                <c:pt idx="967">
                  <c:v>0.96699999999999997</c:v>
                </c:pt>
                <c:pt idx="968">
                  <c:v>0.96799999999999997</c:v>
                </c:pt>
                <c:pt idx="969">
                  <c:v>0.96899999999999997</c:v>
                </c:pt>
                <c:pt idx="970">
                  <c:v>0.97</c:v>
                </c:pt>
                <c:pt idx="971">
                  <c:v>0.97099999999999997</c:v>
                </c:pt>
                <c:pt idx="972">
                  <c:v>0.97199999999999998</c:v>
                </c:pt>
                <c:pt idx="973">
                  <c:v>0.97299999999999998</c:v>
                </c:pt>
                <c:pt idx="974">
                  <c:v>0.97399999999999998</c:v>
                </c:pt>
                <c:pt idx="975">
                  <c:v>0.97499999999999998</c:v>
                </c:pt>
                <c:pt idx="976">
                  <c:v>0.97599999999999998</c:v>
                </c:pt>
                <c:pt idx="977">
                  <c:v>0.97699999999999998</c:v>
                </c:pt>
                <c:pt idx="978">
                  <c:v>0.97799999999999998</c:v>
                </c:pt>
                <c:pt idx="979">
                  <c:v>0.97899999999999998</c:v>
                </c:pt>
                <c:pt idx="980">
                  <c:v>0.98</c:v>
                </c:pt>
                <c:pt idx="981">
                  <c:v>0.98099999999999998</c:v>
                </c:pt>
                <c:pt idx="982">
                  <c:v>0.98199999999999998</c:v>
                </c:pt>
                <c:pt idx="983">
                  <c:v>0.98299999999999998</c:v>
                </c:pt>
                <c:pt idx="984">
                  <c:v>0.98399999999999999</c:v>
                </c:pt>
                <c:pt idx="985">
                  <c:v>0.98499999999999999</c:v>
                </c:pt>
                <c:pt idx="986">
                  <c:v>0.98599999999999999</c:v>
                </c:pt>
                <c:pt idx="987">
                  <c:v>0.98699999999999999</c:v>
                </c:pt>
                <c:pt idx="988">
                  <c:v>0.98799999999999999</c:v>
                </c:pt>
                <c:pt idx="989">
                  <c:v>0.98899999999999999</c:v>
                </c:pt>
                <c:pt idx="990">
                  <c:v>0.99</c:v>
                </c:pt>
                <c:pt idx="991">
                  <c:v>0.99099999999999999</c:v>
                </c:pt>
                <c:pt idx="992">
                  <c:v>0.99199999999999999</c:v>
                </c:pt>
                <c:pt idx="993">
                  <c:v>0.99299999999999999</c:v>
                </c:pt>
                <c:pt idx="994">
                  <c:v>0.99399999999999999</c:v>
                </c:pt>
                <c:pt idx="995">
                  <c:v>0.995</c:v>
                </c:pt>
                <c:pt idx="996">
                  <c:v>0.996</c:v>
                </c:pt>
                <c:pt idx="997">
                  <c:v>0.997</c:v>
                </c:pt>
                <c:pt idx="998">
                  <c:v>0.998</c:v>
                </c:pt>
                <c:pt idx="999">
                  <c:v>0.999</c:v>
                </c:pt>
                <c:pt idx="1000">
                  <c:v>1</c:v>
                </c:pt>
                <c:pt idx="1001">
                  <c:v>1.0009999999999999</c:v>
                </c:pt>
                <c:pt idx="1002">
                  <c:v>1.002</c:v>
                </c:pt>
                <c:pt idx="1003">
                  <c:v>1.0029999999999999</c:v>
                </c:pt>
                <c:pt idx="1004">
                  <c:v>1.004</c:v>
                </c:pt>
                <c:pt idx="1005">
                  <c:v>1.0049999999999999</c:v>
                </c:pt>
                <c:pt idx="1006">
                  <c:v>1.006</c:v>
                </c:pt>
                <c:pt idx="1007">
                  <c:v>1.0069999999999999</c:v>
                </c:pt>
                <c:pt idx="1008">
                  <c:v>1.008</c:v>
                </c:pt>
                <c:pt idx="1009">
                  <c:v>1.0089999999999999</c:v>
                </c:pt>
                <c:pt idx="1010">
                  <c:v>1.01</c:v>
                </c:pt>
                <c:pt idx="1011">
                  <c:v>1.0109999999999999</c:v>
                </c:pt>
                <c:pt idx="1012">
                  <c:v>1.012</c:v>
                </c:pt>
                <c:pt idx="1013">
                  <c:v>1.0129999999999999</c:v>
                </c:pt>
                <c:pt idx="1014">
                  <c:v>1.014</c:v>
                </c:pt>
                <c:pt idx="1015">
                  <c:v>1.0149999999999999</c:v>
                </c:pt>
                <c:pt idx="1016">
                  <c:v>1.016</c:v>
                </c:pt>
                <c:pt idx="1017">
                  <c:v>1.0169999999999999</c:v>
                </c:pt>
                <c:pt idx="1018">
                  <c:v>1.018</c:v>
                </c:pt>
                <c:pt idx="1019">
                  <c:v>1.0189999999999999</c:v>
                </c:pt>
                <c:pt idx="1020">
                  <c:v>1.02</c:v>
                </c:pt>
                <c:pt idx="1021">
                  <c:v>1.0209999999999999</c:v>
                </c:pt>
                <c:pt idx="1022">
                  <c:v>1.022</c:v>
                </c:pt>
                <c:pt idx="1023">
                  <c:v>1.0229999999999999</c:v>
                </c:pt>
                <c:pt idx="1024">
                  <c:v>1.024</c:v>
                </c:pt>
                <c:pt idx="1025">
                  <c:v>1.0249999999999999</c:v>
                </c:pt>
                <c:pt idx="1026">
                  <c:v>1.026</c:v>
                </c:pt>
                <c:pt idx="1027">
                  <c:v>1.0269999999999999</c:v>
                </c:pt>
                <c:pt idx="1028">
                  <c:v>1.028</c:v>
                </c:pt>
                <c:pt idx="1029">
                  <c:v>1.0289999999999999</c:v>
                </c:pt>
                <c:pt idx="1030">
                  <c:v>1.03</c:v>
                </c:pt>
                <c:pt idx="1031">
                  <c:v>1.0309999999999999</c:v>
                </c:pt>
                <c:pt idx="1032">
                  <c:v>1.032</c:v>
                </c:pt>
                <c:pt idx="1033">
                  <c:v>1.0329999999999999</c:v>
                </c:pt>
                <c:pt idx="1034">
                  <c:v>1.034</c:v>
                </c:pt>
                <c:pt idx="1035">
                  <c:v>1.0349999999999999</c:v>
                </c:pt>
                <c:pt idx="1036">
                  <c:v>1.036</c:v>
                </c:pt>
                <c:pt idx="1037">
                  <c:v>1.0369999999999999</c:v>
                </c:pt>
                <c:pt idx="1038">
                  <c:v>1.038</c:v>
                </c:pt>
                <c:pt idx="1039">
                  <c:v>1.0389999999999999</c:v>
                </c:pt>
                <c:pt idx="1040">
                  <c:v>1.04</c:v>
                </c:pt>
                <c:pt idx="1041">
                  <c:v>1.0409999999999999</c:v>
                </c:pt>
                <c:pt idx="1042">
                  <c:v>1.042</c:v>
                </c:pt>
                <c:pt idx="1043">
                  <c:v>1.0429999999999999</c:v>
                </c:pt>
                <c:pt idx="1044">
                  <c:v>1.044</c:v>
                </c:pt>
                <c:pt idx="1045">
                  <c:v>1.0449999999999999</c:v>
                </c:pt>
                <c:pt idx="1046">
                  <c:v>1.046</c:v>
                </c:pt>
                <c:pt idx="1047">
                  <c:v>1.0469999999999999</c:v>
                </c:pt>
                <c:pt idx="1048">
                  <c:v>1.048</c:v>
                </c:pt>
                <c:pt idx="1049">
                  <c:v>1.0489999999999999</c:v>
                </c:pt>
                <c:pt idx="1050">
                  <c:v>1.05</c:v>
                </c:pt>
                <c:pt idx="1051">
                  <c:v>1.0509999999999999</c:v>
                </c:pt>
                <c:pt idx="1052">
                  <c:v>1.052</c:v>
                </c:pt>
                <c:pt idx="1053">
                  <c:v>1.0529999999999999</c:v>
                </c:pt>
                <c:pt idx="1054">
                  <c:v>1.054</c:v>
                </c:pt>
                <c:pt idx="1055">
                  <c:v>1.0549999999999999</c:v>
                </c:pt>
                <c:pt idx="1056">
                  <c:v>1.056</c:v>
                </c:pt>
                <c:pt idx="1057">
                  <c:v>1.0569999999999999</c:v>
                </c:pt>
                <c:pt idx="1058">
                  <c:v>1.0580000000000001</c:v>
                </c:pt>
                <c:pt idx="1059">
                  <c:v>1.0589999999999999</c:v>
                </c:pt>
                <c:pt idx="1060">
                  <c:v>1.06</c:v>
                </c:pt>
                <c:pt idx="1061">
                  <c:v>1.0609999999999999</c:v>
                </c:pt>
                <c:pt idx="1062">
                  <c:v>1.0620000000000001</c:v>
                </c:pt>
                <c:pt idx="1063">
                  <c:v>1.0629999999999999</c:v>
                </c:pt>
                <c:pt idx="1064">
                  <c:v>1.0640000000000001</c:v>
                </c:pt>
                <c:pt idx="1065">
                  <c:v>1.0649999999999999</c:v>
                </c:pt>
                <c:pt idx="1066">
                  <c:v>1.0660000000000001</c:v>
                </c:pt>
                <c:pt idx="1067">
                  <c:v>1.0669999999999999</c:v>
                </c:pt>
                <c:pt idx="1068">
                  <c:v>1.0680000000000001</c:v>
                </c:pt>
                <c:pt idx="1069">
                  <c:v>1.069</c:v>
                </c:pt>
                <c:pt idx="1070">
                  <c:v>1.07</c:v>
                </c:pt>
                <c:pt idx="1071">
                  <c:v>1.071</c:v>
                </c:pt>
                <c:pt idx="1072">
                  <c:v>1.0720000000000001</c:v>
                </c:pt>
                <c:pt idx="1073">
                  <c:v>1.073</c:v>
                </c:pt>
                <c:pt idx="1074">
                  <c:v>1.0740000000000001</c:v>
                </c:pt>
                <c:pt idx="1075">
                  <c:v>1.075</c:v>
                </c:pt>
                <c:pt idx="1076">
                  <c:v>1.0760000000000001</c:v>
                </c:pt>
                <c:pt idx="1077">
                  <c:v>1.077</c:v>
                </c:pt>
                <c:pt idx="1078">
                  <c:v>1.0780000000000001</c:v>
                </c:pt>
                <c:pt idx="1079">
                  <c:v>1.079</c:v>
                </c:pt>
                <c:pt idx="1080">
                  <c:v>1.08</c:v>
                </c:pt>
                <c:pt idx="1081">
                  <c:v>1.081</c:v>
                </c:pt>
                <c:pt idx="1082">
                  <c:v>1.0820000000000001</c:v>
                </c:pt>
                <c:pt idx="1083">
                  <c:v>1.083</c:v>
                </c:pt>
                <c:pt idx="1084">
                  <c:v>1.0840000000000001</c:v>
                </c:pt>
                <c:pt idx="1085">
                  <c:v>1.085</c:v>
                </c:pt>
                <c:pt idx="1086">
                  <c:v>1.0860000000000001</c:v>
                </c:pt>
                <c:pt idx="1087">
                  <c:v>1.087</c:v>
                </c:pt>
                <c:pt idx="1088">
                  <c:v>1.0880000000000001</c:v>
                </c:pt>
                <c:pt idx="1089">
                  <c:v>1.089</c:v>
                </c:pt>
                <c:pt idx="1090">
                  <c:v>1.0900000000000001</c:v>
                </c:pt>
                <c:pt idx="1091">
                  <c:v>1.091</c:v>
                </c:pt>
                <c:pt idx="1092">
                  <c:v>1.0920000000000001</c:v>
                </c:pt>
                <c:pt idx="1093">
                  <c:v>1.093</c:v>
                </c:pt>
                <c:pt idx="1094">
                  <c:v>1.0940000000000001</c:v>
                </c:pt>
                <c:pt idx="1095">
                  <c:v>1.095</c:v>
                </c:pt>
                <c:pt idx="1096">
                  <c:v>1.0960000000000001</c:v>
                </c:pt>
                <c:pt idx="1097">
                  <c:v>1.097</c:v>
                </c:pt>
                <c:pt idx="1098">
                  <c:v>1.0980000000000001</c:v>
                </c:pt>
                <c:pt idx="1099">
                  <c:v>1.099</c:v>
                </c:pt>
                <c:pt idx="1100">
                  <c:v>1.1000000000000001</c:v>
                </c:pt>
                <c:pt idx="1101">
                  <c:v>1.101</c:v>
                </c:pt>
                <c:pt idx="1102">
                  <c:v>1.1020000000000001</c:v>
                </c:pt>
                <c:pt idx="1103">
                  <c:v>1.103</c:v>
                </c:pt>
                <c:pt idx="1104">
                  <c:v>1.1040000000000001</c:v>
                </c:pt>
                <c:pt idx="1105">
                  <c:v>1.105</c:v>
                </c:pt>
                <c:pt idx="1106">
                  <c:v>1.1060000000000001</c:v>
                </c:pt>
                <c:pt idx="1107">
                  <c:v>1.107</c:v>
                </c:pt>
                <c:pt idx="1108">
                  <c:v>1.1080000000000001</c:v>
                </c:pt>
                <c:pt idx="1109">
                  <c:v>1.109</c:v>
                </c:pt>
                <c:pt idx="1110">
                  <c:v>1.1100000000000001</c:v>
                </c:pt>
                <c:pt idx="1111">
                  <c:v>1.111</c:v>
                </c:pt>
                <c:pt idx="1112">
                  <c:v>1.1120000000000001</c:v>
                </c:pt>
                <c:pt idx="1113">
                  <c:v>1.113</c:v>
                </c:pt>
                <c:pt idx="1114">
                  <c:v>1.1140000000000001</c:v>
                </c:pt>
                <c:pt idx="1115">
                  <c:v>1.115</c:v>
                </c:pt>
                <c:pt idx="1116">
                  <c:v>1.1160000000000001</c:v>
                </c:pt>
                <c:pt idx="1117">
                  <c:v>1.117</c:v>
                </c:pt>
                <c:pt idx="1118">
                  <c:v>1.1180000000000001</c:v>
                </c:pt>
                <c:pt idx="1119">
                  <c:v>1.119</c:v>
                </c:pt>
                <c:pt idx="1120">
                  <c:v>1.1200000000000001</c:v>
                </c:pt>
                <c:pt idx="1121">
                  <c:v>1.121</c:v>
                </c:pt>
                <c:pt idx="1122">
                  <c:v>1.1220000000000001</c:v>
                </c:pt>
                <c:pt idx="1123">
                  <c:v>1.123</c:v>
                </c:pt>
                <c:pt idx="1124">
                  <c:v>1.1240000000000001</c:v>
                </c:pt>
                <c:pt idx="1125">
                  <c:v>1.125</c:v>
                </c:pt>
                <c:pt idx="1126">
                  <c:v>1.1259999999999999</c:v>
                </c:pt>
                <c:pt idx="1127">
                  <c:v>1.127</c:v>
                </c:pt>
                <c:pt idx="1128">
                  <c:v>1.1279999999999999</c:v>
                </c:pt>
                <c:pt idx="1129">
                  <c:v>1.129</c:v>
                </c:pt>
                <c:pt idx="1130">
                  <c:v>1.1299999999999999</c:v>
                </c:pt>
                <c:pt idx="1131">
                  <c:v>1.131</c:v>
                </c:pt>
                <c:pt idx="1132">
                  <c:v>1.1319999999999999</c:v>
                </c:pt>
                <c:pt idx="1133">
                  <c:v>1.133</c:v>
                </c:pt>
                <c:pt idx="1134">
                  <c:v>1.1339999999999999</c:v>
                </c:pt>
                <c:pt idx="1135">
                  <c:v>1.135</c:v>
                </c:pt>
                <c:pt idx="1136">
                  <c:v>1.1359999999999999</c:v>
                </c:pt>
                <c:pt idx="1137">
                  <c:v>1.137</c:v>
                </c:pt>
                <c:pt idx="1138">
                  <c:v>1.1379999999999999</c:v>
                </c:pt>
                <c:pt idx="1139">
                  <c:v>1.139</c:v>
                </c:pt>
                <c:pt idx="1140">
                  <c:v>1.1399999999999999</c:v>
                </c:pt>
                <c:pt idx="1141">
                  <c:v>1.141</c:v>
                </c:pt>
                <c:pt idx="1142">
                  <c:v>1.1419999999999999</c:v>
                </c:pt>
                <c:pt idx="1143">
                  <c:v>1.143</c:v>
                </c:pt>
                <c:pt idx="1144">
                  <c:v>1.1439999999999999</c:v>
                </c:pt>
                <c:pt idx="1145">
                  <c:v>1.145</c:v>
                </c:pt>
                <c:pt idx="1146">
                  <c:v>1.1459999999999999</c:v>
                </c:pt>
                <c:pt idx="1147">
                  <c:v>1.147</c:v>
                </c:pt>
                <c:pt idx="1148">
                  <c:v>1.1479999999999999</c:v>
                </c:pt>
                <c:pt idx="1149">
                  <c:v>1.149</c:v>
                </c:pt>
                <c:pt idx="1150">
                  <c:v>1.1499999999999999</c:v>
                </c:pt>
                <c:pt idx="1151">
                  <c:v>1.151</c:v>
                </c:pt>
                <c:pt idx="1152">
                  <c:v>1.1519999999999999</c:v>
                </c:pt>
                <c:pt idx="1153">
                  <c:v>1.153</c:v>
                </c:pt>
                <c:pt idx="1154">
                  <c:v>1.1539999999999999</c:v>
                </c:pt>
                <c:pt idx="1155">
                  <c:v>1.155</c:v>
                </c:pt>
                <c:pt idx="1156">
                  <c:v>1.1559999999999999</c:v>
                </c:pt>
                <c:pt idx="1157">
                  <c:v>1.157</c:v>
                </c:pt>
                <c:pt idx="1158">
                  <c:v>1.1579999999999999</c:v>
                </c:pt>
                <c:pt idx="1159">
                  <c:v>1.159</c:v>
                </c:pt>
                <c:pt idx="1160">
                  <c:v>1.1599999999999999</c:v>
                </c:pt>
                <c:pt idx="1161">
                  <c:v>1.161</c:v>
                </c:pt>
                <c:pt idx="1162">
                  <c:v>1.1619999999999999</c:v>
                </c:pt>
                <c:pt idx="1163">
                  <c:v>1.163</c:v>
                </c:pt>
                <c:pt idx="1164">
                  <c:v>1.1639999999999999</c:v>
                </c:pt>
                <c:pt idx="1165">
                  <c:v>1.165</c:v>
                </c:pt>
                <c:pt idx="1166">
                  <c:v>1.1659999999999999</c:v>
                </c:pt>
                <c:pt idx="1167">
                  <c:v>1.167</c:v>
                </c:pt>
                <c:pt idx="1168">
                  <c:v>1.1679999999999999</c:v>
                </c:pt>
                <c:pt idx="1169">
                  <c:v>1.169</c:v>
                </c:pt>
                <c:pt idx="1170">
                  <c:v>1.17</c:v>
                </c:pt>
                <c:pt idx="1171">
                  <c:v>1.171</c:v>
                </c:pt>
                <c:pt idx="1172">
                  <c:v>1.1719999999999999</c:v>
                </c:pt>
                <c:pt idx="1173">
                  <c:v>1.173</c:v>
                </c:pt>
                <c:pt idx="1174">
                  <c:v>1.1739999999999999</c:v>
                </c:pt>
                <c:pt idx="1175">
                  <c:v>1.175</c:v>
                </c:pt>
                <c:pt idx="1176">
                  <c:v>1.1759999999999999</c:v>
                </c:pt>
                <c:pt idx="1177">
                  <c:v>1.177</c:v>
                </c:pt>
                <c:pt idx="1178">
                  <c:v>1.1779999999999999</c:v>
                </c:pt>
                <c:pt idx="1179">
                  <c:v>1.179</c:v>
                </c:pt>
                <c:pt idx="1180">
                  <c:v>1.18</c:v>
                </c:pt>
                <c:pt idx="1181">
                  <c:v>1.181</c:v>
                </c:pt>
                <c:pt idx="1182">
                  <c:v>1.1819999999999999</c:v>
                </c:pt>
                <c:pt idx="1183">
                  <c:v>1.1830000000000001</c:v>
                </c:pt>
                <c:pt idx="1184">
                  <c:v>1.1839999999999999</c:v>
                </c:pt>
                <c:pt idx="1185">
                  <c:v>1.1850000000000001</c:v>
                </c:pt>
                <c:pt idx="1186">
                  <c:v>1.1859999999999999</c:v>
                </c:pt>
                <c:pt idx="1187">
                  <c:v>1.1870000000000001</c:v>
                </c:pt>
                <c:pt idx="1188">
                  <c:v>1.1879999999999999</c:v>
                </c:pt>
                <c:pt idx="1189">
                  <c:v>1.1890000000000001</c:v>
                </c:pt>
                <c:pt idx="1190">
                  <c:v>1.19</c:v>
                </c:pt>
                <c:pt idx="1191">
                  <c:v>1.1910000000000001</c:v>
                </c:pt>
                <c:pt idx="1192">
                  <c:v>1.1919999999999999</c:v>
                </c:pt>
                <c:pt idx="1193">
                  <c:v>1.1930000000000001</c:v>
                </c:pt>
                <c:pt idx="1194">
                  <c:v>1.194</c:v>
                </c:pt>
                <c:pt idx="1195">
                  <c:v>1.1950000000000001</c:v>
                </c:pt>
                <c:pt idx="1196">
                  <c:v>1.196</c:v>
                </c:pt>
                <c:pt idx="1197">
                  <c:v>1.1970000000000001</c:v>
                </c:pt>
                <c:pt idx="1198">
                  <c:v>1.198</c:v>
                </c:pt>
                <c:pt idx="1199">
                  <c:v>1.1990000000000001</c:v>
                </c:pt>
                <c:pt idx="1200">
                  <c:v>1.2</c:v>
                </c:pt>
                <c:pt idx="1201">
                  <c:v>1.2010000000000001</c:v>
                </c:pt>
                <c:pt idx="1202">
                  <c:v>1.202</c:v>
                </c:pt>
                <c:pt idx="1203">
                  <c:v>1.2030000000000001</c:v>
                </c:pt>
                <c:pt idx="1204">
                  <c:v>1.204</c:v>
                </c:pt>
                <c:pt idx="1205">
                  <c:v>1.2050000000000001</c:v>
                </c:pt>
                <c:pt idx="1206">
                  <c:v>1.206</c:v>
                </c:pt>
                <c:pt idx="1207">
                  <c:v>1.2070000000000001</c:v>
                </c:pt>
                <c:pt idx="1208">
                  <c:v>1.208</c:v>
                </c:pt>
                <c:pt idx="1209">
                  <c:v>1.2090000000000001</c:v>
                </c:pt>
                <c:pt idx="1210">
                  <c:v>1.21</c:v>
                </c:pt>
                <c:pt idx="1211">
                  <c:v>1.2110000000000001</c:v>
                </c:pt>
                <c:pt idx="1212">
                  <c:v>1.212</c:v>
                </c:pt>
                <c:pt idx="1213">
                  <c:v>1.2130000000000001</c:v>
                </c:pt>
                <c:pt idx="1214">
                  <c:v>1.214</c:v>
                </c:pt>
                <c:pt idx="1215">
                  <c:v>1.2150000000000001</c:v>
                </c:pt>
                <c:pt idx="1216">
                  <c:v>1.216</c:v>
                </c:pt>
                <c:pt idx="1217">
                  <c:v>1.2170000000000001</c:v>
                </c:pt>
                <c:pt idx="1218">
                  <c:v>1.218</c:v>
                </c:pt>
                <c:pt idx="1219">
                  <c:v>1.2190000000000001</c:v>
                </c:pt>
                <c:pt idx="1220">
                  <c:v>1.22</c:v>
                </c:pt>
                <c:pt idx="1221">
                  <c:v>1.2210000000000001</c:v>
                </c:pt>
                <c:pt idx="1222">
                  <c:v>1.222</c:v>
                </c:pt>
                <c:pt idx="1223">
                  <c:v>1.2230000000000001</c:v>
                </c:pt>
                <c:pt idx="1224">
                  <c:v>1.224</c:v>
                </c:pt>
                <c:pt idx="1225">
                  <c:v>1.2250000000000001</c:v>
                </c:pt>
                <c:pt idx="1226">
                  <c:v>1.226</c:v>
                </c:pt>
                <c:pt idx="1227">
                  <c:v>1.2270000000000001</c:v>
                </c:pt>
                <c:pt idx="1228">
                  <c:v>1.228</c:v>
                </c:pt>
                <c:pt idx="1229">
                  <c:v>1.2290000000000001</c:v>
                </c:pt>
                <c:pt idx="1230">
                  <c:v>1.23</c:v>
                </c:pt>
                <c:pt idx="1231">
                  <c:v>1.2310000000000001</c:v>
                </c:pt>
                <c:pt idx="1232">
                  <c:v>1.232</c:v>
                </c:pt>
                <c:pt idx="1233">
                  <c:v>1.2330000000000001</c:v>
                </c:pt>
                <c:pt idx="1234">
                  <c:v>1.234</c:v>
                </c:pt>
                <c:pt idx="1235">
                  <c:v>1.2350000000000001</c:v>
                </c:pt>
                <c:pt idx="1236">
                  <c:v>1.236</c:v>
                </c:pt>
                <c:pt idx="1237">
                  <c:v>1.2370000000000001</c:v>
                </c:pt>
                <c:pt idx="1238">
                  <c:v>1.238</c:v>
                </c:pt>
                <c:pt idx="1239">
                  <c:v>1.2390000000000001</c:v>
                </c:pt>
                <c:pt idx="1240">
                  <c:v>1.24</c:v>
                </c:pt>
                <c:pt idx="1241">
                  <c:v>1.2410000000000001</c:v>
                </c:pt>
                <c:pt idx="1242">
                  <c:v>1.242</c:v>
                </c:pt>
                <c:pt idx="1243">
                  <c:v>1.2430000000000001</c:v>
                </c:pt>
                <c:pt idx="1244">
                  <c:v>1.244</c:v>
                </c:pt>
                <c:pt idx="1245">
                  <c:v>1.2450000000000001</c:v>
                </c:pt>
                <c:pt idx="1246">
                  <c:v>1.246</c:v>
                </c:pt>
                <c:pt idx="1247">
                  <c:v>1.2470000000000001</c:v>
                </c:pt>
                <c:pt idx="1248">
                  <c:v>1.248</c:v>
                </c:pt>
                <c:pt idx="1249">
                  <c:v>1.2490000000000001</c:v>
                </c:pt>
                <c:pt idx="1250">
                  <c:v>1.25</c:v>
                </c:pt>
                <c:pt idx="1251">
                  <c:v>1.2509999999999999</c:v>
                </c:pt>
                <c:pt idx="1252">
                  <c:v>1.252</c:v>
                </c:pt>
                <c:pt idx="1253">
                  <c:v>1.2529999999999999</c:v>
                </c:pt>
                <c:pt idx="1254">
                  <c:v>1.254</c:v>
                </c:pt>
                <c:pt idx="1255">
                  <c:v>1.2549999999999999</c:v>
                </c:pt>
                <c:pt idx="1256">
                  <c:v>1.256</c:v>
                </c:pt>
                <c:pt idx="1257">
                  <c:v>1.2569999999999999</c:v>
                </c:pt>
                <c:pt idx="1258">
                  <c:v>1.258</c:v>
                </c:pt>
                <c:pt idx="1259">
                  <c:v>1.2589999999999999</c:v>
                </c:pt>
                <c:pt idx="1260">
                  <c:v>1.26</c:v>
                </c:pt>
                <c:pt idx="1261">
                  <c:v>1.2609999999999999</c:v>
                </c:pt>
                <c:pt idx="1262">
                  <c:v>1.262</c:v>
                </c:pt>
                <c:pt idx="1263">
                  <c:v>1.2629999999999999</c:v>
                </c:pt>
                <c:pt idx="1264">
                  <c:v>1.264</c:v>
                </c:pt>
                <c:pt idx="1265">
                  <c:v>1.2649999999999999</c:v>
                </c:pt>
                <c:pt idx="1266">
                  <c:v>1.266</c:v>
                </c:pt>
                <c:pt idx="1267">
                  <c:v>1.2669999999999999</c:v>
                </c:pt>
                <c:pt idx="1268">
                  <c:v>1.268</c:v>
                </c:pt>
                <c:pt idx="1269">
                  <c:v>1.2689999999999999</c:v>
                </c:pt>
                <c:pt idx="1270">
                  <c:v>1.27</c:v>
                </c:pt>
                <c:pt idx="1271">
                  <c:v>1.2709999999999999</c:v>
                </c:pt>
                <c:pt idx="1272">
                  <c:v>1.272</c:v>
                </c:pt>
                <c:pt idx="1273">
                  <c:v>1.2729999999999999</c:v>
                </c:pt>
                <c:pt idx="1274">
                  <c:v>1.274</c:v>
                </c:pt>
                <c:pt idx="1275">
                  <c:v>1.2749999999999999</c:v>
                </c:pt>
                <c:pt idx="1276">
                  <c:v>1.276</c:v>
                </c:pt>
                <c:pt idx="1277">
                  <c:v>1.2769999999999999</c:v>
                </c:pt>
                <c:pt idx="1278">
                  <c:v>1.278</c:v>
                </c:pt>
                <c:pt idx="1279">
                  <c:v>1.2789999999999999</c:v>
                </c:pt>
                <c:pt idx="1280">
                  <c:v>1.28</c:v>
                </c:pt>
                <c:pt idx="1281">
                  <c:v>1.2809999999999999</c:v>
                </c:pt>
                <c:pt idx="1282">
                  <c:v>1.282</c:v>
                </c:pt>
                <c:pt idx="1283">
                  <c:v>1.2829999999999999</c:v>
                </c:pt>
                <c:pt idx="1284">
                  <c:v>1.284</c:v>
                </c:pt>
                <c:pt idx="1285">
                  <c:v>1.2849999999999999</c:v>
                </c:pt>
                <c:pt idx="1286">
                  <c:v>1.286</c:v>
                </c:pt>
                <c:pt idx="1287">
                  <c:v>1.2869999999999999</c:v>
                </c:pt>
                <c:pt idx="1288">
                  <c:v>1.288</c:v>
                </c:pt>
                <c:pt idx="1289">
                  <c:v>1.2889999999999999</c:v>
                </c:pt>
                <c:pt idx="1290">
                  <c:v>1.29</c:v>
                </c:pt>
                <c:pt idx="1291">
                  <c:v>1.2909999999999999</c:v>
                </c:pt>
                <c:pt idx="1292">
                  <c:v>1.292</c:v>
                </c:pt>
                <c:pt idx="1293">
                  <c:v>1.2929999999999999</c:v>
                </c:pt>
                <c:pt idx="1294">
                  <c:v>1.294</c:v>
                </c:pt>
                <c:pt idx="1295">
                  <c:v>1.2949999999999999</c:v>
                </c:pt>
                <c:pt idx="1296">
                  <c:v>1.296</c:v>
                </c:pt>
                <c:pt idx="1297">
                  <c:v>1.2969999999999999</c:v>
                </c:pt>
                <c:pt idx="1298">
                  <c:v>1.298</c:v>
                </c:pt>
                <c:pt idx="1299">
                  <c:v>1.2989999999999999</c:v>
                </c:pt>
                <c:pt idx="1300">
                  <c:v>1.3</c:v>
                </c:pt>
                <c:pt idx="1301">
                  <c:v>1.3009999999999999</c:v>
                </c:pt>
                <c:pt idx="1302">
                  <c:v>1.302</c:v>
                </c:pt>
                <c:pt idx="1303">
                  <c:v>1.3029999999999999</c:v>
                </c:pt>
                <c:pt idx="1304">
                  <c:v>1.304</c:v>
                </c:pt>
                <c:pt idx="1305">
                  <c:v>1.3049999999999999</c:v>
                </c:pt>
                <c:pt idx="1306">
                  <c:v>1.306</c:v>
                </c:pt>
                <c:pt idx="1307">
                  <c:v>1.3069999999999999</c:v>
                </c:pt>
                <c:pt idx="1308">
                  <c:v>1.3080000000000001</c:v>
                </c:pt>
                <c:pt idx="1309">
                  <c:v>1.3089999999999999</c:v>
                </c:pt>
                <c:pt idx="1310">
                  <c:v>1.31</c:v>
                </c:pt>
                <c:pt idx="1311">
                  <c:v>1.3109999999999999</c:v>
                </c:pt>
                <c:pt idx="1312">
                  <c:v>1.3120000000000001</c:v>
                </c:pt>
                <c:pt idx="1313">
                  <c:v>1.3129999999999999</c:v>
                </c:pt>
                <c:pt idx="1314">
                  <c:v>1.3140000000000001</c:v>
                </c:pt>
                <c:pt idx="1315">
                  <c:v>1.3149999999999999</c:v>
                </c:pt>
                <c:pt idx="1316">
                  <c:v>1.3160000000000001</c:v>
                </c:pt>
                <c:pt idx="1317">
                  <c:v>1.3169999999999999</c:v>
                </c:pt>
                <c:pt idx="1318">
                  <c:v>1.3180000000000001</c:v>
                </c:pt>
                <c:pt idx="1319">
                  <c:v>1.319</c:v>
                </c:pt>
                <c:pt idx="1320">
                  <c:v>1.32</c:v>
                </c:pt>
                <c:pt idx="1321">
                  <c:v>1.321</c:v>
                </c:pt>
                <c:pt idx="1322">
                  <c:v>1.3220000000000001</c:v>
                </c:pt>
                <c:pt idx="1323">
                  <c:v>1.323</c:v>
                </c:pt>
                <c:pt idx="1324">
                  <c:v>1.3240000000000001</c:v>
                </c:pt>
                <c:pt idx="1325">
                  <c:v>1.325</c:v>
                </c:pt>
                <c:pt idx="1326">
                  <c:v>1.3260000000000001</c:v>
                </c:pt>
                <c:pt idx="1327">
                  <c:v>1.327</c:v>
                </c:pt>
                <c:pt idx="1328">
                  <c:v>1.3280000000000001</c:v>
                </c:pt>
                <c:pt idx="1329">
                  <c:v>1.329</c:v>
                </c:pt>
                <c:pt idx="1330">
                  <c:v>1.33</c:v>
                </c:pt>
                <c:pt idx="1331">
                  <c:v>1.331</c:v>
                </c:pt>
                <c:pt idx="1332">
                  <c:v>1.3320000000000001</c:v>
                </c:pt>
                <c:pt idx="1333">
                  <c:v>1.333</c:v>
                </c:pt>
                <c:pt idx="1334">
                  <c:v>1.3340000000000001</c:v>
                </c:pt>
                <c:pt idx="1335">
                  <c:v>1.335</c:v>
                </c:pt>
                <c:pt idx="1336">
                  <c:v>1.3360000000000001</c:v>
                </c:pt>
                <c:pt idx="1337">
                  <c:v>1.337</c:v>
                </c:pt>
                <c:pt idx="1338">
                  <c:v>1.3380000000000001</c:v>
                </c:pt>
                <c:pt idx="1339">
                  <c:v>1.339</c:v>
                </c:pt>
                <c:pt idx="1340">
                  <c:v>1.34</c:v>
                </c:pt>
                <c:pt idx="1341">
                  <c:v>1.341</c:v>
                </c:pt>
                <c:pt idx="1342">
                  <c:v>1.3420000000000001</c:v>
                </c:pt>
                <c:pt idx="1343">
                  <c:v>1.343</c:v>
                </c:pt>
                <c:pt idx="1344">
                  <c:v>1.3440000000000001</c:v>
                </c:pt>
                <c:pt idx="1345">
                  <c:v>1.345</c:v>
                </c:pt>
                <c:pt idx="1346">
                  <c:v>1.3460000000000001</c:v>
                </c:pt>
                <c:pt idx="1347">
                  <c:v>1.347</c:v>
                </c:pt>
                <c:pt idx="1348">
                  <c:v>1.3480000000000001</c:v>
                </c:pt>
                <c:pt idx="1349">
                  <c:v>1.349</c:v>
                </c:pt>
                <c:pt idx="1350">
                  <c:v>1.35</c:v>
                </c:pt>
                <c:pt idx="1351">
                  <c:v>1.351</c:v>
                </c:pt>
                <c:pt idx="1352">
                  <c:v>1.3520000000000001</c:v>
                </c:pt>
                <c:pt idx="1353">
                  <c:v>1.353</c:v>
                </c:pt>
                <c:pt idx="1354">
                  <c:v>1.3540000000000001</c:v>
                </c:pt>
                <c:pt idx="1355">
                  <c:v>1.355</c:v>
                </c:pt>
                <c:pt idx="1356">
                  <c:v>1.3560000000000001</c:v>
                </c:pt>
                <c:pt idx="1357">
                  <c:v>1.357</c:v>
                </c:pt>
                <c:pt idx="1358">
                  <c:v>1.3580000000000001</c:v>
                </c:pt>
                <c:pt idx="1359">
                  <c:v>1.359</c:v>
                </c:pt>
                <c:pt idx="1360">
                  <c:v>1.36</c:v>
                </c:pt>
                <c:pt idx="1361">
                  <c:v>1.361</c:v>
                </c:pt>
                <c:pt idx="1362">
                  <c:v>1.3620000000000001</c:v>
                </c:pt>
                <c:pt idx="1363">
                  <c:v>1.363</c:v>
                </c:pt>
                <c:pt idx="1364">
                  <c:v>1.3640000000000001</c:v>
                </c:pt>
                <c:pt idx="1365">
                  <c:v>1.365</c:v>
                </c:pt>
                <c:pt idx="1366">
                  <c:v>1.3660000000000001</c:v>
                </c:pt>
                <c:pt idx="1367">
                  <c:v>1.367</c:v>
                </c:pt>
                <c:pt idx="1368">
                  <c:v>1.3680000000000001</c:v>
                </c:pt>
                <c:pt idx="1369">
                  <c:v>1.369</c:v>
                </c:pt>
                <c:pt idx="1370">
                  <c:v>1.37</c:v>
                </c:pt>
                <c:pt idx="1371">
                  <c:v>1.371</c:v>
                </c:pt>
                <c:pt idx="1372">
                  <c:v>1.3720000000000001</c:v>
                </c:pt>
                <c:pt idx="1373">
                  <c:v>1.373</c:v>
                </c:pt>
                <c:pt idx="1374">
                  <c:v>1.3740000000000001</c:v>
                </c:pt>
                <c:pt idx="1375">
                  <c:v>1.375</c:v>
                </c:pt>
                <c:pt idx="1376">
                  <c:v>1.3759999999999999</c:v>
                </c:pt>
                <c:pt idx="1377">
                  <c:v>1.377</c:v>
                </c:pt>
                <c:pt idx="1378">
                  <c:v>1.3779999999999999</c:v>
                </c:pt>
                <c:pt idx="1379">
                  <c:v>1.379</c:v>
                </c:pt>
                <c:pt idx="1380">
                  <c:v>1.38</c:v>
                </c:pt>
                <c:pt idx="1381">
                  <c:v>1.381</c:v>
                </c:pt>
                <c:pt idx="1382">
                  <c:v>1.3819999999999999</c:v>
                </c:pt>
                <c:pt idx="1383">
                  <c:v>1.383</c:v>
                </c:pt>
                <c:pt idx="1384">
                  <c:v>1.3839999999999999</c:v>
                </c:pt>
                <c:pt idx="1385">
                  <c:v>1.385</c:v>
                </c:pt>
                <c:pt idx="1386">
                  <c:v>1.3859999999999999</c:v>
                </c:pt>
                <c:pt idx="1387">
                  <c:v>1.387</c:v>
                </c:pt>
                <c:pt idx="1388">
                  <c:v>1.3879999999999999</c:v>
                </c:pt>
                <c:pt idx="1389">
                  <c:v>1.389</c:v>
                </c:pt>
                <c:pt idx="1390">
                  <c:v>1.39</c:v>
                </c:pt>
                <c:pt idx="1391">
                  <c:v>1.391</c:v>
                </c:pt>
                <c:pt idx="1392">
                  <c:v>1.3919999999999999</c:v>
                </c:pt>
                <c:pt idx="1393">
                  <c:v>1.393</c:v>
                </c:pt>
                <c:pt idx="1394">
                  <c:v>1.3939999999999999</c:v>
                </c:pt>
                <c:pt idx="1395">
                  <c:v>1.395</c:v>
                </c:pt>
                <c:pt idx="1396">
                  <c:v>1.3959999999999999</c:v>
                </c:pt>
                <c:pt idx="1397">
                  <c:v>1.397</c:v>
                </c:pt>
                <c:pt idx="1398">
                  <c:v>1.3979999999999999</c:v>
                </c:pt>
                <c:pt idx="1399">
                  <c:v>1.399</c:v>
                </c:pt>
                <c:pt idx="1400">
                  <c:v>1.4</c:v>
                </c:pt>
                <c:pt idx="1401">
                  <c:v>1.401</c:v>
                </c:pt>
                <c:pt idx="1402">
                  <c:v>1.4019999999999999</c:v>
                </c:pt>
                <c:pt idx="1403">
                  <c:v>1.403</c:v>
                </c:pt>
                <c:pt idx="1404">
                  <c:v>1.4039999999999999</c:v>
                </c:pt>
                <c:pt idx="1405">
                  <c:v>1.405</c:v>
                </c:pt>
                <c:pt idx="1406">
                  <c:v>1.4059999999999999</c:v>
                </c:pt>
                <c:pt idx="1407">
                  <c:v>1.407</c:v>
                </c:pt>
                <c:pt idx="1408">
                  <c:v>1.4079999999999999</c:v>
                </c:pt>
                <c:pt idx="1409">
                  <c:v>1.409</c:v>
                </c:pt>
                <c:pt idx="1410">
                  <c:v>1.41</c:v>
                </c:pt>
                <c:pt idx="1411">
                  <c:v>1.411</c:v>
                </c:pt>
                <c:pt idx="1412">
                  <c:v>1.4119999999999999</c:v>
                </c:pt>
                <c:pt idx="1413">
                  <c:v>1.413</c:v>
                </c:pt>
                <c:pt idx="1414">
                  <c:v>1.4139999999999999</c:v>
                </c:pt>
                <c:pt idx="1415">
                  <c:v>1.415</c:v>
                </c:pt>
                <c:pt idx="1416">
                  <c:v>1.4159999999999999</c:v>
                </c:pt>
                <c:pt idx="1417">
                  <c:v>1.417</c:v>
                </c:pt>
                <c:pt idx="1418">
                  <c:v>1.4179999999999999</c:v>
                </c:pt>
                <c:pt idx="1419">
                  <c:v>1.419</c:v>
                </c:pt>
                <c:pt idx="1420">
                  <c:v>1.42</c:v>
                </c:pt>
                <c:pt idx="1421">
                  <c:v>1.421</c:v>
                </c:pt>
                <c:pt idx="1422">
                  <c:v>1.4219999999999999</c:v>
                </c:pt>
                <c:pt idx="1423">
                  <c:v>1.423</c:v>
                </c:pt>
                <c:pt idx="1424">
                  <c:v>1.4239999999999999</c:v>
                </c:pt>
                <c:pt idx="1425">
                  <c:v>1.425</c:v>
                </c:pt>
                <c:pt idx="1426">
                  <c:v>1.4259999999999999</c:v>
                </c:pt>
                <c:pt idx="1427">
                  <c:v>1.427</c:v>
                </c:pt>
                <c:pt idx="1428">
                  <c:v>1.4279999999999999</c:v>
                </c:pt>
                <c:pt idx="1429">
                  <c:v>1.429</c:v>
                </c:pt>
                <c:pt idx="1430">
                  <c:v>1.43</c:v>
                </c:pt>
                <c:pt idx="1431">
                  <c:v>1.431</c:v>
                </c:pt>
                <c:pt idx="1432">
                  <c:v>1.4319999999999999</c:v>
                </c:pt>
                <c:pt idx="1433">
                  <c:v>1.4330000000000001</c:v>
                </c:pt>
                <c:pt idx="1434">
                  <c:v>1.4339999999999999</c:v>
                </c:pt>
                <c:pt idx="1435">
                  <c:v>1.4350000000000001</c:v>
                </c:pt>
                <c:pt idx="1436">
                  <c:v>1.4359999999999999</c:v>
                </c:pt>
                <c:pt idx="1437">
                  <c:v>1.4370000000000001</c:v>
                </c:pt>
                <c:pt idx="1438">
                  <c:v>1.4379999999999999</c:v>
                </c:pt>
                <c:pt idx="1439">
                  <c:v>1.4390000000000001</c:v>
                </c:pt>
                <c:pt idx="1440">
                  <c:v>1.44</c:v>
                </c:pt>
                <c:pt idx="1441">
                  <c:v>1.4410000000000001</c:v>
                </c:pt>
                <c:pt idx="1442">
                  <c:v>1.4419999999999999</c:v>
                </c:pt>
                <c:pt idx="1443">
                  <c:v>1.4430000000000001</c:v>
                </c:pt>
                <c:pt idx="1444">
                  <c:v>1.444</c:v>
                </c:pt>
                <c:pt idx="1445">
                  <c:v>1.4450000000000001</c:v>
                </c:pt>
                <c:pt idx="1446">
                  <c:v>1.446</c:v>
                </c:pt>
                <c:pt idx="1447">
                  <c:v>1.4470000000000001</c:v>
                </c:pt>
                <c:pt idx="1448">
                  <c:v>1.448</c:v>
                </c:pt>
                <c:pt idx="1449">
                  <c:v>1.4490000000000001</c:v>
                </c:pt>
                <c:pt idx="1450">
                  <c:v>1.45</c:v>
                </c:pt>
                <c:pt idx="1451">
                  <c:v>1.4510000000000001</c:v>
                </c:pt>
                <c:pt idx="1452">
                  <c:v>1.452</c:v>
                </c:pt>
                <c:pt idx="1453">
                  <c:v>1.4530000000000001</c:v>
                </c:pt>
                <c:pt idx="1454">
                  <c:v>1.454</c:v>
                </c:pt>
                <c:pt idx="1455">
                  <c:v>1.4550000000000001</c:v>
                </c:pt>
                <c:pt idx="1456">
                  <c:v>1.456</c:v>
                </c:pt>
                <c:pt idx="1457">
                  <c:v>1.4570000000000001</c:v>
                </c:pt>
                <c:pt idx="1458">
                  <c:v>1.458</c:v>
                </c:pt>
                <c:pt idx="1459">
                  <c:v>1.4590000000000001</c:v>
                </c:pt>
                <c:pt idx="1460">
                  <c:v>1.46</c:v>
                </c:pt>
                <c:pt idx="1461">
                  <c:v>1.4610000000000001</c:v>
                </c:pt>
                <c:pt idx="1462">
                  <c:v>1.462</c:v>
                </c:pt>
                <c:pt idx="1463">
                  <c:v>1.4630000000000001</c:v>
                </c:pt>
                <c:pt idx="1464">
                  <c:v>1.464</c:v>
                </c:pt>
                <c:pt idx="1465">
                  <c:v>1.4650000000000001</c:v>
                </c:pt>
                <c:pt idx="1466">
                  <c:v>1.466</c:v>
                </c:pt>
                <c:pt idx="1467">
                  <c:v>1.4670000000000001</c:v>
                </c:pt>
                <c:pt idx="1468">
                  <c:v>1.468</c:v>
                </c:pt>
                <c:pt idx="1469">
                  <c:v>1.4690000000000001</c:v>
                </c:pt>
                <c:pt idx="1470">
                  <c:v>1.47</c:v>
                </c:pt>
                <c:pt idx="1471">
                  <c:v>1.4710000000000001</c:v>
                </c:pt>
                <c:pt idx="1472">
                  <c:v>1.472</c:v>
                </c:pt>
                <c:pt idx="1473">
                  <c:v>1.4730000000000001</c:v>
                </c:pt>
                <c:pt idx="1474">
                  <c:v>1.474</c:v>
                </c:pt>
                <c:pt idx="1475">
                  <c:v>1.4750000000000001</c:v>
                </c:pt>
                <c:pt idx="1476">
                  <c:v>1.476</c:v>
                </c:pt>
                <c:pt idx="1477">
                  <c:v>1.4770000000000001</c:v>
                </c:pt>
                <c:pt idx="1478">
                  <c:v>1.478</c:v>
                </c:pt>
                <c:pt idx="1479">
                  <c:v>1.4790000000000001</c:v>
                </c:pt>
                <c:pt idx="1480">
                  <c:v>1.48</c:v>
                </c:pt>
                <c:pt idx="1481">
                  <c:v>1.4810000000000001</c:v>
                </c:pt>
                <c:pt idx="1482">
                  <c:v>1.482</c:v>
                </c:pt>
                <c:pt idx="1483">
                  <c:v>1.4830000000000001</c:v>
                </c:pt>
                <c:pt idx="1484">
                  <c:v>1.484</c:v>
                </c:pt>
                <c:pt idx="1485">
                  <c:v>1.4850000000000001</c:v>
                </c:pt>
                <c:pt idx="1486">
                  <c:v>1.486</c:v>
                </c:pt>
                <c:pt idx="1487">
                  <c:v>1.4870000000000001</c:v>
                </c:pt>
                <c:pt idx="1488">
                  <c:v>1.488</c:v>
                </c:pt>
                <c:pt idx="1489">
                  <c:v>1.4890000000000001</c:v>
                </c:pt>
                <c:pt idx="1490">
                  <c:v>1.49</c:v>
                </c:pt>
                <c:pt idx="1491">
                  <c:v>1.4910000000000001</c:v>
                </c:pt>
                <c:pt idx="1492">
                  <c:v>1.492</c:v>
                </c:pt>
                <c:pt idx="1493">
                  <c:v>1.4930000000000001</c:v>
                </c:pt>
                <c:pt idx="1494">
                  <c:v>1.494</c:v>
                </c:pt>
                <c:pt idx="1495">
                  <c:v>1.4950000000000001</c:v>
                </c:pt>
                <c:pt idx="1496">
                  <c:v>1.496</c:v>
                </c:pt>
                <c:pt idx="1497">
                  <c:v>1.4970000000000001</c:v>
                </c:pt>
                <c:pt idx="1498">
                  <c:v>1.498</c:v>
                </c:pt>
                <c:pt idx="1499">
                  <c:v>1.4990000000000001</c:v>
                </c:pt>
                <c:pt idx="1500">
                  <c:v>1.5</c:v>
                </c:pt>
                <c:pt idx="1501">
                  <c:v>1.5009999999999999</c:v>
                </c:pt>
                <c:pt idx="1502">
                  <c:v>1.502</c:v>
                </c:pt>
                <c:pt idx="1503">
                  <c:v>1.5029999999999999</c:v>
                </c:pt>
                <c:pt idx="1504">
                  <c:v>1.504</c:v>
                </c:pt>
                <c:pt idx="1505">
                  <c:v>1.5049999999999999</c:v>
                </c:pt>
                <c:pt idx="1506">
                  <c:v>1.506</c:v>
                </c:pt>
                <c:pt idx="1507">
                  <c:v>1.5069999999999999</c:v>
                </c:pt>
                <c:pt idx="1508">
                  <c:v>1.508</c:v>
                </c:pt>
                <c:pt idx="1509">
                  <c:v>1.5089999999999999</c:v>
                </c:pt>
                <c:pt idx="1510">
                  <c:v>1.51</c:v>
                </c:pt>
                <c:pt idx="1511">
                  <c:v>1.5109999999999999</c:v>
                </c:pt>
                <c:pt idx="1512">
                  <c:v>1.512</c:v>
                </c:pt>
                <c:pt idx="1513">
                  <c:v>1.5129999999999999</c:v>
                </c:pt>
                <c:pt idx="1514">
                  <c:v>1.514</c:v>
                </c:pt>
                <c:pt idx="1515">
                  <c:v>1.5149999999999999</c:v>
                </c:pt>
                <c:pt idx="1516">
                  <c:v>1.516</c:v>
                </c:pt>
                <c:pt idx="1517">
                  <c:v>1.5169999999999999</c:v>
                </c:pt>
                <c:pt idx="1518">
                  <c:v>1.518</c:v>
                </c:pt>
                <c:pt idx="1519">
                  <c:v>1.5189999999999999</c:v>
                </c:pt>
                <c:pt idx="1520">
                  <c:v>1.52</c:v>
                </c:pt>
                <c:pt idx="1521">
                  <c:v>1.5209999999999999</c:v>
                </c:pt>
                <c:pt idx="1522">
                  <c:v>1.522</c:v>
                </c:pt>
                <c:pt idx="1523">
                  <c:v>1.5229999999999999</c:v>
                </c:pt>
                <c:pt idx="1524">
                  <c:v>1.524</c:v>
                </c:pt>
                <c:pt idx="1525">
                  <c:v>1.5249999999999999</c:v>
                </c:pt>
                <c:pt idx="1526">
                  <c:v>1.526</c:v>
                </c:pt>
                <c:pt idx="1527">
                  <c:v>1.5269999999999999</c:v>
                </c:pt>
                <c:pt idx="1528">
                  <c:v>1.528</c:v>
                </c:pt>
                <c:pt idx="1529">
                  <c:v>1.5289999999999999</c:v>
                </c:pt>
                <c:pt idx="1530">
                  <c:v>1.53</c:v>
                </c:pt>
                <c:pt idx="1531">
                  <c:v>1.5309999999999999</c:v>
                </c:pt>
                <c:pt idx="1532">
                  <c:v>1.532</c:v>
                </c:pt>
                <c:pt idx="1533">
                  <c:v>1.5329999999999999</c:v>
                </c:pt>
                <c:pt idx="1534">
                  <c:v>1.534</c:v>
                </c:pt>
                <c:pt idx="1535">
                  <c:v>1.5349999999999999</c:v>
                </c:pt>
                <c:pt idx="1536">
                  <c:v>1.536</c:v>
                </c:pt>
                <c:pt idx="1537">
                  <c:v>1.5369999999999999</c:v>
                </c:pt>
                <c:pt idx="1538">
                  <c:v>1.538</c:v>
                </c:pt>
                <c:pt idx="1539">
                  <c:v>1.5389999999999999</c:v>
                </c:pt>
                <c:pt idx="1540">
                  <c:v>1.54</c:v>
                </c:pt>
                <c:pt idx="1541">
                  <c:v>1.5409999999999999</c:v>
                </c:pt>
                <c:pt idx="1542">
                  <c:v>1.542</c:v>
                </c:pt>
                <c:pt idx="1543">
                  <c:v>1.5429999999999999</c:v>
                </c:pt>
                <c:pt idx="1544">
                  <c:v>1.544</c:v>
                </c:pt>
                <c:pt idx="1545">
                  <c:v>1.5449999999999999</c:v>
                </c:pt>
                <c:pt idx="1546">
                  <c:v>1.546</c:v>
                </c:pt>
                <c:pt idx="1547">
                  <c:v>1.5469999999999999</c:v>
                </c:pt>
                <c:pt idx="1548">
                  <c:v>1.548</c:v>
                </c:pt>
                <c:pt idx="1549">
                  <c:v>1.5489999999999999</c:v>
                </c:pt>
                <c:pt idx="1550">
                  <c:v>1.55</c:v>
                </c:pt>
                <c:pt idx="1551">
                  <c:v>1.5509999999999999</c:v>
                </c:pt>
                <c:pt idx="1552">
                  <c:v>1.552</c:v>
                </c:pt>
                <c:pt idx="1553">
                  <c:v>1.5529999999999999</c:v>
                </c:pt>
                <c:pt idx="1554">
                  <c:v>1.554</c:v>
                </c:pt>
                <c:pt idx="1555">
                  <c:v>1.5549999999999999</c:v>
                </c:pt>
                <c:pt idx="1556">
                  <c:v>1.556</c:v>
                </c:pt>
                <c:pt idx="1557">
                  <c:v>1.5569999999999999</c:v>
                </c:pt>
                <c:pt idx="1558">
                  <c:v>1.5580000000000001</c:v>
                </c:pt>
                <c:pt idx="1559">
                  <c:v>1.5589999999999999</c:v>
                </c:pt>
                <c:pt idx="1560">
                  <c:v>1.56</c:v>
                </c:pt>
                <c:pt idx="1561">
                  <c:v>1.5609999999999999</c:v>
                </c:pt>
                <c:pt idx="1562">
                  <c:v>1.5620000000000001</c:v>
                </c:pt>
                <c:pt idx="1563">
                  <c:v>1.5629999999999999</c:v>
                </c:pt>
                <c:pt idx="1564">
                  <c:v>1.5640000000000001</c:v>
                </c:pt>
                <c:pt idx="1565">
                  <c:v>1.5649999999999999</c:v>
                </c:pt>
                <c:pt idx="1566">
                  <c:v>1.5660000000000001</c:v>
                </c:pt>
                <c:pt idx="1567">
                  <c:v>1.5669999999999999</c:v>
                </c:pt>
                <c:pt idx="1568">
                  <c:v>1.5680000000000001</c:v>
                </c:pt>
                <c:pt idx="1569">
                  <c:v>1.569</c:v>
                </c:pt>
                <c:pt idx="1570">
                  <c:v>1.57</c:v>
                </c:pt>
                <c:pt idx="1571">
                  <c:v>1.571</c:v>
                </c:pt>
                <c:pt idx="1572">
                  <c:v>1.5720000000000001</c:v>
                </c:pt>
                <c:pt idx="1573">
                  <c:v>1.573</c:v>
                </c:pt>
                <c:pt idx="1574">
                  <c:v>1.5740000000000001</c:v>
                </c:pt>
                <c:pt idx="1575">
                  <c:v>1.575</c:v>
                </c:pt>
                <c:pt idx="1576">
                  <c:v>1.5760000000000001</c:v>
                </c:pt>
                <c:pt idx="1577">
                  <c:v>1.577</c:v>
                </c:pt>
                <c:pt idx="1578">
                  <c:v>1.5780000000000001</c:v>
                </c:pt>
                <c:pt idx="1579">
                  <c:v>1.579</c:v>
                </c:pt>
                <c:pt idx="1580">
                  <c:v>1.58</c:v>
                </c:pt>
                <c:pt idx="1581">
                  <c:v>1.581</c:v>
                </c:pt>
                <c:pt idx="1582">
                  <c:v>1.5820000000000001</c:v>
                </c:pt>
                <c:pt idx="1583">
                  <c:v>1.583</c:v>
                </c:pt>
                <c:pt idx="1584">
                  <c:v>1.5840000000000001</c:v>
                </c:pt>
                <c:pt idx="1585">
                  <c:v>1.585</c:v>
                </c:pt>
                <c:pt idx="1586">
                  <c:v>1.5860000000000001</c:v>
                </c:pt>
                <c:pt idx="1587">
                  <c:v>1.587</c:v>
                </c:pt>
                <c:pt idx="1588">
                  <c:v>1.5880000000000001</c:v>
                </c:pt>
                <c:pt idx="1589">
                  <c:v>1.589</c:v>
                </c:pt>
                <c:pt idx="1590">
                  <c:v>1.59</c:v>
                </c:pt>
                <c:pt idx="1591">
                  <c:v>1.591</c:v>
                </c:pt>
                <c:pt idx="1592">
                  <c:v>1.5920000000000001</c:v>
                </c:pt>
                <c:pt idx="1593">
                  <c:v>1.593</c:v>
                </c:pt>
                <c:pt idx="1594">
                  <c:v>1.5940000000000001</c:v>
                </c:pt>
                <c:pt idx="1595">
                  <c:v>1.595</c:v>
                </c:pt>
                <c:pt idx="1596">
                  <c:v>1.5960000000000001</c:v>
                </c:pt>
                <c:pt idx="1597">
                  <c:v>1.597</c:v>
                </c:pt>
                <c:pt idx="1598">
                  <c:v>1.5980000000000001</c:v>
                </c:pt>
                <c:pt idx="1599">
                  <c:v>1.599</c:v>
                </c:pt>
                <c:pt idx="1600">
                  <c:v>1.6</c:v>
                </c:pt>
                <c:pt idx="1601">
                  <c:v>1.601</c:v>
                </c:pt>
                <c:pt idx="1602">
                  <c:v>1.6020000000000001</c:v>
                </c:pt>
                <c:pt idx="1603">
                  <c:v>1.603</c:v>
                </c:pt>
                <c:pt idx="1604">
                  <c:v>1.6040000000000001</c:v>
                </c:pt>
                <c:pt idx="1605">
                  <c:v>1.605</c:v>
                </c:pt>
                <c:pt idx="1606">
                  <c:v>1.6060000000000001</c:v>
                </c:pt>
                <c:pt idx="1607">
                  <c:v>1.607</c:v>
                </c:pt>
                <c:pt idx="1608">
                  <c:v>1.6080000000000001</c:v>
                </c:pt>
                <c:pt idx="1609">
                  <c:v>1.609</c:v>
                </c:pt>
                <c:pt idx="1610">
                  <c:v>1.61</c:v>
                </c:pt>
                <c:pt idx="1611">
                  <c:v>1.611</c:v>
                </c:pt>
                <c:pt idx="1612">
                  <c:v>1.6120000000000001</c:v>
                </c:pt>
                <c:pt idx="1613">
                  <c:v>1.613</c:v>
                </c:pt>
                <c:pt idx="1614">
                  <c:v>1.6140000000000001</c:v>
                </c:pt>
                <c:pt idx="1615">
                  <c:v>1.615</c:v>
                </c:pt>
                <c:pt idx="1616">
                  <c:v>1.6160000000000001</c:v>
                </c:pt>
                <c:pt idx="1617">
                  <c:v>1.617</c:v>
                </c:pt>
                <c:pt idx="1618">
                  <c:v>1.6180000000000001</c:v>
                </c:pt>
                <c:pt idx="1619">
                  <c:v>1.619</c:v>
                </c:pt>
                <c:pt idx="1620">
                  <c:v>1.62</c:v>
                </c:pt>
                <c:pt idx="1621">
                  <c:v>1.621</c:v>
                </c:pt>
                <c:pt idx="1622">
                  <c:v>1.6220000000000001</c:v>
                </c:pt>
                <c:pt idx="1623">
                  <c:v>1.623</c:v>
                </c:pt>
                <c:pt idx="1624">
                  <c:v>1.6240000000000001</c:v>
                </c:pt>
                <c:pt idx="1625">
                  <c:v>1.625</c:v>
                </c:pt>
                <c:pt idx="1626">
                  <c:v>1.6259999999999999</c:v>
                </c:pt>
                <c:pt idx="1627">
                  <c:v>1.627</c:v>
                </c:pt>
                <c:pt idx="1628">
                  <c:v>1.6279999999999999</c:v>
                </c:pt>
                <c:pt idx="1629">
                  <c:v>1.629</c:v>
                </c:pt>
                <c:pt idx="1630">
                  <c:v>1.63</c:v>
                </c:pt>
                <c:pt idx="1631">
                  <c:v>1.631</c:v>
                </c:pt>
                <c:pt idx="1632">
                  <c:v>1.6319999999999999</c:v>
                </c:pt>
                <c:pt idx="1633">
                  <c:v>1.633</c:v>
                </c:pt>
                <c:pt idx="1634">
                  <c:v>1.6339999999999999</c:v>
                </c:pt>
                <c:pt idx="1635">
                  <c:v>1.635</c:v>
                </c:pt>
                <c:pt idx="1636">
                  <c:v>1.6359999999999999</c:v>
                </c:pt>
                <c:pt idx="1637">
                  <c:v>1.637</c:v>
                </c:pt>
                <c:pt idx="1638">
                  <c:v>1.6379999999999999</c:v>
                </c:pt>
                <c:pt idx="1639">
                  <c:v>1.639</c:v>
                </c:pt>
                <c:pt idx="1640">
                  <c:v>1.64</c:v>
                </c:pt>
                <c:pt idx="1641">
                  <c:v>1.641</c:v>
                </c:pt>
                <c:pt idx="1642">
                  <c:v>1.6419999999999999</c:v>
                </c:pt>
                <c:pt idx="1643">
                  <c:v>1.643</c:v>
                </c:pt>
                <c:pt idx="1644">
                  <c:v>1.6439999999999999</c:v>
                </c:pt>
                <c:pt idx="1645">
                  <c:v>1.645</c:v>
                </c:pt>
                <c:pt idx="1646">
                  <c:v>1.6459999999999999</c:v>
                </c:pt>
                <c:pt idx="1647">
                  <c:v>1.647</c:v>
                </c:pt>
                <c:pt idx="1648">
                  <c:v>1.6479999999999999</c:v>
                </c:pt>
                <c:pt idx="1649">
                  <c:v>1.649</c:v>
                </c:pt>
                <c:pt idx="1650">
                  <c:v>1.65</c:v>
                </c:pt>
                <c:pt idx="1651">
                  <c:v>1.651</c:v>
                </c:pt>
                <c:pt idx="1652">
                  <c:v>1.6519999999999999</c:v>
                </c:pt>
                <c:pt idx="1653">
                  <c:v>1.653</c:v>
                </c:pt>
                <c:pt idx="1654">
                  <c:v>1.6539999999999999</c:v>
                </c:pt>
                <c:pt idx="1655">
                  <c:v>1.655</c:v>
                </c:pt>
                <c:pt idx="1656">
                  <c:v>1.6559999999999999</c:v>
                </c:pt>
                <c:pt idx="1657">
                  <c:v>1.657</c:v>
                </c:pt>
                <c:pt idx="1658">
                  <c:v>1.6579999999999999</c:v>
                </c:pt>
                <c:pt idx="1659">
                  <c:v>1.659</c:v>
                </c:pt>
                <c:pt idx="1660">
                  <c:v>1.66</c:v>
                </c:pt>
                <c:pt idx="1661">
                  <c:v>1.661</c:v>
                </c:pt>
                <c:pt idx="1662">
                  <c:v>1.6619999999999999</c:v>
                </c:pt>
                <c:pt idx="1663">
                  <c:v>1.663</c:v>
                </c:pt>
                <c:pt idx="1664">
                  <c:v>1.6639999999999999</c:v>
                </c:pt>
                <c:pt idx="1665">
                  <c:v>1.665</c:v>
                </c:pt>
                <c:pt idx="1666">
                  <c:v>1.6659999999999999</c:v>
                </c:pt>
                <c:pt idx="1667">
                  <c:v>1.667</c:v>
                </c:pt>
                <c:pt idx="1668">
                  <c:v>1.6679999999999999</c:v>
                </c:pt>
                <c:pt idx="1669">
                  <c:v>1.669</c:v>
                </c:pt>
                <c:pt idx="1670">
                  <c:v>1.67</c:v>
                </c:pt>
                <c:pt idx="1671">
                  <c:v>1.671</c:v>
                </c:pt>
                <c:pt idx="1672">
                  <c:v>1.6719999999999999</c:v>
                </c:pt>
                <c:pt idx="1673">
                  <c:v>1.673</c:v>
                </c:pt>
                <c:pt idx="1674">
                  <c:v>1.6739999999999999</c:v>
                </c:pt>
                <c:pt idx="1675">
                  <c:v>1.675</c:v>
                </c:pt>
                <c:pt idx="1676">
                  <c:v>1.6759999999999999</c:v>
                </c:pt>
                <c:pt idx="1677">
                  <c:v>1.677</c:v>
                </c:pt>
                <c:pt idx="1678">
                  <c:v>1.6779999999999999</c:v>
                </c:pt>
                <c:pt idx="1679">
                  <c:v>1.679</c:v>
                </c:pt>
                <c:pt idx="1680">
                  <c:v>1.68</c:v>
                </c:pt>
                <c:pt idx="1681">
                  <c:v>1.681</c:v>
                </c:pt>
                <c:pt idx="1682">
                  <c:v>1.6819999999999999</c:v>
                </c:pt>
                <c:pt idx="1683">
                  <c:v>1.6830000000000001</c:v>
                </c:pt>
                <c:pt idx="1684">
                  <c:v>1.6839999999999999</c:v>
                </c:pt>
                <c:pt idx="1685">
                  <c:v>1.6850000000000001</c:v>
                </c:pt>
                <c:pt idx="1686">
                  <c:v>1.6859999999999999</c:v>
                </c:pt>
                <c:pt idx="1687">
                  <c:v>1.6870000000000001</c:v>
                </c:pt>
                <c:pt idx="1688">
                  <c:v>1.6879999999999999</c:v>
                </c:pt>
                <c:pt idx="1689">
                  <c:v>1.6890000000000001</c:v>
                </c:pt>
                <c:pt idx="1690">
                  <c:v>1.69</c:v>
                </c:pt>
                <c:pt idx="1691">
                  <c:v>1.6910000000000001</c:v>
                </c:pt>
                <c:pt idx="1692">
                  <c:v>1.6919999999999999</c:v>
                </c:pt>
                <c:pt idx="1693">
                  <c:v>1.6930000000000001</c:v>
                </c:pt>
                <c:pt idx="1694">
                  <c:v>1.694</c:v>
                </c:pt>
                <c:pt idx="1695">
                  <c:v>1.6950000000000001</c:v>
                </c:pt>
                <c:pt idx="1696">
                  <c:v>1.696</c:v>
                </c:pt>
                <c:pt idx="1697">
                  <c:v>1.6970000000000001</c:v>
                </c:pt>
                <c:pt idx="1698">
                  <c:v>1.698</c:v>
                </c:pt>
                <c:pt idx="1699">
                  <c:v>1.6990000000000001</c:v>
                </c:pt>
                <c:pt idx="1700">
                  <c:v>1.7</c:v>
                </c:pt>
                <c:pt idx="1701">
                  <c:v>1.7010000000000001</c:v>
                </c:pt>
                <c:pt idx="1702">
                  <c:v>1.702</c:v>
                </c:pt>
                <c:pt idx="1703">
                  <c:v>1.7030000000000001</c:v>
                </c:pt>
                <c:pt idx="1704">
                  <c:v>1.704</c:v>
                </c:pt>
                <c:pt idx="1705">
                  <c:v>1.7050000000000001</c:v>
                </c:pt>
                <c:pt idx="1706">
                  <c:v>1.706</c:v>
                </c:pt>
                <c:pt idx="1707">
                  <c:v>1.7070000000000001</c:v>
                </c:pt>
                <c:pt idx="1708">
                  <c:v>1.708</c:v>
                </c:pt>
                <c:pt idx="1709">
                  <c:v>1.7090000000000001</c:v>
                </c:pt>
                <c:pt idx="1710">
                  <c:v>1.71</c:v>
                </c:pt>
                <c:pt idx="1711">
                  <c:v>1.7110000000000001</c:v>
                </c:pt>
                <c:pt idx="1712">
                  <c:v>1.712</c:v>
                </c:pt>
                <c:pt idx="1713">
                  <c:v>1.7130000000000001</c:v>
                </c:pt>
                <c:pt idx="1714">
                  <c:v>1.714</c:v>
                </c:pt>
                <c:pt idx="1715">
                  <c:v>1.7150000000000001</c:v>
                </c:pt>
                <c:pt idx="1716">
                  <c:v>1.716</c:v>
                </c:pt>
                <c:pt idx="1717">
                  <c:v>1.7170000000000001</c:v>
                </c:pt>
                <c:pt idx="1718">
                  <c:v>1.718</c:v>
                </c:pt>
                <c:pt idx="1719">
                  <c:v>1.7190000000000001</c:v>
                </c:pt>
                <c:pt idx="1720">
                  <c:v>1.72</c:v>
                </c:pt>
                <c:pt idx="1721">
                  <c:v>1.7210000000000001</c:v>
                </c:pt>
                <c:pt idx="1722">
                  <c:v>1.722</c:v>
                </c:pt>
                <c:pt idx="1723">
                  <c:v>1.7230000000000001</c:v>
                </c:pt>
                <c:pt idx="1724">
                  <c:v>1.724</c:v>
                </c:pt>
                <c:pt idx="1725">
                  <c:v>1.7250000000000001</c:v>
                </c:pt>
                <c:pt idx="1726">
                  <c:v>1.726</c:v>
                </c:pt>
                <c:pt idx="1727">
                  <c:v>1.7270000000000001</c:v>
                </c:pt>
                <c:pt idx="1728">
                  <c:v>1.728</c:v>
                </c:pt>
                <c:pt idx="1729">
                  <c:v>1.7290000000000001</c:v>
                </c:pt>
                <c:pt idx="1730">
                  <c:v>1.73</c:v>
                </c:pt>
                <c:pt idx="1731">
                  <c:v>1.7310000000000001</c:v>
                </c:pt>
                <c:pt idx="1732">
                  <c:v>1.732</c:v>
                </c:pt>
                <c:pt idx="1733">
                  <c:v>1.7330000000000001</c:v>
                </c:pt>
                <c:pt idx="1734">
                  <c:v>1.734</c:v>
                </c:pt>
                <c:pt idx="1735">
                  <c:v>1.7350000000000001</c:v>
                </c:pt>
                <c:pt idx="1736">
                  <c:v>1.736</c:v>
                </c:pt>
                <c:pt idx="1737">
                  <c:v>1.7370000000000001</c:v>
                </c:pt>
                <c:pt idx="1738">
                  <c:v>1.738</c:v>
                </c:pt>
                <c:pt idx="1739">
                  <c:v>1.7390000000000001</c:v>
                </c:pt>
                <c:pt idx="1740">
                  <c:v>1.74</c:v>
                </c:pt>
                <c:pt idx="1741">
                  <c:v>1.7410000000000001</c:v>
                </c:pt>
                <c:pt idx="1742">
                  <c:v>1.742</c:v>
                </c:pt>
                <c:pt idx="1743">
                  <c:v>1.7430000000000001</c:v>
                </c:pt>
                <c:pt idx="1744">
                  <c:v>1.744</c:v>
                </c:pt>
                <c:pt idx="1745">
                  <c:v>1.7450000000000001</c:v>
                </c:pt>
                <c:pt idx="1746">
                  <c:v>1.746</c:v>
                </c:pt>
                <c:pt idx="1747">
                  <c:v>1.7470000000000001</c:v>
                </c:pt>
                <c:pt idx="1748">
                  <c:v>1.748</c:v>
                </c:pt>
                <c:pt idx="1749">
                  <c:v>1.7490000000000001</c:v>
                </c:pt>
                <c:pt idx="1750">
                  <c:v>1.75</c:v>
                </c:pt>
                <c:pt idx="1751">
                  <c:v>1.7509999999999999</c:v>
                </c:pt>
                <c:pt idx="1752">
                  <c:v>1.752</c:v>
                </c:pt>
                <c:pt idx="1753">
                  <c:v>1.7529999999999999</c:v>
                </c:pt>
                <c:pt idx="1754">
                  <c:v>1.754</c:v>
                </c:pt>
                <c:pt idx="1755">
                  <c:v>1.7549999999999999</c:v>
                </c:pt>
                <c:pt idx="1756">
                  <c:v>1.756</c:v>
                </c:pt>
                <c:pt idx="1757">
                  <c:v>1.7569999999999999</c:v>
                </c:pt>
                <c:pt idx="1758">
                  <c:v>1.758</c:v>
                </c:pt>
                <c:pt idx="1759">
                  <c:v>1.7589999999999999</c:v>
                </c:pt>
                <c:pt idx="1760">
                  <c:v>1.76</c:v>
                </c:pt>
                <c:pt idx="1761">
                  <c:v>1.7609999999999999</c:v>
                </c:pt>
                <c:pt idx="1762">
                  <c:v>1.762</c:v>
                </c:pt>
                <c:pt idx="1763">
                  <c:v>1.7629999999999999</c:v>
                </c:pt>
                <c:pt idx="1764">
                  <c:v>1.764</c:v>
                </c:pt>
                <c:pt idx="1765">
                  <c:v>1.7649999999999999</c:v>
                </c:pt>
                <c:pt idx="1766">
                  <c:v>1.766</c:v>
                </c:pt>
                <c:pt idx="1767">
                  <c:v>1.7669999999999999</c:v>
                </c:pt>
                <c:pt idx="1768">
                  <c:v>1.768</c:v>
                </c:pt>
                <c:pt idx="1769">
                  <c:v>1.7689999999999999</c:v>
                </c:pt>
                <c:pt idx="1770">
                  <c:v>1.77</c:v>
                </c:pt>
                <c:pt idx="1771">
                  <c:v>1.7709999999999999</c:v>
                </c:pt>
                <c:pt idx="1772">
                  <c:v>1.772</c:v>
                </c:pt>
                <c:pt idx="1773">
                  <c:v>1.7729999999999999</c:v>
                </c:pt>
                <c:pt idx="1774">
                  <c:v>1.774</c:v>
                </c:pt>
                <c:pt idx="1775">
                  <c:v>1.7749999999999999</c:v>
                </c:pt>
                <c:pt idx="1776">
                  <c:v>1.776</c:v>
                </c:pt>
                <c:pt idx="1777">
                  <c:v>1.7769999999999999</c:v>
                </c:pt>
                <c:pt idx="1778">
                  <c:v>1.778</c:v>
                </c:pt>
                <c:pt idx="1779">
                  <c:v>1.7789999999999999</c:v>
                </c:pt>
                <c:pt idx="1780">
                  <c:v>1.78</c:v>
                </c:pt>
                <c:pt idx="1781">
                  <c:v>1.7809999999999999</c:v>
                </c:pt>
                <c:pt idx="1782">
                  <c:v>1.782</c:v>
                </c:pt>
                <c:pt idx="1783">
                  <c:v>1.7829999999999999</c:v>
                </c:pt>
                <c:pt idx="1784">
                  <c:v>1.784</c:v>
                </c:pt>
                <c:pt idx="1785">
                  <c:v>1.7849999999999999</c:v>
                </c:pt>
                <c:pt idx="1786">
                  <c:v>1.786</c:v>
                </c:pt>
                <c:pt idx="1787">
                  <c:v>1.7869999999999999</c:v>
                </c:pt>
                <c:pt idx="1788">
                  <c:v>1.788</c:v>
                </c:pt>
                <c:pt idx="1789">
                  <c:v>1.7889999999999999</c:v>
                </c:pt>
                <c:pt idx="1790">
                  <c:v>1.79</c:v>
                </c:pt>
                <c:pt idx="1791">
                  <c:v>1.7909999999999999</c:v>
                </c:pt>
                <c:pt idx="1792">
                  <c:v>1.792</c:v>
                </c:pt>
                <c:pt idx="1793">
                  <c:v>1.7929999999999999</c:v>
                </c:pt>
                <c:pt idx="1794">
                  <c:v>1.794</c:v>
                </c:pt>
                <c:pt idx="1795">
                  <c:v>1.7949999999999999</c:v>
                </c:pt>
                <c:pt idx="1796">
                  <c:v>1.796</c:v>
                </c:pt>
                <c:pt idx="1797">
                  <c:v>1.7969999999999999</c:v>
                </c:pt>
                <c:pt idx="1798">
                  <c:v>1.798</c:v>
                </c:pt>
                <c:pt idx="1799">
                  <c:v>1.7989999999999999</c:v>
                </c:pt>
                <c:pt idx="1800">
                  <c:v>1.8</c:v>
                </c:pt>
                <c:pt idx="1801">
                  <c:v>1.8009999999999999</c:v>
                </c:pt>
                <c:pt idx="1802">
                  <c:v>1.802</c:v>
                </c:pt>
                <c:pt idx="1803">
                  <c:v>1.8029999999999999</c:v>
                </c:pt>
                <c:pt idx="1804">
                  <c:v>1.804</c:v>
                </c:pt>
                <c:pt idx="1805">
                  <c:v>1.8049999999999999</c:v>
                </c:pt>
                <c:pt idx="1806">
                  <c:v>1.806</c:v>
                </c:pt>
                <c:pt idx="1807">
                  <c:v>1.8069999999999999</c:v>
                </c:pt>
                <c:pt idx="1808">
                  <c:v>1.8080000000000001</c:v>
                </c:pt>
                <c:pt idx="1809">
                  <c:v>1.8089999999999999</c:v>
                </c:pt>
                <c:pt idx="1810">
                  <c:v>1.81</c:v>
                </c:pt>
                <c:pt idx="1811">
                  <c:v>1.8109999999999999</c:v>
                </c:pt>
                <c:pt idx="1812">
                  <c:v>1.8120000000000001</c:v>
                </c:pt>
                <c:pt idx="1813">
                  <c:v>1.8129999999999999</c:v>
                </c:pt>
                <c:pt idx="1814">
                  <c:v>1.8140000000000001</c:v>
                </c:pt>
                <c:pt idx="1815">
                  <c:v>1.8149999999999999</c:v>
                </c:pt>
                <c:pt idx="1816">
                  <c:v>1.8160000000000001</c:v>
                </c:pt>
                <c:pt idx="1817">
                  <c:v>1.8169999999999999</c:v>
                </c:pt>
                <c:pt idx="1818">
                  <c:v>1.8180000000000001</c:v>
                </c:pt>
                <c:pt idx="1819">
                  <c:v>1.819</c:v>
                </c:pt>
                <c:pt idx="1820">
                  <c:v>1.82</c:v>
                </c:pt>
                <c:pt idx="1821">
                  <c:v>1.821</c:v>
                </c:pt>
                <c:pt idx="1822">
                  <c:v>1.8220000000000001</c:v>
                </c:pt>
                <c:pt idx="1823">
                  <c:v>1.823</c:v>
                </c:pt>
                <c:pt idx="1824">
                  <c:v>1.8240000000000001</c:v>
                </c:pt>
                <c:pt idx="1825">
                  <c:v>1.825</c:v>
                </c:pt>
                <c:pt idx="1826">
                  <c:v>1.8260000000000001</c:v>
                </c:pt>
                <c:pt idx="1827">
                  <c:v>1.827</c:v>
                </c:pt>
                <c:pt idx="1828">
                  <c:v>1.8280000000000001</c:v>
                </c:pt>
                <c:pt idx="1829">
                  <c:v>1.829</c:v>
                </c:pt>
                <c:pt idx="1830">
                  <c:v>1.83</c:v>
                </c:pt>
                <c:pt idx="1831">
                  <c:v>1.831</c:v>
                </c:pt>
                <c:pt idx="1832">
                  <c:v>1.8320000000000001</c:v>
                </c:pt>
                <c:pt idx="1833">
                  <c:v>1.833</c:v>
                </c:pt>
                <c:pt idx="1834">
                  <c:v>1.8340000000000001</c:v>
                </c:pt>
                <c:pt idx="1835">
                  <c:v>1.835</c:v>
                </c:pt>
                <c:pt idx="1836">
                  <c:v>1.8360000000000001</c:v>
                </c:pt>
                <c:pt idx="1837">
                  <c:v>1.837</c:v>
                </c:pt>
                <c:pt idx="1838">
                  <c:v>1.8380000000000001</c:v>
                </c:pt>
                <c:pt idx="1839">
                  <c:v>1.839</c:v>
                </c:pt>
                <c:pt idx="1840">
                  <c:v>1.84</c:v>
                </c:pt>
                <c:pt idx="1841">
                  <c:v>1.841</c:v>
                </c:pt>
                <c:pt idx="1842">
                  <c:v>1.8420000000000001</c:v>
                </c:pt>
                <c:pt idx="1843">
                  <c:v>1.843</c:v>
                </c:pt>
                <c:pt idx="1844">
                  <c:v>1.8440000000000001</c:v>
                </c:pt>
                <c:pt idx="1845">
                  <c:v>1.845</c:v>
                </c:pt>
                <c:pt idx="1846">
                  <c:v>1.8460000000000001</c:v>
                </c:pt>
                <c:pt idx="1847">
                  <c:v>1.847</c:v>
                </c:pt>
                <c:pt idx="1848">
                  <c:v>1.8480000000000001</c:v>
                </c:pt>
                <c:pt idx="1849">
                  <c:v>1.849</c:v>
                </c:pt>
                <c:pt idx="1850">
                  <c:v>1.85</c:v>
                </c:pt>
                <c:pt idx="1851">
                  <c:v>1.851</c:v>
                </c:pt>
                <c:pt idx="1852">
                  <c:v>1.8520000000000001</c:v>
                </c:pt>
                <c:pt idx="1853">
                  <c:v>1.853</c:v>
                </c:pt>
                <c:pt idx="1854">
                  <c:v>1.8540000000000001</c:v>
                </c:pt>
                <c:pt idx="1855">
                  <c:v>1.855</c:v>
                </c:pt>
                <c:pt idx="1856">
                  <c:v>1.8560000000000001</c:v>
                </c:pt>
                <c:pt idx="1857">
                  <c:v>1.857</c:v>
                </c:pt>
                <c:pt idx="1858">
                  <c:v>1.8580000000000001</c:v>
                </c:pt>
                <c:pt idx="1859">
                  <c:v>1.859</c:v>
                </c:pt>
                <c:pt idx="1860">
                  <c:v>1.86</c:v>
                </c:pt>
                <c:pt idx="1861">
                  <c:v>1.861</c:v>
                </c:pt>
                <c:pt idx="1862">
                  <c:v>1.8620000000000001</c:v>
                </c:pt>
                <c:pt idx="1863">
                  <c:v>1.863</c:v>
                </c:pt>
                <c:pt idx="1864">
                  <c:v>1.8640000000000001</c:v>
                </c:pt>
                <c:pt idx="1865">
                  <c:v>1.865</c:v>
                </c:pt>
                <c:pt idx="1866">
                  <c:v>1.8660000000000001</c:v>
                </c:pt>
                <c:pt idx="1867">
                  <c:v>1.867</c:v>
                </c:pt>
                <c:pt idx="1868">
                  <c:v>1.8680000000000001</c:v>
                </c:pt>
                <c:pt idx="1869">
                  <c:v>1.869</c:v>
                </c:pt>
                <c:pt idx="1870">
                  <c:v>1.87</c:v>
                </c:pt>
                <c:pt idx="1871">
                  <c:v>1.871</c:v>
                </c:pt>
                <c:pt idx="1872">
                  <c:v>1.8720000000000001</c:v>
                </c:pt>
                <c:pt idx="1873">
                  <c:v>1.873</c:v>
                </c:pt>
                <c:pt idx="1874">
                  <c:v>1.8740000000000001</c:v>
                </c:pt>
                <c:pt idx="1875">
                  <c:v>1.875</c:v>
                </c:pt>
                <c:pt idx="1876">
                  <c:v>1.8759999999999999</c:v>
                </c:pt>
                <c:pt idx="1877">
                  <c:v>1.877</c:v>
                </c:pt>
                <c:pt idx="1878">
                  <c:v>1.8779999999999999</c:v>
                </c:pt>
                <c:pt idx="1879">
                  <c:v>1.879</c:v>
                </c:pt>
                <c:pt idx="1880">
                  <c:v>1.88</c:v>
                </c:pt>
                <c:pt idx="1881">
                  <c:v>1.881</c:v>
                </c:pt>
                <c:pt idx="1882">
                  <c:v>1.8819999999999999</c:v>
                </c:pt>
                <c:pt idx="1883">
                  <c:v>1.883</c:v>
                </c:pt>
                <c:pt idx="1884">
                  <c:v>1.8839999999999999</c:v>
                </c:pt>
                <c:pt idx="1885">
                  <c:v>1.885</c:v>
                </c:pt>
                <c:pt idx="1886">
                  <c:v>1.8859999999999999</c:v>
                </c:pt>
                <c:pt idx="1887">
                  <c:v>1.887</c:v>
                </c:pt>
                <c:pt idx="1888">
                  <c:v>1.8879999999999999</c:v>
                </c:pt>
                <c:pt idx="1889">
                  <c:v>1.889</c:v>
                </c:pt>
                <c:pt idx="1890">
                  <c:v>1.89</c:v>
                </c:pt>
                <c:pt idx="1891">
                  <c:v>1.891</c:v>
                </c:pt>
                <c:pt idx="1892">
                  <c:v>1.8919999999999999</c:v>
                </c:pt>
                <c:pt idx="1893">
                  <c:v>1.893</c:v>
                </c:pt>
                <c:pt idx="1894">
                  <c:v>1.8939999999999999</c:v>
                </c:pt>
                <c:pt idx="1895">
                  <c:v>1.895</c:v>
                </c:pt>
                <c:pt idx="1896">
                  <c:v>1.8959999999999999</c:v>
                </c:pt>
                <c:pt idx="1897">
                  <c:v>1.897</c:v>
                </c:pt>
                <c:pt idx="1898">
                  <c:v>1.8979999999999999</c:v>
                </c:pt>
                <c:pt idx="1899">
                  <c:v>1.899</c:v>
                </c:pt>
                <c:pt idx="1900">
                  <c:v>1.9</c:v>
                </c:pt>
                <c:pt idx="1901">
                  <c:v>1.901</c:v>
                </c:pt>
                <c:pt idx="1902">
                  <c:v>1.9019999999999999</c:v>
                </c:pt>
                <c:pt idx="1903">
                  <c:v>1.903</c:v>
                </c:pt>
                <c:pt idx="1904">
                  <c:v>1.9039999999999999</c:v>
                </c:pt>
                <c:pt idx="1905">
                  <c:v>1.905</c:v>
                </c:pt>
                <c:pt idx="1906">
                  <c:v>1.9059999999999999</c:v>
                </c:pt>
                <c:pt idx="1907">
                  <c:v>1.907</c:v>
                </c:pt>
                <c:pt idx="1908">
                  <c:v>1.9079999999999999</c:v>
                </c:pt>
                <c:pt idx="1909">
                  <c:v>1.909</c:v>
                </c:pt>
                <c:pt idx="1910">
                  <c:v>1.91</c:v>
                </c:pt>
                <c:pt idx="1911">
                  <c:v>1.911</c:v>
                </c:pt>
                <c:pt idx="1912">
                  <c:v>1.9119999999999999</c:v>
                </c:pt>
                <c:pt idx="1913">
                  <c:v>1.913</c:v>
                </c:pt>
                <c:pt idx="1914">
                  <c:v>1.9139999999999999</c:v>
                </c:pt>
                <c:pt idx="1915">
                  <c:v>1.915</c:v>
                </c:pt>
                <c:pt idx="1916">
                  <c:v>1.9159999999999999</c:v>
                </c:pt>
                <c:pt idx="1917">
                  <c:v>1.917</c:v>
                </c:pt>
                <c:pt idx="1918">
                  <c:v>1.9179999999999999</c:v>
                </c:pt>
                <c:pt idx="1919">
                  <c:v>1.919</c:v>
                </c:pt>
                <c:pt idx="1920">
                  <c:v>1.92</c:v>
                </c:pt>
                <c:pt idx="1921">
                  <c:v>1.921</c:v>
                </c:pt>
                <c:pt idx="1922">
                  <c:v>1.9219999999999999</c:v>
                </c:pt>
                <c:pt idx="1923">
                  <c:v>1.923</c:v>
                </c:pt>
                <c:pt idx="1924">
                  <c:v>1.9239999999999999</c:v>
                </c:pt>
                <c:pt idx="1925">
                  <c:v>1.925</c:v>
                </c:pt>
                <c:pt idx="1926">
                  <c:v>1.9259999999999999</c:v>
                </c:pt>
                <c:pt idx="1927">
                  <c:v>1.927</c:v>
                </c:pt>
                <c:pt idx="1928">
                  <c:v>1.9279999999999999</c:v>
                </c:pt>
                <c:pt idx="1929">
                  <c:v>1.929</c:v>
                </c:pt>
                <c:pt idx="1930">
                  <c:v>1.93</c:v>
                </c:pt>
                <c:pt idx="1931">
                  <c:v>1.931</c:v>
                </c:pt>
                <c:pt idx="1932">
                  <c:v>1.9319999999999999</c:v>
                </c:pt>
                <c:pt idx="1933">
                  <c:v>1.9330000000000001</c:v>
                </c:pt>
                <c:pt idx="1934">
                  <c:v>1.9339999999999999</c:v>
                </c:pt>
                <c:pt idx="1935">
                  <c:v>1.9350000000000001</c:v>
                </c:pt>
                <c:pt idx="1936">
                  <c:v>1.9359999999999999</c:v>
                </c:pt>
                <c:pt idx="1937">
                  <c:v>1.9370000000000001</c:v>
                </c:pt>
                <c:pt idx="1938">
                  <c:v>1.9379999999999999</c:v>
                </c:pt>
                <c:pt idx="1939">
                  <c:v>1.9390000000000001</c:v>
                </c:pt>
                <c:pt idx="1940">
                  <c:v>1.94</c:v>
                </c:pt>
                <c:pt idx="1941">
                  <c:v>1.9410000000000001</c:v>
                </c:pt>
                <c:pt idx="1942">
                  <c:v>1.9419999999999999</c:v>
                </c:pt>
                <c:pt idx="1943">
                  <c:v>1.9430000000000001</c:v>
                </c:pt>
                <c:pt idx="1944">
                  <c:v>1.944</c:v>
                </c:pt>
                <c:pt idx="1945">
                  <c:v>1.9450000000000001</c:v>
                </c:pt>
                <c:pt idx="1946">
                  <c:v>1.946</c:v>
                </c:pt>
                <c:pt idx="1947">
                  <c:v>1.9470000000000001</c:v>
                </c:pt>
                <c:pt idx="1948">
                  <c:v>1.948</c:v>
                </c:pt>
                <c:pt idx="1949">
                  <c:v>1.9490000000000001</c:v>
                </c:pt>
                <c:pt idx="1950">
                  <c:v>1.95</c:v>
                </c:pt>
                <c:pt idx="1951">
                  <c:v>1.9510000000000001</c:v>
                </c:pt>
                <c:pt idx="1952">
                  <c:v>1.952</c:v>
                </c:pt>
                <c:pt idx="1953">
                  <c:v>1.9530000000000001</c:v>
                </c:pt>
                <c:pt idx="1954">
                  <c:v>1.954</c:v>
                </c:pt>
                <c:pt idx="1955">
                  <c:v>1.9550000000000001</c:v>
                </c:pt>
                <c:pt idx="1956">
                  <c:v>1.956</c:v>
                </c:pt>
                <c:pt idx="1957">
                  <c:v>1.9570000000000001</c:v>
                </c:pt>
                <c:pt idx="1958">
                  <c:v>1.958</c:v>
                </c:pt>
                <c:pt idx="1959">
                  <c:v>1.9590000000000001</c:v>
                </c:pt>
                <c:pt idx="1960">
                  <c:v>1.96</c:v>
                </c:pt>
                <c:pt idx="1961">
                  <c:v>1.9610000000000001</c:v>
                </c:pt>
                <c:pt idx="1962">
                  <c:v>1.962</c:v>
                </c:pt>
                <c:pt idx="1963">
                  <c:v>1.9630000000000001</c:v>
                </c:pt>
                <c:pt idx="1964">
                  <c:v>1.964</c:v>
                </c:pt>
                <c:pt idx="1965">
                  <c:v>1.9650000000000001</c:v>
                </c:pt>
                <c:pt idx="1966">
                  <c:v>1.966</c:v>
                </c:pt>
                <c:pt idx="1967">
                  <c:v>1.9670000000000001</c:v>
                </c:pt>
                <c:pt idx="1968">
                  <c:v>1.968</c:v>
                </c:pt>
                <c:pt idx="1969">
                  <c:v>1.9690000000000001</c:v>
                </c:pt>
                <c:pt idx="1970">
                  <c:v>1.97</c:v>
                </c:pt>
                <c:pt idx="1971">
                  <c:v>1.9710000000000001</c:v>
                </c:pt>
                <c:pt idx="1972">
                  <c:v>1.972</c:v>
                </c:pt>
                <c:pt idx="1973">
                  <c:v>1.9730000000000001</c:v>
                </c:pt>
                <c:pt idx="1974">
                  <c:v>1.974</c:v>
                </c:pt>
                <c:pt idx="1975">
                  <c:v>1.9750000000000001</c:v>
                </c:pt>
                <c:pt idx="1976">
                  <c:v>1.976</c:v>
                </c:pt>
                <c:pt idx="1977">
                  <c:v>1.9770000000000001</c:v>
                </c:pt>
                <c:pt idx="1978">
                  <c:v>1.978</c:v>
                </c:pt>
                <c:pt idx="1979">
                  <c:v>1.9790000000000001</c:v>
                </c:pt>
                <c:pt idx="1980">
                  <c:v>1.98</c:v>
                </c:pt>
                <c:pt idx="1981">
                  <c:v>1.9810000000000001</c:v>
                </c:pt>
                <c:pt idx="1982">
                  <c:v>1.982</c:v>
                </c:pt>
                <c:pt idx="1983">
                  <c:v>1.9830000000000001</c:v>
                </c:pt>
                <c:pt idx="1984">
                  <c:v>1.984</c:v>
                </c:pt>
                <c:pt idx="1985">
                  <c:v>1.9850000000000001</c:v>
                </c:pt>
                <c:pt idx="1986">
                  <c:v>1.986</c:v>
                </c:pt>
                <c:pt idx="1987">
                  <c:v>1.9870000000000001</c:v>
                </c:pt>
                <c:pt idx="1988">
                  <c:v>1.988</c:v>
                </c:pt>
                <c:pt idx="1989">
                  <c:v>1.9890000000000001</c:v>
                </c:pt>
                <c:pt idx="1990">
                  <c:v>1.99</c:v>
                </c:pt>
                <c:pt idx="1991">
                  <c:v>1.9910000000000001</c:v>
                </c:pt>
                <c:pt idx="1992">
                  <c:v>1.992</c:v>
                </c:pt>
                <c:pt idx="1993">
                  <c:v>1.9930000000000001</c:v>
                </c:pt>
                <c:pt idx="1994">
                  <c:v>1.994</c:v>
                </c:pt>
                <c:pt idx="1995">
                  <c:v>1.9950000000000001</c:v>
                </c:pt>
                <c:pt idx="1996">
                  <c:v>1.996</c:v>
                </c:pt>
                <c:pt idx="1997">
                  <c:v>1.9970000000000001</c:v>
                </c:pt>
                <c:pt idx="1998">
                  <c:v>1.998</c:v>
                </c:pt>
                <c:pt idx="1999">
                  <c:v>1.9990000000000001</c:v>
                </c:pt>
                <c:pt idx="2000">
                  <c:v>2</c:v>
                </c:pt>
                <c:pt idx="2001">
                  <c:v>2.0009999999999999</c:v>
                </c:pt>
                <c:pt idx="2002">
                  <c:v>2.0019999999999998</c:v>
                </c:pt>
                <c:pt idx="2003">
                  <c:v>2.0030000000000001</c:v>
                </c:pt>
                <c:pt idx="2004">
                  <c:v>2.004</c:v>
                </c:pt>
                <c:pt idx="2005">
                  <c:v>2.0049999999999999</c:v>
                </c:pt>
                <c:pt idx="2006">
                  <c:v>2.0059999999999998</c:v>
                </c:pt>
                <c:pt idx="2007">
                  <c:v>2.0070000000000001</c:v>
                </c:pt>
                <c:pt idx="2008">
                  <c:v>2.008</c:v>
                </c:pt>
                <c:pt idx="2009">
                  <c:v>2.0089999999999999</c:v>
                </c:pt>
                <c:pt idx="2010">
                  <c:v>2.0099999999999998</c:v>
                </c:pt>
                <c:pt idx="2011">
                  <c:v>2.0110000000000001</c:v>
                </c:pt>
                <c:pt idx="2012">
                  <c:v>2.012</c:v>
                </c:pt>
                <c:pt idx="2013">
                  <c:v>2.0129999999999999</c:v>
                </c:pt>
                <c:pt idx="2014">
                  <c:v>2.0139999999999998</c:v>
                </c:pt>
                <c:pt idx="2015">
                  <c:v>2.0150000000000001</c:v>
                </c:pt>
                <c:pt idx="2016">
                  <c:v>2.016</c:v>
                </c:pt>
                <c:pt idx="2017">
                  <c:v>2.0169999999999999</c:v>
                </c:pt>
                <c:pt idx="2018">
                  <c:v>2.0179999999999998</c:v>
                </c:pt>
                <c:pt idx="2019">
                  <c:v>2.0190000000000001</c:v>
                </c:pt>
                <c:pt idx="2020">
                  <c:v>2.02</c:v>
                </c:pt>
                <c:pt idx="2021">
                  <c:v>2.0209999999999999</c:v>
                </c:pt>
                <c:pt idx="2022">
                  <c:v>2.0219999999999998</c:v>
                </c:pt>
                <c:pt idx="2023">
                  <c:v>2.0230000000000001</c:v>
                </c:pt>
                <c:pt idx="2024">
                  <c:v>2.024</c:v>
                </c:pt>
                <c:pt idx="2025">
                  <c:v>2.0249999999999999</c:v>
                </c:pt>
                <c:pt idx="2026">
                  <c:v>2.0259999999999998</c:v>
                </c:pt>
                <c:pt idx="2027">
                  <c:v>2.0270000000000001</c:v>
                </c:pt>
                <c:pt idx="2028">
                  <c:v>2.028</c:v>
                </c:pt>
                <c:pt idx="2029">
                  <c:v>2.0289999999999999</c:v>
                </c:pt>
                <c:pt idx="2030">
                  <c:v>2.0299999999999998</c:v>
                </c:pt>
                <c:pt idx="2031">
                  <c:v>2.0310000000000001</c:v>
                </c:pt>
                <c:pt idx="2032">
                  <c:v>2.032</c:v>
                </c:pt>
                <c:pt idx="2033">
                  <c:v>2.0329999999999999</c:v>
                </c:pt>
                <c:pt idx="2034">
                  <c:v>2.0339999999999998</c:v>
                </c:pt>
                <c:pt idx="2035">
                  <c:v>2.0350000000000001</c:v>
                </c:pt>
                <c:pt idx="2036">
                  <c:v>2.036</c:v>
                </c:pt>
                <c:pt idx="2037">
                  <c:v>2.0369999999999999</c:v>
                </c:pt>
                <c:pt idx="2038">
                  <c:v>2.0379999999999998</c:v>
                </c:pt>
                <c:pt idx="2039">
                  <c:v>2.0390000000000001</c:v>
                </c:pt>
                <c:pt idx="2040">
                  <c:v>2.04</c:v>
                </c:pt>
                <c:pt idx="2041">
                  <c:v>2.0409999999999999</c:v>
                </c:pt>
                <c:pt idx="2042">
                  <c:v>2.0419999999999998</c:v>
                </c:pt>
                <c:pt idx="2043">
                  <c:v>2.0430000000000001</c:v>
                </c:pt>
                <c:pt idx="2044">
                  <c:v>2.044</c:v>
                </c:pt>
                <c:pt idx="2045">
                  <c:v>2.0449999999999999</c:v>
                </c:pt>
                <c:pt idx="2046">
                  <c:v>2.0459999999999998</c:v>
                </c:pt>
                <c:pt idx="2047">
                  <c:v>2.0470000000000002</c:v>
                </c:pt>
                <c:pt idx="2048">
                  <c:v>2.048</c:v>
                </c:pt>
                <c:pt idx="2049">
                  <c:v>2.0489999999999999</c:v>
                </c:pt>
                <c:pt idx="2050">
                  <c:v>2.0499999999999998</c:v>
                </c:pt>
                <c:pt idx="2051">
                  <c:v>2.0510000000000002</c:v>
                </c:pt>
                <c:pt idx="2052">
                  <c:v>2.052</c:v>
                </c:pt>
                <c:pt idx="2053">
                  <c:v>2.0529999999999999</c:v>
                </c:pt>
                <c:pt idx="2054">
                  <c:v>2.0539999999999998</c:v>
                </c:pt>
                <c:pt idx="2055">
                  <c:v>2.0550000000000002</c:v>
                </c:pt>
                <c:pt idx="2056">
                  <c:v>2.056</c:v>
                </c:pt>
                <c:pt idx="2057">
                  <c:v>2.0569999999999999</c:v>
                </c:pt>
                <c:pt idx="2058">
                  <c:v>2.0579999999999998</c:v>
                </c:pt>
                <c:pt idx="2059">
                  <c:v>2.0590000000000002</c:v>
                </c:pt>
                <c:pt idx="2060">
                  <c:v>2.06</c:v>
                </c:pt>
                <c:pt idx="2061">
                  <c:v>2.0609999999999999</c:v>
                </c:pt>
                <c:pt idx="2062">
                  <c:v>2.0619999999999998</c:v>
                </c:pt>
                <c:pt idx="2063">
                  <c:v>2.0630000000000002</c:v>
                </c:pt>
                <c:pt idx="2064">
                  <c:v>2.0640000000000001</c:v>
                </c:pt>
                <c:pt idx="2065">
                  <c:v>2.0649999999999999</c:v>
                </c:pt>
                <c:pt idx="2066">
                  <c:v>2.0659999999999998</c:v>
                </c:pt>
                <c:pt idx="2067">
                  <c:v>2.0670000000000002</c:v>
                </c:pt>
                <c:pt idx="2068">
                  <c:v>2.0680000000000001</c:v>
                </c:pt>
                <c:pt idx="2069">
                  <c:v>2.069</c:v>
                </c:pt>
                <c:pt idx="2070">
                  <c:v>2.0699999999999998</c:v>
                </c:pt>
                <c:pt idx="2071">
                  <c:v>2.0710000000000002</c:v>
                </c:pt>
                <c:pt idx="2072">
                  <c:v>2.0720000000000001</c:v>
                </c:pt>
                <c:pt idx="2073">
                  <c:v>2.073</c:v>
                </c:pt>
                <c:pt idx="2074">
                  <c:v>2.0739999999999998</c:v>
                </c:pt>
                <c:pt idx="2075">
                  <c:v>2.0750000000000002</c:v>
                </c:pt>
                <c:pt idx="2076">
                  <c:v>2.0760000000000001</c:v>
                </c:pt>
                <c:pt idx="2077">
                  <c:v>2.077</c:v>
                </c:pt>
                <c:pt idx="2078">
                  <c:v>2.0779999999999998</c:v>
                </c:pt>
                <c:pt idx="2079">
                  <c:v>2.0790000000000002</c:v>
                </c:pt>
                <c:pt idx="2080">
                  <c:v>2.08</c:v>
                </c:pt>
                <c:pt idx="2081">
                  <c:v>2.081</c:v>
                </c:pt>
                <c:pt idx="2082">
                  <c:v>2.0819999999999999</c:v>
                </c:pt>
                <c:pt idx="2083">
                  <c:v>2.0830000000000002</c:v>
                </c:pt>
                <c:pt idx="2084">
                  <c:v>2.0840000000000001</c:v>
                </c:pt>
                <c:pt idx="2085">
                  <c:v>2.085</c:v>
                </c:pt>
                <c:pt idx="2086">
                  <c:v>2.0859999999999999</c:v>
                </c:pt>
                <c:pt idx="2087">
                  <c:v>2.0870000000000002</c:v>
                </c:pt>
                <c:pt idx="2088">
                  <c:v>2.0880000000000001</c:v>
                </c:pt>
                <c:pt idx="2089">
                  <c:v>2.089</c:v>
                </c:pt>
                <c:pt idx="2090">
                  <c:v>2.09</c:v>
                </c:pt>
                <c:pt idx="2091">
                  <c:v>2.0910000000000002</c:v>
                </c:pt>
                <c:pt idx="2092">
                  <c:v>2.0920000000000001</c:v>
                </c:pt>
                <c:pt idx="2093">
                  <c:v>2.093</c:v>
                </c:pt>
                <c:pt idx="2094">
                  <c:v>2.0939999999999999</c:v>
                </c:pt>
                <c:pt idx="2095">
                  <c:v>2.0950000000000002</c:v>
                </c:pt>
                <c:pt idx="2096">
                  <c:v>2.0960000000000001</c:v>
                </c:pt>
                <c:pt idx="2097">
                  <c:v>2.097</c:v>
                </c:pt>
                <c:pt idx="2098">
                  <c:v>2.0979999999999999</c:v>
                </c:pt>
                <c:pt idx="2099">
                  <c:v>2.0990000000000002</c:v>
                </c:pt>
                <c:pt idx="2100">
                  <c:v>2.1</c:v>
                </c:pt>
                <c:pt idx="2101">
                  <c:v>2.101</c:v>
                </c:pt>
                <c:pt idx="2102">
                  <c:v>2.1019999999999999</c:v>
                </c:pt>
                <c:pt idx="2103">
                  <c:v>2.1030000000000002</c:v>
                </c:pt>
                <c:pt idx="2104">
                  <c:v>2.1040000000000001</c:v>
                </c:pt>
                <c:pt idx="2105">
                  <c:v>2.105</c:v>
                </c:pt>
                <c:pt idx="2106">
                  <c:v>2.1059999999999999</c:v>
                </c:pt>
                <c:pt idx="2107">
                  <c:v>2.1070000000000002</c:v>
                </c:pt>
                <c:pt idx="2108">
                  <c:v>2.1080000000000001</c:v>
                </c:pt>
                <c:pt idx="2109">
                  <c:v>2.109</c:v>
                </c:pt>
                <c:pt idx="2110">
                  <c:v>2.11</c:v>
                </c:pt>
                <c:pt idx="2111">
                  <c:v>2.1110000000000002</c:v>
                </c:pt>
                <c:pt idx="2112">
                  <c:v>2.1120000000000001</c:v>
                </c:pt>
                <c:pt idx="2113">
                  <c:v>2.113</c:v>
                </c:pt>
                <c:pt idx="2114">
                  <c:v>2.1139999999999999</c:v>
                </c:pt>
                <c:pt idx="2115">
                  <c:v>2.1150000000000002</c:v>
                </c:pt>
                <c:pt idx="2116">
                  <c:v>2.1160000000000001</c:v>
                </c:pt>
                <c:pt idx="2117">
                  <c:v>2.117</c:v>
                </c:pt>
                <c:pt idx="2118">
                  <c:v>2.1179999999999999</c:v>
                </c:pt>
                <c:pt idx="2119">
                  <c:v>2.1190000000000002</c:v>
                </c:pt>
                <c:pt idx="2120">
                  <c:v>2.12</c:v>
                </c:pt>
                <c:pt idx="2121">
                  <c:v>2.121</c:v>
                </c:pt>
                <c:pt idx="2122">
                  <c:v>2.1219999999999999</c:v>
                </c:pt>
                <c:pt idx="2123">
                  <c:v>2.1230000000000002</c:v>
                </c:pt>
                <c:pt idx="2124">
                  <c:v>2.1240000000000001</c:v>
                </c:pt>
                <c:pt idx="2125">
                  <c:v>2.125</c:v>
                </c:pt>
                <c:pt idx="2126">
                  <c:v>2.1259999999999999</c:v>
                </c:pt>
                <c:pt idx="2127">
                  <c:v>2.1269999999999998</c:v>
                </c:pt>
                <c:pt idx="2128">
                  <c:v>2.1280000000000001</c:v>
                </c:pt>
                <c:pt idx="2129">
                  <c:v>2.129</c:v>
                </c:pt>
                <c:pt idx="2130">
                  <c:v>2.13</c:v>
                </c:pt>
                <c:pt idx="2131">
                  <c:v>2.1309999999999998</c:v>
                </c:pt>
                <c:pt idx="2132">
                  <c:v>2.1320000000000001</c:v>
                </c:pt>
                <c:pt idx="2133">
                  <c:v>2.133</c:v>
                </c:pt>
                <c:pt idx="2134">
                  <c:v>2.1339999999999999</c:v>
                </c:pt>
                <c:pt idx="2135">
                  <c:v>2.1349999999999998</c:v>
                </c:pt>
                <c:pt idx="2136">
                  <c:v>2.1360000000000001</c:v>
                </c:pt>
                <c:pt idx="2137">
                  <c:v>2.137</c:v>
                </c:pt>
                <c:pt idx="2138">
                  <c:v>2.1379999999999999</c:v>
                </c:pt>
                <c:pt idx="2139">
                  <c:v>2.1389999999999998</c:v>
                </c:pt>
                <c:pt idx="2140">
                  <c:v>2.14</c:v>
                </c:pt>
                <c:pt idx="2141">
                  <c:v>2.141</c:v>
                </c:pt>
                <c:pt idx="2142">
                  <c:v>2.1419999999999999</c:v>
                </c:pt>
                <c:pt idx="2143">
                  <c:v>2.1429999999999998</c:v>
                </c:pt>
                <c:pt idx="2144">
                  <c:v>2.1440000000000001</c:v>
                </c:pt>
                <c:pt idx="2145">
                  <c:v>2.145</c:v>
                </c:pt>
                <c:pt idx="2146">
                  <c:v>2.1459999999999999</c:v>
                </c:pt>
                <c:pt idx="2147">
                  <c:v>2.1469999999999998</c:v>
                </c:pt>
                <c:pt idx="2148">
                  <c:v>2.1480000000000001</c:v>
                </c:pt>
                <c:pt idx="2149">
                  <c:v>2.149</c:v>
                </c:pt>
                <c:pt idx="2150">
                  <c:v>2.15</c:v>
                </c:pt>
                <c:pt idx="2151">
                  <c:v>2.1509999999999998</c:v>
                </c:pt>
                <c:pt idx="2152">
                  <c:v>2.1520000000000001</c:v>
                </c:pt>
                <c:pt idx="2153">
                  <c:v>2.153</c:v>
                </c:pt>
                <c:pt idx="2154">
                  <c:v>2.1539999999999999</c:v>
                </c:pt>
                <c:pt idx="2155">
                  <c:v>2.1549999999999998</c:v>
                </c:pt>
                <c:pt idx="2156">
                  <c:v>2.1560000000000001</c:v>
                </c:pt>
                <c:pt idx="2157">
                  <c:v>2.157</c:v>
                </c:pt>
                <c:pt idx="2158">
                  <c:v>2.1579999999999999</c:v>
                </c:pt>
                <c:pt idx="2159">
                  <c:v>2.1589999999999998</c:v>
                </c:pt>
                <c:pt idx="2160">
                  <c:v>2.16</c:v>
                </c:pt>
                <c:pt idx="2161">
                  <c:v>2.161</c:v>
                </c:pt>
                <c:pt idx="2162">
                  <c:v>2.1619999999999999</c:v>
                </c:pt>
                <c:pt idx="2163">
                  <c:v>2.1629999999999998</c:v>
                </c:pt>
                <c:pt idx="2164">
                  <c:v>2.1640000000000001</c:v>
                </c:pt>
                <c:pt idx="2165">
                  <c:v>2.165</c:v>
                </c:pt>
                <c:pt idx="2166">
                  <c:v>2.1659999999999999</c:v>
                </c:pt>
                <c:pt idx="2167">
                  <c:v>2.1669999999999998</c:v>
                </c:pt>
                <c:pt idx="2168">
                  <c:v>2.1680000000000001</c:v>
                </c:pt>
                <c:pt idx="2169">
                  <c:v>2.169</c:v>
                </c:pt>
                <c:pt idx="2170">
                  <c:v>2.17</c:v>
                </c:pt>
                <c:pt idx="2171">
                  <c:v>2.1709999999999998</c:v>
                </c:pt>
                <c:pt idx="2172">
                  <c:v>2.1720000000000002</c:v>
                </c:pt>
                <c:pt idx="2173">
                  <c:v>2.173</c:v>
                </c:pt>
                <c:pt idx="2174">
                  <c:v>2.1739999999999999</c:v>
                </c:pt>
                <c:pt idx="2175">
                  <c:v>2.1749999999999998</c:v>
                </c:pt>
                <c:pt idx="2176">
                  <c:v>2.1760000000000002</c:v>
                </c:pt>
                <c:pt idx="2177">
                  <c:v>2.177</c:v>
                </c:pt>
                <c:pt idx="2178">
                  <c:v>2.1779999999999999</c:v>
                </c:pt>
                <c:pt idx="2179">
                  <c:v>2.1789999999999998</c:v>
                </c:pt>
                <c:pt idx="2180">
                  <c:v>2.1800000000000002</c:v>
                </c:pt>
                <c:pt idx="2181">
                  <c:v>2.181</c:v>
                </c:pt>
                <c:pt idx="2182">
                  <c:v>2.1819999999999999</c:v>
                </c:pt>
                <c:pt idx="2183">
                  <c:v>2.1829999999999998</c:v>
                </c:pt>
                <c:pt idx="2184">
                  <c:v>2.1840000000000002</c:v>
                </c:pt>
                <c:pt idx="2185">
                  <c:v>2.1850000000000001</c:v>
                </c:pt>
                <c:pt idx="2186">
                  <c:v>2.1859999999999999</c:v>
                </c:pt>
                <c:pt idx="2187">
                  <c:v>2.1869999999999998</c:v>
                </c:pt>
                <c:pt idx="2188">
                  <c:v>2.1880000000000002</c:v>
                </c:pt>
                <c:pt idx="2189">
                  <c:v>2.1890000000000001</c:v>
                </c:pt>
                <c:pt idx="2190">
                  <c:v>2.19</c:v>
                </c:pt>
                <c:pt idx="2191">
                  <c:v>2.1909999999999998</c:v>
                </c:pt>
                <c:pt idx="2192">
                  <c:v>2.1920000000000002</c:v>
                </c:pt>
                <c:pt idx="2193">
                  <c:v>2.1930000000000001</c:v>
                </c:pt>
                <c:pt idx="2194">
                  <c:v>2.194</c:v>
                </c:pt>
                <c:pt idx="2195">
                  <c:v>2.1949999999999998</c:v>
                </c:pt>
                <c:pt idx="2196">
                  <c:v>2.1960000000000002</c:v>
                </c:pt>
                <c:pt idx="2197">
                  <c:v>2.1970000000000001</c:v>
                </c:pt>
                <c:pt idx="2198">
                  <c:v>2.198</c:v>
                </c:pt>
                <c:pt idx="2199">
                  <c:v>2.1989999999999998</c:v>
                </c:pt>
                <c:pt idx="2200">
                  <c:v>2.2000000000000002</c:v>
                </c:pt>
                <c:pt idx="2201">
                  <c:v>2.2010000000000001</c:v>
                </c:pt>
                <c:pt idx="2202">
                  <c:v>2.202</c:v>
                </c:pt>
                <c:pt idx="2203">
                  <c:v>2.2029999999999998</c:v>
                </c:pt>
                <c:pt idx="2204">
                  <c:v>2.2040000000000002</c:v>
                </c:pt>
                <c:pt idx="2205">
                  <c:v>2.2050000000000001</c:v>
                </c:pt>
                <c:pt idx="2206">
                  <c:v>2.206</c:v>
                </c:pt>
                <c:pt idx="2207">
                  <c:v>2.2069999999999999</c:v>
                </c:pt>
                <c:pt idx="2208">
                  <c:v>2.2080000000000002</c:v>
                </c:pt>
                <c:pt idx="2209">
                  <c:v>2.2090000000000001</c:v>
                </c:pt>
                <c:pt idx="2210">
                  <c:v>2.21</c:v>
                </c:pt>
                <c:pt idx="2211">
                  <c:v>2.2109999999999999</c:v>
                </c:pt>
                <c:pt idx="2212">
                  <c:v>2.2120000000000002</c:v>
                </c:pt>
                <c:pt idx="2213">
                  <c:v>2.2130000000000001</c:v>
                </c:pt>
                <c:pt idx="2214">
                  <c:v>2.214</c:v>
                </c:pt>
                <c:pt idx="2215">
                  <c:v>2.2149999999999999</c:v>
                </c:pt>
                <c:pt idx="2216">
                  <c:v>2.2160000000000002</c:v>
                </c:pt>
                <c:pt idx="2217">
                  <c:v>2.2170000000000001</c:v>
                </c:pt>
                <c:pt idx="2218">
                  <c:v>2.218</c:v>
                </c:pt>
                <c:pt idx="2219">
                  <c:v>2.2189999999999999</c:v>
                </c:pt>
                <c:pt idx="2220">
                  <c:v>2.2200000000000002</c:v>
                </c:pt>
                <c:pt idx="2221">
                  <c:v>2.2210000000000001</c:v>
                </c:pt>
                <c:pt idx="2222">
                  <c:v>2.222</c:v>
                </c:pt>
                <c:pt idx="2223">
                  <c:v>2.2229999999999999</c:v>
                </c:pt>
                <c:pt idx="2224">
                  <c:v>2.2240000000000002</c:v>
                </c:pt>
                <c:pt idx="2225">
                  <c:v>2.2250000000000001</c:v>
                </c:pt>
                <c:pt idx="2226">
                  <c:v>2.226</c:v>
                </c:pt>
                <c:pt idx="2227">
                  <c:v>2.2269999999999999</c:v>
                </c:pt>
                <c:pt idx="2228">
                  <c:v>2.2280000000000002</c:v>
                </c:pt>
                <c:pt idx="2229">
                  <c:v>2.2290000000000001</c:v>
                </c:pt>
                <c:pt idx="2230">
                  <c:v>2.23</c:v>
                </c:pt>
                <c:pt idx="2231">
                  <c:v>2.2309999999999999</c:v>
                </c:pt>
                <c:pt idx="2232">
                  <c:v>2.2320000000000002</c:v>
                </c:pt>
                <c:pt idx="2233">
                  <c:v>2.2330000000000001</c:v>
                </c:pt>
                <c:pt idx="2234">
                  <c:v>2.234</c:v>
                </c:pt>
                <c:pt idx="2235">
                  <c:v>2.2349999999999999</c:v>
                </c:pt>
                <c:pt idx="2236">
                  <c:v>2.2360000000000002</c:v>
                </c:pt>
                <c:pt idx="2237">
                  <c:v>2.2370000000000001</c:v>
                </c:pt>
                <c:pt idx="2238">
                  <c:v>2.238</c:v>
                </c:pt>
                <c:pt idx="2239">
                  <c:v>2.2389999999999999</c:v>
                </c:pt>
                <c:pt idx="2240">
                  <c:v>2.2400000000000002</c:v>
                </c:pt>
                <c:pt idx="2241">
                  <c:v>2.2410000000000001</c:v>
                </c:pt>
                <c:pt idx="2242">
                  <c:v>2.242</c:v>
                </c:pt>
                <c:pt idx="2243">
                  <c:v>2.2429999999999999</c:v>
                </c:pt>
                <c:pt idx="2244">
                  <c:v>2.2440000000000002</c:v>
                </c:pt>
                <c:pt idx="2245">
                  <c:v>2.2450000000000001</c:v>
                </c:pt>
                <c:pt idx="2246">
                  <c:v>2.246</c:v>
                </c:pt>
                <c:pt idx="2247">
                  <c:v>2.2469999999999999</c:v>
                </c:pt>
                <c:pt idx="2248">
                  <c:v>2.2480000000000002</c:v>
                </c:pt>
                <c:pt idx="2249">
                  <c:v>2.2490000000000001</c:v>
                </c:pt>
                <c:pt idx="2250">
                  <c:v>2.25</c:v>
                </c:pt>
                <c:pt idx="2251">
                  <c:v>2.2509999999999999</c:v>
                </c:pt>
                <c:pt idx="2252">
                  <c:v>2.2519999999999998</c:v>
                </c:pt>
                <c:pt idx="2253">
                  <c:v>2.2530000000000001</c:v>
                </c:pt>
                <c:pt idx="2254">
                  <c:v>2.254</c:v>
                </c:pt>
                <c:pt idx="2255">
                  <c:v>2.2549999999999999</c:v>
                </c:pt>
                <c:pt idx="2256">
                  <c:v>2.2559999999999998</c:v>
                </c:pt>
                <c:pt idx="2257">
                  <c:v>2.2570000000000001</c:v>
                </c:pt>
                <c:pt idx="2258">
                  <c:v>2.258</c:v>
                </c:pt>
                <c:pt idx="2259">
                  <c:v>2.2589999999999999</c:v>
                </c:pt>
                <c:pt idx="2260">
                  <c:v>2.2599999999999998</c:v>
                </c:pt>
                <c:pt idx="2261">
                  <c:v>2.2610000000000001</c:v>
                </c:pt>
                <c:pt idx="2262">
                  <c:v>2.262</c:v>
                </c:pt>
                <c:pt idx="2263">
                  <c:v>2.2629999999999999</c:v>
                </c:pt>
                <c:pt idx="2264">
                  <c:v>2.2639999999999998</c:v>
                </c:pt>
                <c:pt idx="2265">
                  <c:v>2.2650000000000001</c:v>
                </c:pt>
                <c:pt idx="2266">
                  <c:v>2.266</c:v>
                </c:pt>
                <c:pt idx="2267">
                  <c:v>2.2669999999999999</c:v>
                </c:pt>
                <c:pt idx="2268">
                  <c:v>2.2679999999999998</c:v>
                </c:pt>
                <c:pt idx="2269">
                  <c:v>2.2690000000000001</c:v>
                </c:pt>
                <c:pt idx="2270">
                  <c:v>2.27</c:v>
                </c:pt>
                <c:pt idx="2271">
                  <c:v>2.2709999999999999</c:v>
                </c:pt>
                <c:pt idx="2272">
                  <c:v>2.2719999999999998</c:v>
                </c:pt>
                <c:pt idx="2273">
                  <c:v>2.2730000000000001</c:v>
                </c:pt>
                <c:pt idx="2274">
                  <c:v>2.274</c:v>
                </c:pt>
                <c:pt idx="2275">
                  <c:v>2.2749999999999999</c:v>
                </c:pt>
                <c:pt idx="2276">
                  <c:v>2.2759999999999998</c:v>
                </c:pt>
                <c:pt idx="2277">
                  <c:v>2.2770000000000001</c:v>
                </c:pt>
                <c:pt idx="2278">
                  <c:v>2.278</c:v>
                </c:pt>
                <c:pt idx="2279">
                  <c:v>2.2789999999999999</c:v>
                </c:pt>
                <c:pt idx="2280">
                  <c:v>2.2799999999999998</c:v>
                </c:pt>
                <c:pt idx="2281">
                  <c:v>2.2810000000000001</c:v>
                </c:pt>
                <c:pt idx="2282">
                  <c:v>2.282</c:v>
                </c:pt>
                <c:pt idx="2283">
                  <c:v>2.2829999999999999</c:v>
                </c:pt>
                <c:pt idx="2284">
                  <c:v>2.2839999999999998</c:v>
                </c:pt>
                <c:pt idx="2285">
                  <c:v>2.2850000000000001</c:v>
                </c:pt>
                <c:pt idx="2286">
                  <c:v>2.286</c:v>
                </c:pt>
                <c:pt idx="2287">
                  <c:v>2.2869999999999999</c:v>
                </c:pt>
                <c:pt idx="2288">
                  <c:v>2.2879999999999998</c:v>
                </c:pt>
                <c:pt idx="2289">
                  <c:v>2.2890000000000001</c:v>
                </c:pt>
                <c:pt idx="2290">
                  <c:v>2.29</c:v>
                </c:pt>
                <c:pt idx="2291">
                  <c:v>2.2909999999999999</c:v>
                </c:pt>
                <c:pt idx="2292">
                  <c:v>2.2919999999999998</c:v>
                </c:pt>
                <c:pt idx="2293">
                  <c:v>2.2930000000000001</c:v>
                </c:pt>
                <c:pt idx="2294">
                  <c:v>2.294</c:v>
                </c:pt>
                <c:pt idx="2295">
                  <c:v>2.2949999999999999</c:v>
                </c:pt>
                <c:pt idx="2296">
                  <c:v>2.2959999999999998</c:v>
                </c:pt>
                <c:pt idx="2297">
                  <c:v>2.2970000000000002</c:v>
                </c:pt>
                <c:pt idx="2298">
                  <c:v>2.298</c:v>
                </c:pt>
                <c:pt idx="2299">
                  <c:v>2.2989999999999999</c:v>
                </c:pt>
                <c:pt idx="2300">
                  <c:v>2.2999999999999998</c:v>
                </c:pt>
                <c:pt idx="2301">
                  <c:v>2.3010000000000002</c:v>
                </c:pt>
                <c:pt idx="2302">
                  <c:v>2.302</c:v>
                </c:pt>
                <c:pt idx="2303">
                  <c:v>2.3029999999999999</c:v>
                </c:pt>
                <c:pt idx="2304">
                  <c:v>2.3039999999999998</c:v>
                </c:pt>
                <c:pt idx="2305">
                  <c:v>2.3050000000000002</c:v>
                </c:pt>
                <c:pt idx="2306">
                  <c:v>2.306</c:v>
                </c:pt>
                <c:pt idx="2307">
                  <c:v>2.3069999999999999</c:v>
                </c:pt>
                <c:pt idx="2308">
                  <c:v>2.3079999999999998</c:v>
                </c:pt>
                <c:pt idx="2309">
                  <c:v>2.3090000000000002</c:v>
                </c:pt>
                <c:pt idx="2310">
                  <c:v>2.31</c:v>
                </c:pt>
                <c:pt idx="2311">
                  <c:v>2.3109999999999999</c:v>
                </c:pt>
                <c:pt idx="2312">
                  <c:v>2.3119999999999998</c:v>
                </c:pt>
                <c:pt idx="2313">
                  <c:v>2.3130000000000002</c:v>
                </c:pt>
                <c:pt idx="2314">
                  <c:v>2.3140000000000001</c:v>
                </c:pt>
                <c:pt idx="2315">
                  <c:v>2.3149999999999999</c:v>
                </c:pt>
                <c:pt idx="2316">
                  <c:v>2.3159999999999998</c:v>
                </c:pt>
                <c:pt idx="2317">
                  <c:v>2.3170000000000002</c:v>
                </c:pt>
                <c:pt idx="2318">
                  <c:v>2.3180000000000001</c:v>
                </c:pt>
                <c:pt idx="2319">
                  <c:v>2.319</c:v>
                </c:pt>
                <c:pt idx="2320">
                  <c:v>2.3199999999999998</c:v>
                </c:pt>
                <c:pt idx="2321">
                  <c:v>2.3210000000000002</c:v>
                </c:pt>
                <c:pt idx="2322">
                  <c:v>2.3220000000000001</c:v>
                </c:pt>
                <c:pt idx="2323">
                  <c:v>2.323</c:v>
                </c:pt>
                <c:pt idx="2324">
                  <c:v>2.3239999999999998</c:v>
                </c:pt>
                <c:pt idx="2325">
                  <c:v>2.3250000000000002</c:v>
                </c:pt>
                <c:pt idx="2326">
                  <c:v>2.3260000000000001</c:v>
                </c:pt>
                <c:pt idx="2327">
                  <c:v>2.327</c:v>
                </c:pt>
                <c:pt idx="2328">
                  <c:v>2.3279999999999998</c:v>
                </c:pt>
                <c:pt idx="2329">
                  <c:v>2.3290000000000002</c:v>
                </c:pt>
                <c:pt idx="2330">
                  <c:v>2.33</c:v>
                </c:pt>
                <c:pt idx="2331">
                  <c:v>2.331</c:v>
                </c:pt>
                <c:pt idx="2332">
                  <c:v>2.3319999999999999</c:v>
                </c:pt>
                <c:pt idx="2333">
                  <c:v>2.3330000000000002</c:v>
                </c:pt>
                <c:pt idx="2334">
                  <c:v>2.3340000000000001</c:v>
                </c:pt>
                <c:pt idx="2335">
                  <c:v>2.335</c:v>
                </c:pt>
                <c:pt idx="2336">
                  <c:v>2.3359999999999999</c:v>
                </c:pt>
                <c:pt idx="2337">
                  <c:v>2.3370000000000002</c:v>
                </c:pt>
                <c:pt idx="2338">
                  <c:v>2.3380000000000001</c:v>
                </c:pt>
                <c:pt idx="2339">
                  <c:v>2.339</c:v>
                </c:pt>
                <c:pt idx="2340">
                  <c:v>2.34</c:v>
                </c:pt>
                <c:pt idx="2341">
                  <c:v>2.3410000000000002</c:v>
                </c:pt>
                <c:pt idx="2342">
                  <c:v>2.3420000000000001</c:v>
                </c:pt>
                <c:pt idx="2343">
                  <c:v>2.343</c:v>
                </c:pt>
                <c:pt idx="2344">
                  <c:v>2.3439999999999999</c:v>
                </c:pt>
                <c:pt idx="2345">
                  <c:v>2.3450000000000002</c:v>
                </c:pt>
                <c:pt idx="2346">
                  <c:v>2.3460000000000001</c:v>
                </c:pt>
                <c:pt idx="2347">
                  <c:v>2.347</c:v>
                </c:pt>
                <c:pt idx="2348">
                  <c:v>2.3479999999999999</c:v>
                </c:pt>
                <c:pt idx="2349">
                  <c:v>2.3490000000000002</c:v>
                </c:pt>
                <c:pt idx="2350">
                  <c:v>2.35</c:v>
                </c:pt>
                <c:pt idx="2351">
                  <c:v>2.351</c:v>
                </c:pt>
                <c:pt idx="2352">
                  <c:v>2.3519999999999999</c:v>
                </c:pt>
                <c:pt idx="2353">
                  <c:v>2.3530000000000002</c:v>
                </c:pt>
                <c:pt idx="2354">
                  <c:v>2.3540000000000001</c:v>
                </c:pt>
                <c:pt idx="2355">
                  <c:v>2.355</c:v>
                </c:pt>
                <c:pt idx="2356">
                  <c:v>2.3559999999999999</c:v>
                </c:pt>
                <c:pt idx="2357">
                  <c:v>2.3570000000000002</c:v>
                </c:pt>
                <c:pt idx="2358">
                  <c:v>2.3580000000000001</c:v>
                </c:pt>
                <c:pt idx="2359">
                  <c:v>2.359</c:v>
                </c:pt>
                <c:pt idx="2360">
                  <c:v>2.36</c:v>
                </c:pt>
                <c:pt idx="2361">
                  <c:v>2.3610000000000002</c:v>
                </c:pt>
                <c:pt idx="2362">
                  <c:v>2.3620000000000001</c:v>
                </c:pt>
                <c:pt idx="2363">
                  <c:v>2.363</c:v>
                </c:pt>
                <c:pt idx="2364">
                  <c:v>2.3639999999999999</c:v>
                </c:pt>
                <c:pt idx="2365">
                  <c:v>2.3650000000000002</c:v>
                </c:pt>
                <c:pt idx="2366">
                  <c:v>2.3660000000000001</c:v>
                </c:pt>
                <c:pt idx="2367">
                  <c:v>2.367</c:v>
                </c:pt>
                <c:pt idx="2368">
                  <c:v>2.3679999999999999</c:v>
                </c:pt>
                <c:pt idx="2369">
                  <c:v>2.3690000000000002</c:v>
                </c:pt>
                <c:pt idx="2370">
                  <c:v>2.37</c:v>
                </c:pt>
                <c:pt idx="2371">
                  <c:v>2.371</c:v>
                </c:pt>
                <c:pt idx="2372">
                  <c:v>2.3719999999999999</c:v>
                </c:pt>
                <c:pt idx="2373">
                  <c:v>2.3730000000000002</c:v>
                </c:pt>
                <c:pt idx="2374">
                  <c:v>2.3740000000000001</c:v>
                </c:pt>
                <c:pt idx="2375">
                  <c:v>2.375</c:v>
                </c:pt>
                <c:pt idx="2376">
                  <c:v>2.3759999999999999</c:v>
                </c:pt>
                <c:pt idx="2377">
                  <c:v>2.3769999999999998</c:v>
                </c:pt>
                <c:pt idx="2378">
                  <c:v>2.3780000000000001</c:v>
                </c:pt>
                <c:pt idx="2379">
                  <c:v>2.379</c:v>
                </c:pt>
                <c:pt idx="2380">
                  <c:v>2.38</c:v>
                </c:pt>
                <c:pt idx="2381">
                  <c:v>2.3809999999999998</c:v>
                </c:pt>
                <c:pt idx="2382">
                  <c:v>2.3820000000000001</c:v>
                </c:pt>
                <c:pt idx="2383">
                  <c:v>2.383</c:v>
                </c:pt>
                <c:pt idx="2384">
                  <c:v>2.3839999999999999</c:v>
                </c:pt>
                <c:pt idx="2385">
                  <c:v>2.3849999999999998</c:v>
                </c:pt>
                <c:pt idx="2386">
                  <c:v>2.3860000000000001</c:v>
                </c:pt>
                <c:pt idx="2387">
                  <c:v>2.387</c:v>
                </c:pt>
                <c:pt idx="2388">
                  <c:v>2.3879999999999999</c:v>
                </c:pt>
                <c:pt idx="2389">
                  <c:v>2.3889999999999998</c:v>
                </c:pt>
                <c:pt idx="2390">
                  <c:v>2.39</c:v>
                </c:pt>
                <c:pt idx="2391">
                  <c:v>2.391</c:v>
                </c:pt>
                <c:pt idx="2392">
                  <c:v>2.3919999999999999</c:v>
                </c:pt>
                <c:pt idx="2393">
                  <c:v>2.3929999999999998</c:v>
                </c:pt>
                <c:pt idx="2394">
                  <c:v>2.3940000000000001</c:v>
                </c:pt>
                <c:pt idx="2395">
                  <c:v>2.395</c:v>
                </c:pt>
                <c:pt idx="2396">
                  <c:v>2.3959999999999999</c:v>
                </c:pt>
                <c:pt idx="2397">
                  <c:v>2.3969999999999998</c:v>
                </c:pt>
                <c:pt idx="2398">
                  <c:v>2.3980000000000001</c:v>
                </c:pt>
                <c:pt idx="2399">
                  <c:v>2.399</c:v>
                </c:pt>
                <c:pt idx="2400">
                  <c:v>2.4</c:v>
                </c:pt>
                <c:pt idx="2401">
                  <c:v>2.4009999999999998</c:v>
                </c:pt>
                <c:pt idx="2402">
                  <c:v>2.4020000000000001</c:v>
                </c:pt>
                <c:pt idx="2403">
                  <c:v>2.403</c:v>
                </c:pt>
                <c:pt idx="2404">
                  <c:v>2.4039999999999999</c:v>
                </c:pt>
                <c:pt idx="2405">
                  <c:v>2.4049999999999998</c:v>
                </c:pt>
                <c:pt idx="2406">
                  <c:v>2.4060000000000001</c:v>
                </c:pt>
                <c:pt idx="2407">
                  <c:v>2.407</c:v>
                </c:pt>
                <c:pt idx="2408">
                  <c:v>2.4079999999999999</c:v>
                </c:pt>
                <c:pt idx="2409">
                  <c:v>2.4089999999999998</c:v>
                </c:pt>
                <c:pt idx="2410">
                  <c:v>2.41</c:v>
                </c:pt>
                <c:pt idx="2411">
                  <c:v>2.411</c:v>
                </c:pt>
                <c:pt idx="2412">
                  <c:v>2.4119999999999999</c:v>
                </c:pt>
                <c:pt idx="2413">
                  <c:v>2.4129999999999998</c:v>
                </c:pt>
                <c:pt idx="2414">
                  <c:v>2.4140000000000001</c:v>
                </c:pt>
                <c:pt idx="2415">
                  <c:v>2.415</c:v>
                </c:pt>
                <c:pt idx="2416">
                  <c:v>2.4159999999999999</c:v>
                </c:pt>
                <c:pt idx="2417">
                  <c:v>2.4169999999999998</c:v>
                </c:pt>
                <c:pt idx="2418">
                  <c:v>2.4180000000000001</c:v>
                </c:pt>
                <c:pt idx="2419">
                  <c:v>2.419</c:v>
                </c:pt>
                <c:pt idx="2420">
                  <c:v>2.42</c:v>
                </c:pt>
                <c:pt idx="2421">
                  <c:v>2.4209999999999998</c:v>
                </c:pt>
                <c:pt idx="2422">
                  <c:v>2.4220000000000002</c:v>
                </c:pt>
                <c:pt idx="2423">
                  <c:v>2.423</c:v>
                </c:pt>
                <c:pt idx="2424">
                  <c:v>2.4239999999999999</c:v>
                </c:pt>
                <c:pt idx="2425">
                  <c:v>2.4249999999999998</c:v>
                </c:pt>
                <c:pt idx="2426">
                  <c:v>2.4260000000000002</c:v>
                </c:pt>
                <c:pt idx="2427">
                  <c:v>2.427</c:v>
                </c:pt>
                <c:pt idx="2428">
                  <c:v>2.4279999999999999</c:v>
                </c:pt>
                <c:pt idx="2429">
                  <c:v>2.4289999999999998</c:v>
                </c:pt>
                <c:pt idx="2430">
                  <c:v>2.4300000000000002</c:v>
                </c:pt>
                <c:pt idx="2431">
                  <c:v>2.431</c:v>
                </c:pt>
                <c:pt idx="2432">
                  <c:v>2.4319999999999999</c:v>
                </c:pt>
                <c:pt idx="2433">
                  <c:v>2.4329999999999998</c:v>
                </c:pt>
                <c:pt idx="2434">
                  <c:v>2.4340000000000002</c:v>
                </c:pt>
                <c:pt idx="2435">
                  <c:v>2.4350000000000001</c:v>
                </c:pt>
                <c:pt idx="2436">
                  <c:v>2.4359999999999999</c:v>
                </c:pt>
                <c:pt idx="2437">
                  <c:v>2.4369999999999998</c:v>
                </c:pt>
                <c:pt idx="2438">
                  <c:v>2.4380000000000002</c:v>
                </c:pt>
                <c:pt idx="2439">
                  <c:v>2.4390000000000001</c:v>
                </c:pt>
                <c:pt idx="2440">
                  <c:v>2.44</c:v>
                </c:pt>
                <c:pt idx="2441">
                  <c:v>2.4409999999999998</c:v>
                </c:pt>
                <c:pt idx="2442">
                  <c:v>2.4420000000000002</c:v>
                </c:pt>
                <c:pt idx="2443">
                  <c:v>2.4430000000000001</c:v>
                </c:pt>
                <c:pt idx="2444">
                  <c:v>2.444</c:v>
                </c:pt>
                <c:pt idx="2445">
                  <c:v>2.4449999999999998</c:v>
                </c:pt>
                <c:pt idx="2446">
                  <c:v>2.4460000000000002</c:v>
                </c:pt>
                <c:pt idx="2447">
                  <c:v>2.4470000000000001</c:v>
                </c:pt>
                <c:pt idx="2448">
                  <c:v>2.448</c:v>
                </c:pt>
                <c:pt idx="2449">
                  <c:v>2.4489999999999998</c:v>
                </c:pt>
                <c:pt idx="2450">
                  <c:v>2.4500000000000002</c:v>
                </c:pt>
                <c:pt idx="2451">
                  <c:v>2.4510000000000001</c:v>
                </c:pt>
                <c:pt idx="2452">
                  <c:v>2.452</c:v>
                </c:pt>
                <c:pt idx="2453">
                  <c:v>2.4529999999999998</c:v>
                </c:pt>
                <c:pt idx="2454">
                  <c:v>2.4540000000000002</c:v>
                </c:pt>
                <c:pt idx="2455">
                  <c:v>2.4550000000000001</c:v>
                </c:pt>
                <c:pt idx="2456">
                  <c:v>2.456</c:v>
                </c:pt>
                <c:pt idx="2457">
                  <c:v>2.4569999999999999</c:v>
                </c:pt>
                <c:pt idx="2458">
                  <c:v>2.4580000000000002</c:v>
                </c:pt>
                <c:pt idx="2459">
                  <c:v>2.4590000000000001</c:v>
                </c:pt>
                <c:pt idx="2460">
                  <c:v>2.46</c:v>
                </c:pt>
                <c:pt idx="2461">
                  <c:v>2.4609999999999999</c:v>
                </c:pt>
                <c:pt idx="2462">
                  <c:v>2.4620000000000002</c:v>
                </c:pt>
                <c:pt idx="2463">
                  <c:v>2.4630000000000001</c:v>
                </c:pt>
                <c:pt idx="2464">
                  <c:v>2.464</c:v>
                </c:pt>
                <c:pt idx="2465">
                  <c:v>2.4649999999999999</c:v>
                </c:pt>
                <c:pt idx="2466">
                  <c:v>2.4660000000000002</c:v>
                </c:pt>
                <c:pt idx="2467">
                  <c:v>2.4670000000000001</c:v>
                </c:pt>
                <c:pt idx="2468">
                  <c:v>2.468</c:v>
                </c:pt>
                <c:pt idx="2469">
                  <c:v>2.4689999999999999</c:v>
                </c:pt>
                <c:pt idx="2470">
                  <c:v>2.4700000000000002</c:v>
                </c:pt>
                <c:pt idx="2471">
                  <c:v>2.4710000000000001</c:v>
                </c:pt>
                <c:pt idx="2472">
                  <c:v>2.472</c:v>
                </c:pt>
                <c:pt idx="2473">
                  <c:v>2.4729999999999999</c:v>
                </c:pt>
                <c:pt idx="2474">
                  <c:v>2.4740000000000002</c:v>
                </c:pt>
                <c:pt idx="2475">
                  <c:v>2.4750000000000001</c:v>
                </c:pt>
                <c:pt idx="2476">
                  <c:v>2.476</c:v>
                </c:pt>
                <c:pt idx="2477">
                  <c:v>2.4769999999999999</c:v>
                </c:pt>
                <c:pt idx="2478">
                  <c:v>2.4780000000000002</c:v>
                </c:pt>
                <c:pt idx="2479">
                  <c:v>2.4790000000000001</c:v>
                </c:pt>
                <c:pt idx="2480">
                  <c:v>2.48</c:v>
                </c:pt>
                <c:pt idx="2481">
                  <c:v>2.4809999999999999</c:v>
                </c:pt>
                <c:pt idx="2482">
                  <c:v>2.4820000000000002</c:v>
                </c:pt>
                <c:pt idx="2483">
                  <c:v>2.4830000000000001</c:v>
                </c:pt>
                <c:pt idx="2484">
                  <c:v>2.484</c:v>
                </c:pt>
                <c:pt idx="2485">
                  <c:v>2.4849999999999999</c:v>
                </c:pt>
                <c:pt idx="2486">
                  <c:v>2.4860000000000002</c:v>
                </c:pt>
                <c:pt idx="2487">
                  <c:v>2.4870000000000001</c:v>
                </c:pt>
                <c:pt idx="2488">
                  <c:v>2.488</c:v>
                </c:pt>
                <c:pt idx="2489">
                  <c:v>2.4889999999999999</c:v>
                </c:pt>
                <c:pt idx="2490">
                  <c:v>2.4900000000000002</c:v>
                </c:pt>
                <c:pt idx="2491">
                  <c:v>2.4910000000000001</c:v>
                </c:pt>
                <c:pt idx="2492">
                  <c:v>2.492</c:v>
                </c:pt>
                <c:pt idx="2493">
                  <c:v>2.4929999999999999</c:v>
                </c:pt>
                <c:pt idx="2494">
                  <c:v>2.4940000000000002</c:v>
                </c:pt>
                <c:pt idx="2495">
                  <c:v>2.4950000000000001</c:v>
                </c:pt>
                <c:pt idx="2496">
                  <c:v>2.496</c:v>
                </c:pt>
                <c:pt idx="2497">
                  <c:v>2.4969999999999999</c:v>
                </c:pt>
                <c:pt idx="2498">
                  <c:v>2.4980000000000002</c:v>
                </c:pt>
                <c:pt idx="2499">
                  <c:v>2.4990000000000001</c:v>
                </c:pt>
                <c:pt idx="2500">
                  <c:v>2.5</c:v>
                </c:pt>
                <c:pt idx="2501">
                  <c:v>2.5009999999999999</c:v>
                </c:pt>
                <c:pt idx="2502">
                  <c:v>2.5019999999999998</c:v>
                </c:pt>
                <c:pt idx="2503">
                  <c:v>2.5030000000000001</c:v>
                </c:pt>
                <c:pt idx="2504">
                  <c:v>2.504</c:v>
                </c:pt>
                <c:pt idx="2505">
                  <c:v>2.5049999999999999</c:v>
                </c:pt>
                <c:pt idx="2506">
                  <c:v>2.5059999999999998</c:v>
                </c:pt>
                <c:pt idx="2507">
                  <c:v>2.5070000000000001</c:v>
                </c:pt>
                <c:pt idx="2508">
                  <c:v>2.508</c:v>
                </c:pt>
                <c:pt idx="2509">
                  <c:v>2.5089999999999999</c:v>
                </c:pt>
                <c:pt idx="2510">
                  <c:v>2.5099999999999998</c:v>
                </c:pt>
                <c:pt idx="2511">
                  <c:v>2.5110000000000001</c:v>
                </c:pt>
                <c:pt idx="2512">
                  <c:v>2.512</c:v>
                </c:pt>
                <c:pt idx="2513">
                  <c:v>2.5129999999999999</c:v>
                </c:pt>
                <c:pt idx="2514">
                  <c:v>2.5139999999999998</c:v>
                </c:pt>
                <c:pt idx="2515">
                  <c:v>2.5150000000000001</c:v>
                </c:pt>
                <c:pt idx="2516">
                  <c:v>2.516</c:v>
                </c:pt>
                <c:pt idx="2517">
                  <c:v>2.5169999999999999</c:v>
                </c:pt>
                <c:pt idx="2518">
                  <c:v>2.5179999999999998</c:v>
                </c:pt>
                <c:pt idx="2519">
                  <c:v>2.5190000000000001</c:v>
                </c:pt>
                <c:pt idx="2520">
                  <c:v>2.52</c:v>
                </c:pt>
                <c:pt idx="2521">
                  <c:v>2.5209999999999999</c:v>
                </c:pt>
                <c:pt idx="2522">
                  <c:v>2.5219999999999998</c:v>
                </c:pt>
                <c:pt idx="2523">
                  <c:v>2.5230000000000001</c:v>
                </c:pt>
                <c:pt idx="2524">
                  <c:v>2.524</c:v>
                </c:pt>
                <c:pt idx="2525">
                  <c:v>2.5249999999999999</c:v>
                </c:pt>
                <c:pt idx="2526">
                  <c:v>2.5259999999999998</c:v>
                </c:pt>
                <c:pt idx="2527">
                  <c:v>2.5270000000000001</c:v>
                </c:pt>
                <c:pt idx="2528">
                  <c:v>2.528</c:v>
                </c:pt>
                <c:pt idx="2529">
                  <c:v>2.5289999999999999</c:v>
                </c:pt>
                <c:pt idx="2530">
                  <c:v>2.5299999999999998</c:v>
                </c:pt>
                <c:pt idx="2531">
                  <c:v>2.5310000000000001</c:v>
                </c:pt>
                <c:pt idx="2532">
                  <c:v>2.532</c:v>
                </c:pt>
                <c:pt idx="2533">
                  <c:v>2.5329999999999999</c:v>
                </c:pt>
                <c:pt idx="2534">
                  <c:v>2.5339999999999998</c:v>
                </c:pt>
                <c:pt idx="2535">
                  <c:v>2.5350000000000001</c:v>
                </c:pt>
                <c:pt idx="2536">
                  <c:v>2.536</c:v>
                </c:pt>
                <c:pt idx="2537">
                  <c:v>2.5369999999999999</c:v>
                </c:pt>
                <c:pt idx="2538">
                  <c:v>2.5379999999999998</c:v>
                </c:pt>
                <c:pt idx="2539">
                  <c:v>2.5390000000000001</c:v>
                </c:pt>
                <c:pt idx="2540">
                  <c:v>2.54</c:v>
                </c:pt>
                <c:pt idx="2541">
                  <c:v>2.5409999999999999</c:v>
                </c:pt>
                <c:pt idx="2542">
                  <c:v>2.5419999999999998</c:v>
                </c:pt>
                <c:pt idx="2543">
                  <c:v>2.5430000000000001</c:v>
                </c:pt>
                <c:pt idx="2544">
                  <c:v>2.544</c:v>
                </c:pt>
                <c:pt idx="2545">
                  <c:v>2.5449999999999999</c:v>
                </c:pt>
                <c:pt idx="2546">
                  <c:v>2.5459999999999998</c:v>
                </c:pt>
                <c:pt idx="2547">
                  <c:v>2.5470000000000002</c:v>
                </c:pt>
                <c:pt idx="2548">
                  <c:v>2.548</c:v>
                </c:pt>
                <c:pt idx="2549">
                  <c:v>2.5489999999999999</c:v>
                </c:pt>
                <c:pt idx="2550">
                  <c:v>2.5499999999999998</c:v>
                </c:pt>
                <c:pt idx="2551">
                  <c:v>2.5510000000000002</c:v>
                </c:pt>
                <c:pt idx="2552">
                  <c:v>2.552</c:v>
                </c:pt>
                <c:pt idx="2553">
                  <c:v>2.5529999999999999</c:v>
                </c:pt>
                <c:pt idx="2554">
                  <c:v>2.5539999999999998</c:v>
                </c:pt>
                <c:pt idx="2555">
                  <c:v>2.5550000000000002</c:v>
                </c:pt>
                <c:pt idx="2556">
                  <c:v>2.556</c:v>
                </c:pt>
                <c:pt idx="2557">
                  <c:v>2.5569999999999999</c:v>
                </c:pt>
                <c:pt idx="2558">
                  <c:v>2.5579999999999998</c:v>
                </c:pt>
                <c:pt idx="2559">
                  <c:v>2.5590000000000002</c:v>
                </c:pt>
                <c:pt idx="2560">
                  <c:v>2.56</c:v>
                </c:pt>
                <c:pt idx="2561">
                  <c:v>2.5609999999999999</c:v>
                </c:pt>
                <c:pt idx="2562">
                  <c:v>2.5619999999999998</c:v>
                </c:pt>
                <c:pt idx="2563">
                  <c:v>2.5630000000000002</c:v>
                </c:pt>
                <c:pt idx="2564">
                  <c:v>2.5640000000000001</c:v>
                </c:pt>
                <c:pt idx="2565">
                  <c:v>2.5649999999999999</c:v>
                </c:pt>
                <c:pt idx="2566">
                  <c:v>2.5659999999999998</c:v>
                </c:pt>
                <c:pt idx="2567">
                  <c:v>2.5670000000000002</c:v>
                </c:pt>
                <c:pt idx="2568">
                  <c:v>2.5680000000000001</c:v>
                </c:pt>
                <c:pt idx="2569">
                  <c:v>2.569</c:v>
                </c:pt>
                <c:pt idx="2570">
                  <c:v>2.57</c:v>
                </c:pt>
                <c:pt idx="2571">
                  <c:v>2.5710000000000002</c:v>
                </c:pt>
                <c:pt idx="2572">
                  <c:v>2.5720000000000001</c:v>
                </c:pt>
                <c:pt idx="2573">
                  <c:v>2.573</c:v>
                </c:pt>
                <c:pt idx="2574">
                  <c:v>2.5739999999999998</c:v>
                </c:pt>
                <c:pt idx="2575">
                  <c:v>2.5750000000000002</c:v>
                </c:pt>
                <c:pt idx="2576">
                  <c:v>2.5760000000000001</c:v>
                </c:pt>
                <c:pt idx="2577">
                  <c:v>2.577</c:v>
                </c:pt>
                <c:pt idx="2578">
                  <c:v>2.5779999999999998</c:v>
                </c:pt>
                <c:pt idx="2579">
                  <c:v>2.5790000000000002</c:v>
                </c:pt>
                <c:pt idx="2580">
                  <c:v>2.58</c:v>
                </c:pt>
                <c:pt idx="2581">
                  <c:v>2.581</c:v>
                </c:pt>
                <c:pt idx="2582">
                  <c:v>2.5819999999999999</c:v>
                </c:pt>
                <c:pt idx="2583">
                  <c:v>2.5830000000000002</c:v>
                </c:pt>
                <c:pt idx="2584">
                  <c:v>2.5840000000000001</c:v>
                </c:pt>
                <c:pt idx="2585">
                  <c:v>2.585</c:v>
                </c:pt>
                <c:pt idx="2586">
                  <c:v>2.5859999999999999</c:v>
                </c:pt>
                <c:pt idx="2587">
                  <c:v>2.5870000000000002</c:v>
                </c:pt>
                <c:pt idx="2588">
                  <c:v>2.5880000000000001</c:v>
                </c:pt>
                <c:pt idx="2589">
                  <c:v>2.589</c:v>
                </c:pt>
                <c:pt idx="2590">
                  <c:v>2.59</c:v>
                </c:pt>
                <c:pt idx="2591">
                  <c:v>2.5910000000000002</c:v>
                </c:pt>
                <c:pt idx="2592">
                  <c:v>2.5920000000000001</c:v>
                </c:pt>
                <c:pt idx="2593">
                  <c:v>2.593</c:v>
                </c:pt>
                <c:pt idx="2594">
                  <c:v>2.5939999999999999</c:v>
                </c:pt>
                <c:pt idx="2595">
                  <c:v>2.5950000000000002</c:v>
                </c:pt>
                <c:pt idx="2596">
                  <c:v>2.5960000000000001</c:v>
                </c:pt>
                <c:pt idx="2597">
                  <c:v>2.597</c:v>
                </c:pt>
                <c:pt idx="2598">
                  <c:v>2.5979999999999999</c:v>
                </c:pt>
                <c:pt idx="2599">
                  <c:v>2.5990000000000002</c:v>
                </c:pt>
                <c:pt idx="2600">
                  <c:v>2.6</c:v>
                </c:pt>
                <c:pt idx="2601">
                  <c:v>2.601</c:v>
                </c:pt>
                <c:pt idx="2602">
                  <c:v>2.6019999999999999</c:v>
                </c:pt>
                <c:pt idx="2603">
                  <c:v>2.6030000000000002</c:v>
                </c:pt>
                <c:pt idx="2604">
                  <c:v>2.6040000000000001</c:v>
                </c:pt>
                <c:pt idx="2605">
                  <c:v>2.605</c:v>
                </c:pt>
                <c:pt idx="2606">
                  <c:v>2.6059999999999999</c:v>
                </c:pt>
                <c:pt idx="2607">
                  <c:v>2.6070000000000002</c:v>
                </c:pt>
                <c:pt idx="2608">
                  <c:v>2.6080000000000001</c:v>
                </c:pt>
                <c:pt idx="2609">
                  <c:v>2.609</c:v>
                </c:pt>
                <c:pt idx="2610">
                  <c:v>2.61</c:v>
                </c:pt>
                <c:pt idx="2611">
                  <c:v>2.6110000000000002</c:v>
                </c:pt>
                <c:pt idx="2612">
                  <c:v>2.6120000000000001</c:v>
                </c:pt>
                <c:pt idx="2613">
                  <c:v>2.613</c:v>
                </c:pt>
                <c:pt idx="2614">
                  <c:v>2.6139999999999999</c:v>
                </c:pt>
                <c:pt idx="2615">
                  <c:v>2.6150000000000002</c:v>
                </c:pt>
                <c:pt idx="2616">
                  <c:v>2.6160000000000001</c:v>
                </c:pt>
                <c:pt idx="2617">
                  <c:v>2.617</c:v>
                </c:pt>
                <c:pt idx="2618">
                  <c:v>2.6179999999999999</c:v>
                </c:pt>
                <c:pt idx="2619">
                  <c:v>2.6190000000000002</c:v>
                </c:pt>
                <c:pt idx="2620">
                  <c:v>2.62</c:v>
                </c:pt>
                <c:pt idx="2621">
                  <c:v>2.621</c:v>
                </c:pt>
                <c:pt idx="2622">
                  <c:v>2.6219999999999999</c:v>
                </c:pt>
                <c:pt idx="2623">
                  <c:v>2.6230000000000002</c:v>
                </c:pt>
                <c:pt idx="2624">
                  <c:v>2.6240000000000001</c:v>
                </c:pt>
                <c:pt idx="2625">
                  <c:v>2.625</c:v>
                </c:pt>
                <c:pt idx="2626">
                  <c:v>2.6259999999999999</c:v>
                </c:pt>
                <c:pt idx="2627">
                  <c:v>2.6269999999999998</c:v>
                </c:pt>
                <c:pt idx="2628">
                  <c:v>2.6280000000000001</c:v>
                </c:pt>
                <c:pt idx="2629">
                  <c:v>2.629</c:v>
                </c:pt>
                <c:pt idx="2630">
                  <c:v>2.63</c:v>
                </c:pt>
                <c:pt idx="2631">
                  <c:v>2.6309999999999998</c:v>
                </c:pt>
                <c:pt idx="2632">
                  <c:v>2.6320000000000001</c:v>
                </c:pt>
                <c:pt idx="2633">
                  <c:v>2.633</c:v>
                </c:pt>
                <c:pt idx="2634">
                  <c:v>2.6339999999999999</c:v>
                </c:pt>
                <c:pt idx="2635">
                  <c:v>2.6349999999999998</c:v>
                </c:pt>
                <c:pt idx="2636">
                  <c:v>2.6360000000000001</c:v>
                </c:pt>
                <c:pt idx="2637">
                  <c:v>2.637</c:v>
                </c:pt>
                <c:pt idx="2638">
                  <c:v>2.6379999999999999</c:v>
                </c:pt>
                <c:pt idx="2639">
                  <c:v>2.6389999999999998</c:v>
                </c:pt>
                <c:pt idx="2640">
                  <c:v>2.64</c:v>
                </c:pt>
                <c:pt idx="2641">
                  <c:v>2.641</c:v>
                </c:pt>
                <c:pt idx="2642">
                  <c:v>2.6419999999999999</c:v>
                </c:pt>
                <c:pt idx="2643">
                  <c:v>2.6429999999999998</c:v>
                </c:pt>
                <c:pt idx="2644">
                  <c:v>2.6440000000000001</c:v>
                </c:pt>
                <c:pt idx="2645">
                  <c:v>2.645</c:v>
                </c:pt>
                <c:pt idx="2646">
                  <c:v>2.6459999999999999</c:v>
                </c:pt>
                <c:pt idx="2647">
                  <c:v>2.6469999999999998</c:v>
                </c:pt>
                <c:pt idx="2648">
                  <c:v>2.6480000000000001</c:v>
                </c:pt>
                <c:pt idx="2649">
                  <c:v>2.649</c:v>
                </c:pt>
                <c:pt idx="2650">
                  <c:v>2.65</c:v>
                </c:pt>
                <c:pt idx="2651">
                  <c:v>2.6509999999999998</c:v>
                </c:pt>
                <c:pt idx="2652">
                  <c:v>2.6520000000000001</c:v>
                </c:pt>
                <c:pt idx="2653">
                  <c:v>2.653</c:v>
                </c:pt>
                <c:pt idx="2654">
                  <c:v>2.6539999999999999</c:v>
                </c:pt>
                <c:pt idx="2655">
                  <c:v>2.6549999999999998</c:v>
                </c:pt>
                <c:pt idx="2656">
                  <c:v>2.6560000000000001</c:v>
                </c:pt>
                <c:pt idx="2657">
                  <c:v>2.657</c:v>
                </c:pt>
                <c:pt idx="2658">
                  <c:v>2.6579999999999999</c:v>
                </c:pt>
                <c:pt idx="2659">
                  <c:v>2.6589999999999998</c:v>
                </c:pt>
                <c:pt idx="2660">
                  <c:v>2.66</c:v>
                </c:pt>
                <c:pt idx="2661">
                  <c:v>2.661</c:v>
                </c:pt>
                <c:pt idx="2662">
                  <c:v>2.6619999999999999</c:v>
                </c:pt>
                <c:pt idx="2663">
                  <c:v>2.6629999999999998</c:v>
                </c:pt>
                <c:pt idx="2664">
                  <c:v>2.6640000000000001</c:v>
                </c:pt>
                <c:pt idx="2665">
                  <c:v>2.665</c:v>
                </c:pt>
                <c:pt idx="2666">
                  <c:v>2.6659999999999999</c:v>
                </c:pt>
                <c:pt idx="2667">
                  <c:v>2.6669999999999998</c:v>
                </c:pt>
                <c:pt idx="2668">
                  <c:v>2.6680000000000001</c:v>
                </c:pt>
                <c:pt idx="2669">
                  <c:v>2.669</c:v>
                </c:pt>
                <c:pt idx="2670">
                  <c:v>2.67</c:v>
                </c:pt>
                <c:pt idx="2671">
                  <c:v>2.6709999999999998</c:v>
                </c:pt>
                <c:pt idx="2672">
                  <c:v>2.6720000000000002</c:v>
                </c:pt>
                <c:pt idx="2673">
                  <c:v>2.673</c:v>
                </c:pt>
                <c:pt idx="2674">
                  <c:v>2.6739999999999999</c:v>
                </c:pt>
                <c:pt idx="2675">
                  <c:v>2.6749999999999998</c:v>
                </c:pt>
                <c:pt idx="2676">
                  <c:v>2.6760000000000002</c:v>
                </c:pt>
                <c:pt idx="2677">
                  <c:v>2.677</c:v>
                </c:pt>
                <c:pt idx="2678">
                  <c:v>2.6779999999999999</c:v>
                </c:pt>
                <c:pt idx="2679">
                  <c:v>2.6789999999999998</c:v>
                </c:pt>
                <c:pt idx="2680">
                  <c:v>2.68</c:v>
                </c:pt>
                <c:pt idx="2681">
                  <c:v>2.681</c:v>
                </c:pt>
                <c:pt idx="2682">
                  <c:v>2.6819999999999999</c:v>
                </c:pt>
                <c:pt idx="2683">
                  <c:v>2.6829999999999998</c:v>
                </c:pt>
                <c:pt idx="2684">
                  <c:v>2.6840000000000002</c:v>
                </c:pt>
                <c:pt idx="2685">
                  <c:v>2.6850000000000001</c:v>
                </c:pt>
                <c:pt idx="2686">
                  <c:v>2.6859999999999999</c:v>
                </c:pt>
                <c:pt idx="2687">
                  <c:v>2.6869999999999998</c:v>
                </c:pt>
                <c:pt idx="2688">
                  <c:v>2.6880000000000002</c:v>
                </c:pt>
                <c:pt idx="2689">
                  <c:v>2.6890000000000001</c:v>
                </c:pt>
                <c:pt idx="2690">
                  <c:v>2.69</c:v>
                </c:pt>
                <c:pt idx="2691">
                  <c:v>2.6909999999999998</c:v>
                </c:pt>
                <c:pt idx="2692">
                  <c:v>2.6920000000000002</c:v>
                </c:pt>
                <c:pt idx="2693">
                  <c:v>2.6930000000000001</c:v>
                </c:pt>
                <c:pt idx="2694">
                  <c:v>2.694</c:v>
                </c:pt>
                <c:pt idx="2695">
                  <c:v>2.6949999999999998</c:v>
                </c:pt>
                <c:pt idx="2696">
                  <c:v>2.6960000000000002</c:v>
                </c:pt>
                <c:pt idx="2697">
                  <c:v>2.6970000000000001</c:v>
                </c:pt>
                <c:pt idx="2698">
                  <c:v>2.698</c:v>
                </c:pt>
                <c:pt idx="2699">
                  <c:v>2.6989999999999998</c:v>
                </c:pt>
                <c:pt idx="2700">
                  <c:v>2.7</c:v>
                </c:pt>
                <c:pt idx="2701">
                  <c:v>2.7010000000000001</c:v>
                </c:pt>
                <c:pt idx="2702">
                  <c:v>2.702</c:v>
                </c:pt>
                <c:pt idx="2703">
                  <c:v>2.7029999999999998</c:v>
                </c:pt>
                <c:pt idx="2704">
                  <c:v>2.7040000000000002</c:v>
                </c:pt>
                <c:pt idx="2705">
                  <c:v>2.7050000000000001</c:v>
                </c:pt>
                <c:pt idx="2706">
                  <c:v>2.706</c:v>
                </c:pt>
                <c:pt idx="2707">
                  <c:v>2.7069999999999999</c:v>
                </c:pt>
                <c:pt idx="2708">
                  <c:v>2.7080000000000002</c:v>
                </c:pt>
                <c:pt idx="2709">
                  <c:v>2.7090000000000001</c:v>
                </c:pt>
                <c:pt idx="2710">
                  <c:v>2.71</c:v>
                </c:pt>
                <c:pt idx="2711">
                  <c:v>2.7109999999999999</c:v>
                </c:pt>
                <c:pt idx="2712">
                  <c:v>2.7120000000000002</c:v>
                </c:pt>
                <c:pt idx="2713">
                  <c:v>2.7130000000000001</c:v>
                </c:pt>
                <c:pt idx="2714">
                  <c:v>2.714</c:v>
                </c:pt>
                <c:pt idx="2715">
                  <c:v>2.7149999999999999</c:v>
                </c:pt>
                <c:pt idx="2716">
                  <c:v>2.7160000000000002</c:v>
                </c:pt>
                <c:pt idx="2717">
                  <c:v>2.7170000000000001</c:v>
                </c:pt>
                <c:pt idx="2718">
                  <c:v>2.718</c:v>
                </c:pt>
                <c:pt idx="2719">
                  <c:v>2.7189999999999999</c:v>
                </c:pt>
                <c:pt idx="2720">
                  <c:v>2.72</c:v>
                </c:pt>
                <c:pt idx="2721">
                  <c:v>2.7210000000000001</c:v>
                </c:pt>
                <c:pt idx="2722">
                  <c:v>2.722</c:v>
                </c:pt>
                <c:pt idx="2723">
                  <c:v>2.7229999999999999</c:v>
                </c:pt>
                <c:pt idx="2724">
                  <c:v>2.7240000000000002</c:v>
                </c:pt>
                <c:pt idx="2725">
                  <c:v>2.7250000000000001</c:v>
                </c:pt>
                <c:pt idx="2726">
                  <c:v>2.726</c:v>
                </c:pt>
                <c:pt idx="2727">
                  <c:v>2.7269999999999999</c:v>
                </c:pt>
                <c:pt idx="2728">
                  <c:v>2.7280000000000002</c:v>
                </c:pt>
                <c:pt idx="2729">
                  <c:v>2.7290000000000001</c:v>
                </c:pt>
                <c:pt idx="2730">
                  <c:v>2.73</c:v>
                </c:pt>
                <c:pt idx="2731">
                  <c:v>2.7309999999999999</c:v>
                </c:pt>
                <c:pt idx="2732">
                  <c:v>2.7320000000000002</c:v>
                </c:pt>
                <c:pt idx="2733">
                  <c:v>2.7330000000000001</c:v>
                </c:pt>
                <c:pt idx="2734">
                  <c:v>2.734</c:v>
                </c:pt>
                <c:pt idx="2735">
                  <c:v>2.7349999999999999</c:v>
                </c:pt>
                <c:pt idx="2736">
                  <c:v>2.7360000000000002</c:v>
                </c:pt>
                <c:pt idx="2737">
                  <c:v>2.7370000000000001</c:v>
                </c:pt>
                <c:pt idx="2738">
                  <c:v>2.738</c:v>
                </c:pt>
                <c:pt idx="2739">
                  <c:v>2.7389999999999999</c:v>
                </c:pt>
                <c:pt idx="2740">
                  <c:v>2.74</c:v>
                </c:pt>
                <c:pt idx="2741">
                  <c:v>2.7410000000000001</c:v>
                </c:pt>
                <c:pt idx="2742">
                  <c:v>2.742</c:v>
                </c:pt>
                <c:pt idx="2743">
                  <c:v>2.7429999999999999</c:v>
                </c:pt>
                <c:pt idx="2744">
                  <c:v>2.7440000000000002</c:v>
                </c:pt>
                <c:pt idx="2745">
                  <c:v>2.7450000000000001</c:v>
                </c:pt>
                <c:pt idx="2746">
                  <c:v>2.746</c:v>
                </c:pt>
                <c:pt idx="2747">
                  <c:v>2.7469999999999999</c:v>
                </c:pt>
                <c:pt idx="2748">
                  <c:v>2.7480000000000002</c:v>
                </c:pt>
                <c:pt idx="2749">
                  <c:v>2.7490000000000001</c:v>
                </c:pt>
                <c:pt idx="2750">
                  <c:v>2.75</c:v>
                </c:pt>
                <c:pt idx="2751">
                  <c:v>2.7509999999999999</c:v>
                </c:pt>
                <c:pt idx="2752">
                  <c:v>2.7519999999999998</c:v>
                </c:pt>
                <c:pt idx="2753">
                  <c:v>2.7530000000000001</c:v>
                </c:pt>
                <c:pt idx="2754">
                  <c:v>2.754</c:v>
                </c:pt>
                <c:pt idx="2755">
                  <c:v>2.7549999999999999</c:v>
                </c:pt>
                <c:pt idx="2756">
                  <c:v>2.7559999999999998</c:v>
                </c:pt>
                <c:pt idx="2757">
                  <c:v>2.7570000000000001</c:v>
                </c:pt>
                <c:pt idx="2758">
                  <c:v>2.758</c:v>
                </c:pt>
                <c:pt idx="2759">
                  <c:v>2.7589999999999999</c:v>
                </c:pt>
                <c:pt idx="2760">
                  <c:v>2.76</c:v>
                </c:pt>
                <c:pt idx="2761">
                  <c:v>2.7610000000000001</c:v>
                </c:pt>
                <c:pt idx="2762">
                  <c:v>2.762</c:v>
                </c:pt>
                <c:pt idx="2763">
                  <c:v>2.7629999999999999</c:v>
                </c:pt>
                <c:pt idx="2764">
                  <c:v>2.7639999999999998</c:v>
                </c:pt>
                <c:pt idx="2765">
                  <c:v>2.7650000000000001</c:v>
                </c:pt>
                <c:pt idx="2766">
                  <c:v>2.766</c:v>
                </c:pt>
                <c:pt idx="2767">
                  <c:v>2.7669999999999999</c:v>
                </c:pt>
                <c:pt idx="2768">
                  <c:v>2.7679999999999998</c:v>
                </c:pt>
                <c:pt idx="2769">
                  <c:v>2.7690000000000001</c:v>
                </c:pt>
                <c:pt idx="2770">
                  <c:v>2.77</c:v>
                </c:pt>
                <c:pt idx="2771">
                  <c:v>2.7709999999999999</c:v>
                </c:pt>
                <c:pt idx="2772">
                  <c:v>2.7719999999999998</c:v>
                </c:pt>
                <c:pt idx="2773">
                  <c:v>2.7730000000000001</c:v>
                </c:pt>
                <c:pt idx="2774">
                  <c:v>2.774</c:v>
                </c:pt>
                <c:pt idx="2775">
                  <c:v>2.7749999999999999</c:v>
                </c:pt>
                <c:pt idx="2776">
                  <c:v>2.7759999999999998</c:v>
                </c:pt>
                <c:pt idx="2777">
                  <c:v>2.7770000000000001</c:v>
                </c:pt>
                <c:pt idx="2778">
                  <c:v>2.778</c:v>
                </c:pt>
                <c:pt idx="2779">
                  <c:v>2.7789999999999999</c:v>
                </c:pt>
                <c:pt idx="2780">
                  <c:v>2.78</c:v>
                </c:pt>
                <c:pt idx="2781">
                  <c:v>2.7810000000000001</c:v>
                </c:pt>
                <c:pt idx="2782">
                  <c:v>2.782</c:v>
                </c:pt>
                <c:pt idx="2783">
                  <c:v>2.7829999999999999</c:v>
                </c:pt>
                <c:pt idx="2784">
                  <c:v>2.7839999999999998</c:v>
                </c:pt>
                <c:pt idx="2785">
                  <c:v>2.7850000000000001</c:v>
                </c:pt>
                <c:pt idx="2786">
                  <c:v>2.786</c:v>
                </c:pt>
                <c:pt idx="2787">
                  <c:v>2.7869999999999999</c:v>
                </c:pt>
                <c:pt idx="2788">
                  <c:v>2.7879999999999998</c:v>
                </c:pt>
                <c:pt idx="2789">
                  <c:v>2.7890000000000001</c:v>
                </c:pt>
                <c:pt idx="2790">
                  <c:v>2.79</c:v>
                </c:pt>
                <c:pt idx="2791">
                  <c:v>2.7909999999999999</c:v>
                </c:pt>
                <c:pt idx="2792">
                  <c:v>2.7919999999999998</c:v>
                </c:pt>
                <c:pt idx="2793">
                  <c:v>2.7930000000000001</c:v>
                </c:pt>
                <c:pt idx="2794">
                  <c:v>2.794</c:v>
                </c:pt>
                <c:pt idx="2795">
                  <c:v>2.7949999999999999</c:v>
                </c:pt>
                <c:pt idx="2796">
                  <c:v>2.7959999999999998</c:v>
                </c:pt>
                <c:pt idx="2797">
                  <c:v>2.7970000000000002</c:v>
                </c:pt>
                <c:pt idx="2798">
                  <c:v>2.798</c:v>
                </c:pt>
                <c:pt idx="2799">
                  <c:v>2.7989999999999999</c:v>
                </c:pt>
                <c:pt idx="2800">
                  <c:v>2.8</c:v>
                </c:pt>
                <c:pt idx="2801">
                  <c:v>2.8010000000000002</c:v>
                </c:pt>
                <c:pt idx="2802">
                  <c:v>2.802</c:v>
                </c:pt>
                <c:pt idx="2803">
                  <c:v>2.8029999999999999</c:v>
                </c:pt>
                <c:pt idx="2804">
                  <c:v>2.8039999999999998</c:v>
                </c:pt>
                <c:pt idx="2805">
                  <c:v>2.8050000000000002</c:v>
                </c:pt>
                <c:pt idx="2806">
                  <c:v>2.806</c:v>
                </c:pt>
                <c:pt idx="2807">
                  <c:v>2.8069999999999999</c:v>
                </c:pt>
                <c:pt idx="2808">
                  <c:v>2.8079999999999998</c:v>
                </c:pt>
                <c:pt idx="2809">
                  <c:v>2.8090000000000002</c:v>
                </c:pt>
                <c:pt idx="2810">
                  <c:v>2.81</c:v>
                </c:pt>
                <c:pt idx="2811">
                  <c:v>2.8109999999999999</c:v>
                </c:pt>
                <c:pt idx="2812">
                  <c:v>2.8119999999999998</c:v>
                </c:pt>
                <c:pt idx="2813">
                  <c:v>2.8130000000000002</c:v>
                </c:pt>
                <c:pt idx="2814">
                  <c:v>2.8140000000000001</c:v>
                </c:pt>
                <c:pt idx="2815">
                  <c:v>2.8149999999999999</c:v>
                </c:pt>
                <c:pt idx="2816">
                  <c:v>2.8159999999999998</c:v>
                </c:pt>
                <c:pt idx="2817">
                  <c:v>2.8170000000000002</c:v>
                </c:pt>
                <c:pt idx="2818">
                  <c:v>2.8180000000000001</c:v>
                </c:pt>
                <c:pt idx="2819">
                  <c:v>2.819</c:v>
                </c:pt>
                <c:pt idx="2820">
                  <c:v>2.82</c:v>
                </c:pt>
                <c:pt idx="2821">
                  <c:v>2.8210000000000002</c:v>
                </c:pt>
                <c:pt idx="2822">
                  <c:v>2.8220000000000001</c:v>
                </c:pt>
                <c:pt idx="2823">
                  <c:v>2.823</c:v>
                </c:pt>
                <c:pt idx="2824">
                  <c:v>2.8239999999999998</c:v>
                </c:pt>
                <c:pt idx="2825">
                  <c:v>2.8250000000000002</c:v>
                </c:pt>
                <c:pt idx="2826">
                  <c:v>2.8260000000000001</c:v>
                </c:pt>
                <c:pt idx="2827">
                  <c:v>2.827</c:v>
                </c:pt>
                <c:pt idx="2828">
                  <c:v>2.8279999999999998</c:v>
                </c:pt>
                <c:pt idx="2829">
                  <c:v>2.8290000000000002</c:v>
                </c:pt>
                <c:pt idx="2830">
                  <c:v>2.83</c:v>
                </c:pt>
                <c:pt idx="2831">
                  <c:v>2.831</c:v>
                </c:pt>
                <c:pt idx="2832">
                  <c:v>2.8319999999999999</c:v>
                </c:pt>
                <c:pt idx="2833">
                  <c:v>2.8330000000000002</c:v>
                </c:pt>
                <c:pt idx="2834">
                  <c:v>2.8340000000000001</c:v>
                </c:pt>
                <c:pt idx="2835">
                  <c:v>2.835</c:v>
                </c:pt>
                <c:pt idx="2836">
                  <c:v>2.8359999999999999</c:v>
                </c:pt>
                <c:pt idx="2837">
                  <c:v>2.8370000000000002</c:v>
                </c:pt>
                <c:pt idx="2838">
                  <c:v>2.8380000000000001</c:v>
                </c:pt>
                <c:pt idx="2839">
                  <c:v>2.839</c:v>
                </c:pt>
                <c:pt idx="2840">
                  <c:v>2.84</c:v>
                </c:pt>
                <c:pt idx="2841">
                  <c:v>2.8410000000000002</c:v>
                </c:pt>
                <c:pt idx="2842">
                  <c:v>2.8420000000000001</c:v>
                </c:pt>
                <c:pt idx="2843">
                  <c:v>2.843</c:v>
                </c:pt>
                <c:pt idx="2844">
                  <c:v>2.8439999999999999</c:v>
                </c:pt>
                <c:pt idx="2845">
                  <c:v>2.8450000000000002</c:v>
                </c:pt>
                <c:pt idx="2846">
                  <c:v>2.8460000000000001</c:v>
                </c:pt>
                <c:pt idx="2847">
                  <c:v>2.847</c:v>
                </c:pt>
                <c:pt idx="2848">
                  <c:v>2.8479999999999999</c:v>
                </c:pt>
                <c:pt idx="2849">
                  <c:v>2.8490000000000002</c:v>
                </c:pt>
                <c:pt idx="2850">
                  <c:v>2.85</c:v>
                </c:pt>
                <c:pt idx="2851">
                  <c:v>2.851</c:v>
                </c:pt>
                <c:pt idx="2852">
                  <c:v>2.8519999999999999</c:v>
                </c:pt>
                <c:pt idx="2853">
                  <c:v>2.8530000000000002</c:v>
                </c:pt>
                <c:pt idx="2854">
                  <c:v>2.8540000000000001</c:v>
                </c:pt>
                <c:pt idx="2855">
                  <c:v>2.855</c:v>
                </c:pt>
                <c:pt idx="2856">
                  <c:v>2.8559999999999999</c:v>
                </c:pt>
                <c:pt idx="2857">
                  <c:v>2.8570000000000002</c:v>
                </c:pt>
                <c:pt idx="2858">
                  <c:v>2.8580000000000001</c:v>
                </c:pt>
                <c:pt idx="2859">
                  <c:v>2.859</c:v>
                </c:pt>
                <c:pt idx="2860">
                  <c:v>2.86</c:v>
                </c:pt>
                <c:pt idx="2861">
                  <c:v>2.8610000000000002</c:v>
                </c:pt>
                <c:pt idx="2862">
                  <c:v>2.8620000000000001</c:v>
                </c:pt>
                <c:pt idx="2863">
                  <c:v>2.863</c:v>
                </c:pt>
                <c:pt idx="2864">
                  <c:v>2.8639999999999999</c:v>
                </c:pt>
                <c:pt idx="2865">
                  <c:v>2.8650000000000002</c:v>
                </c:pt>
                <c:pt idx="2866">
                  <c:v>2.8660000000000001</c:v>
                </c:pt>
                <c:pt idx="2867">
                  <c:v>2.867</c:v>
                </c:pt>
                <c:pt idx="2868">
                  <c:v>2.8679999999999999</c:v>
                </c:pt>
                <c:pt idx="2869">
                  <c:v>2.8690000000000002</c:v>
                </c:pt>
                <c:pt idx="2870">
                  <c:v>2.87</c:v>
                </c:pt>
                <c:pt idx="2871">
                  <c:v>2.871</c:v>
                </c:pt>
                <c:pt idx="2872">
                  <c:v>2.8719999999999999</c:v>
                </c:pt>
                <c:pt idx="2873">
                  <c:v>2.8730000000000002</c:v>
                </c:pt>
                <c:pt idx="2874">
                  <c:v>2.8740000000000001</c:v>
                </c:pt>
                <c:pt idx="2875">
                  <c:v>2.875</c:v>
                </c:pt>
                <c:pt idx="2876">
                  <c:v>2.8759999999999999</c:v>
                </c:pt>
                <c:pt idx="2877">
                  <c:v>2.8769999999999998</c:v>
                </c:pt>
                <c:pt idx="2878">
                  <c:v>2.8780000000000001</c:v>
                </c:pt>
                <c:pt idx="2879">
                  <c:v>2.879</c:v>
                </c:pt>
                <c:pt idx="2880">
                  <c:v>2.88</c:v>
                </c:pt>
                <c:pt idx="2881">
                  <c:v>2.8809999999999998</c:v>
                </c:pt>
                <c:pt idx="2882">
                  <c:v>2.8820000000000001</c:v>
                </c:pt>
                <c:pt idx="2883">
                  <c:v>2.883</c:v>
                </c:pt>
                <c:pt idx="2884">
                  <c:v>2.8839999999999999</c:v>
                </c:pt>
                <c:pt idx="2885">
                  <c:v>2.8849999999999998</c:v>
                </c:pt>
                <c:pt idx="2886">
                  <c:v>2.8860000000000001</c:v>
                </c:pt>
                <c:pt idx="2887">
                  <c:v>2.887</c:v>
                </c:pt>
                <c:pt idx="2888">
                  <c:v>2.8879999999999999</c:v>
                </c:pt>
                <c:pt idx="2889">
                  <c:v>2.8889999999999998</c:v>
                </c:pt>
                <c:pt idx="2890">
                  <c:v>2.89</c:v>
                </c:pt>
                <c:pt idx="2891">
                  <c:v>2.891</c:v>
                </c:pt>
                <c:pt idx="2892">
                  <c:v>2.8919999999999999</c:v>
                </c:pt>
                <c:pt idx="2893">
                  <c:v>2.8929999999999998</c:v>
                </c:pt>
                <c:pt idx="2894">
                  <c:v>2.8940000000000001</c:v>
                </c:pt>
                <c:pt idx="2895">
                  <c:v>2.895</c:v>
                </c:pt>
                <c:pt idx="2896">
                  <c:v>2.8959999999999999</c:v>
                </c:pt>
                <c:pt idx="2897">
                  <c:v>2.8969999999999998</c:v>
                </c:pt>
                <c:pt idx="2898">
                  <c:v>2.8980000000000001</c:v>
                </c:pt>
                <c:pt idx="2899">
                  <c:v>2.899</c:v>
                </c:pt>
                <c:pt idx="2900">
                  <c:v>2.9</c:v>
                </c:pt>
                <c:pt idx="2901">
                  <c:v>2.9009999999999998</c:v>
                </c:pt>
                <c:pt idx="2902">
                  <c:v>2.9020000000000001</c:v>
                </c:pt>
                <c:pt idx="2903">
                  <c:v>2.903</c:v>
                </c:pt>
                <c:pt idx="2904">
                  <c:v>2.9039999999999999</c:v>
                </c:pt>
                <c:pt idx="2905">
                  <c:v>2.9049999999999998</c:v>
                </c:pt>
                <c:pt idx="2906">
                  <c:v>2.9060000000000001</c:v>
                </c:pt>
                <c:pt idx="2907">
                  <c:v>2.907</c:v>
                </c:pt>
                <c:pt idx="2908">
                  <c:v>2.9079999999999999</c:v>
                </c:pt>
                <c:pt idx="2909">
                  <c:v>2.9089999999999998</c:v>
                </c:pt>
                <c:pt idx="2910">
                  <c:v>2.91</c:v>
                </c:pt>
                <c:pt idx="2911">
                  <c:v>2.911</c:v>
                </c:pt>
                <c:pt idx="2912">
                  <c:v>2.9119999999999999</c:v>
                </c:pt>
                <c:pt idx="2913">
                  <c:v>2.9129999999999998</c:v>
                </c:pt>
                <c:pt idx="2914">
                  <c:v>2.9140000000000001</c:v>
                </c:pt>
                <c:pt idx="2915">
                  <c:v>2.915</c:v>
                </c:pt>
                <c:pt idx="2916">
                  <c:v>2.9159999999999999</c:v>
                </c:pt>
                <c:pt idx="2917">
                  <c:v>2.9169999999999998</c:v>
                </c:pt>
                <c:pt idx="2918">
                  <c:v>2.9180000000000001</c:v>
                </c:pt>
                <c:pt idx="2919">
                  <c:v>2.919</c:v>
                </c:pt>
                <c:pt idx="2920">
                  <c:v>2.92</c:v>
                </c:pt>
                <c:pt idx="2921">
                  <c:v>2.9209999999999998</c:v>
                </c:pt>
                <c:pt idx="2922">
                  <c:v>2.9220000000000002</c:v>
                </c:pt>
                <c:pt idx="2923">
                  <c:v>2.923</c:v>
                </c:pt>
                <c:pt idx="2924">
                  <c:v>2.9239999999999999</c:v>
                </c:pt>
                <c:pt idx="2925">
                  <c:v>2.9249999999999998</c:v>
                </c:pt>
                <c:pt idx="2926">
                  <c:v>2.9260000000000002</c:v>
                </c:pt>
                <c:pt idx="2927">
                  <c:v>2.927</c:v>
                </c:pt>
                <c:pt idx="2928">
                  <c:v>2.9279999999999999</c:v>
                </c:pt>
                <c:pt idx="2929">
                  <c:v>2.9289999999999998</c:v>
                </c:pt>
                <c:pt idx="2930">
                  <c:v>2.93</c:v>
                </c:pt>
                <c:pt idx="2931">
                  <c:v>2.931</c:v>
                </c:pt>
                <c:pt idx="2932">
                  <c:v>2.9319999999999999</c:v>
                </c:pt>
                <c:pt idx="2933">
                  <c:v>2.9329999999999998</c:v>
                </c:pt>
                <c:pt idx="2934">
                  <c:v>2.9340000000000002</c:v>
                </c:pt>
                <c:pt idx="2935">
                  <c:v>2.9350000000000001</c:v>
                </c:pt>
                <c:pt idx="2936">
                  <c:v>2.9359999999999999</c:v>
                </c:pt>
                <c:pt idx="2937">
                  <c:v>2.9369999999999998</c:v>
                </c:pt>
                <c:pt idx="2938">
                  <c:v>2.9380000000000002</c:v>
                </c:pt>
                <c:pt idx="2939">
                  <c:v>2.9390000000000001</c:v>
                </c:pt>
                <c:pt idx="2940">
                  <c:v>2.94</c:v>
                </c:pt>
                <c:pt idx="2941">
                  <c:v>2.9409999999999998</c:v>
                </c:pt>
                <c:pt idx="2942">
                  <c:v>2.9420000000000002</c:v>
                </c:pt>
                <c:pt idx="2943">
                  <c:v>2.9430000000000001</c:v>
                </c:pt>
                <c:pt idx="2944">
                  <c:v>2.944</c:v>
                </c:pt>
                <c:pt idx="2945">
                  <c:v>2.9449999999999998</c:v>
                </c:pt>
                <c:pt idx="2946">
                  <c:v>2.9460000000000002</c:v>
                </c:pt>
                <c:pt idx="2947">
                  <c:v>2.9470000000000001</c:v>
                </c:pt>
                <c:pt idx="2948">
                  <c:v>2.948</c:v>
                </c:pt>
                <c:pt idx="2949">
                  <c:v>2.9489999999999998</c:v>
                </c:pt>
                <c:pt idx="2950">
                  <c:v>2.95</c:v>
                </c:pt>
                <c:pt idx="2951">
                  <c:v>2.9510000000000001</c:v>
                </c:pt>
                <c:pt idx="2952">
                  <c:v>2.952</c:v>
                </c:pt>
                <c:pt idx="2953">
                  <c:v>2.9529999999999998</c:v>
                </c:pt>
                <c:pt idx="2954">
                  <c:v>2.9540000000000002</c:v>
                </c:pt>
                <c:pt idx="2955">
                  <c:v>2.9550000000000001</c:v>
                </c:pt>
                <c:pt idx="2956">
                  <c:v>2.956</c:v>
                </c:pt>
                <c:pt idx="2957">
                  <c:v>2.9569999999999999</c:v>
                </c:pt>
                <c:pt idx="2958">
                  <c:v>2.9580000000000002</c:v>
                </c:pt>
                <c:pt idx="2959">
                  <c:v>2.9590000000000001</c:v>
                </c:pt>
                <c:pt idx="2960">
                  <c:v>2.96</c:v>
                </c:pt>
                <c:pt idx="2961">
                  <c:v>2.9609999999999999</c:v>
                </c:pt>
                <c:pt idx="2962">
                  <c:v>2.9620000000000002</c:v>
                </c:pt>
                <c:pt idx="2963">
                  <c:v>2.9630000000000001</c:v>
                </c:pt>
                <c:pt idx="2964">
                  <c:v>2.964</c:v>
                </c:pt>
                <c:pt idx="2965">
                  <c:v>2.9649999999999999</c:v>
                </c:pt>
                <c:pt idx="2966">
                  <c:v>2.9660000000000002</c:v>
                </c:pt>
                <c:pt idx="2967">
                  <c:v>2.9670000000000001</c:v>
                </c:pt>
                <c:pt idx="2968">
                  <c:v>2.968</c:v>
                </c:pt>
                <c:pt idx="2969">
                  <c:v>2.9689999999999999</c:v>
                </c:pt>
                <c:pt idx="2970">
                  <c:v>2.97</c:v>
                </c:pt>
                <c:pt idx="2971">
                  <c:v>2.9710000000000001</c:v>
                </c:pt>
                <c:pt idx="2972">
                  <c:v>2.972</c:v>
                </c:pt>
                <c:pt idx="2973">
                  <c:v>2.9729999999999999</c:v>
                </c:pt>
                <c:pt idx="2974">
                  <c:v>2.9740000000000002</c:v>
                </c:pt>
                <c:pt idx="2975">
                  <c:v>2.9750000000000001</c:v>
                </c:pt>
                <c:pt idx="2976">
                  <c:v>2.976</c:v>
                </c:pt>
                <c:pt idx="2977">
                  <c:v>2.9769999999999999</c:v>
                </c:pt>
                <c:pt idx="2978">
                  <c:v>2.9780000000000002</c:v>
                </c:pt>
                <c:pt idx="2979">
                  <c:v>2.9790000000000001</c:v>
                </c:pt>
                <c:pt idx="2980">
                  <c:v>2.98</c:v>
                </c:pt>
                <c:pt idx="2981">
                  <c:v>2.9809999999999999</c:v>
                </c:pt>
                <c:pt idx="2982">
                  <c:v>2.9820000000000002</c:v>
                </c:pt>
                <c:pt idx="2983">
                  <c:v>2.9830000000000001</c:v>
                </c:pt>
                <c:pt idx="2984">
                  <c:v>2.984</c:v>
                </c:pt>
                <c:pt idx="2985">
                  <c:v>2.9849999999999999</c:v>
                </c:pt>
                <c:pt idx="2986">
                  <c:v>2.9860000000000002</c:v>
                </c:pt>
                <c:pt idx="2987">
                  <c:v>2.9870000000000001</c:v>
                </c:pt>
                <c:pt idx="2988">
                  <c:v>2.988</c:v>
                </c:pt>
                <c:pt idx="2989">
                  <c:v>2.9889999999999999</c:v>
                </c:pt>
                <c:pt idx="2990">
                  <c:v>2.99</c:v>
                </c:pt>
                <c:pt idx="2991">
                  <c:v>2.9910000000000001</c:v>
                </c:pt>
                <c:pt idx="2992">
                  <c:v>2.992</c:v>
                </c:pt>
                <c:pt idx="2993">
                  <c:v>2.9929999999999999</c:v>
                </c:pt>
                <c:pt idx="2994">
                  <c:v>2.9940000000000002</c:v>
                </c:pt>
                <c:pt idx="2995">
                  <c:v>2.9950000000000001</c:v>
                </c:pt>
                <c:pt idx="2996">
                  <c:v>2.996</c:v>
                </c:pt>
                <c:pt idx="2997">
                  <c:v>2.9969999999999999</c:v>
                </c:pt>
                <c:pt idx="2998">
                  <c:v>2.9980000000000002</c:v>
                </c:pt>
                <c:pt idx="2999">
                  <c:v>2.9990000000000001</c:v>
                </c:pt>
                <c:pt idx="3000">
                  <c:v>3</c:v>
                </c:pt>
                <c:pt idx="3001">
                  <c:v>3.0009999999999999</c:v>
                </c:pt>
                <c:pt idx="3002">
                  <c:v>3.0019999999999998</c:v>
                </c:pt>
                <c:pt idx="3003">
                  <c:v>3.0030000000000001</c:v>
                </c:pt>
                <c:pt idx="3004">
                  <c:v>3.004</c:v>
                </c:pt>
                <c:pt idx="3005">
                  <c:v>3.0049999999999999</c:v>
                </c:pt>
                <c:pt idx="3006">
                  <c:v>3.0059999999999998</c:v>
                </c:pt>
                <c:pt idx="3007">
                  <c:v>3.0070000000000001</c:v>
                </c:pt>
                <c:pt idx="3008">
                  <c:v>3.008</c:v>
                </c:pt>
                <c:pt idx="3009">
                  <c:v>3.0089999999999999</c:v>
                </c:pt>
                <c:pt idx="3010">
                  <c:v>3.01</c:v>
                </c:pt>
                <c:pt idx="3011">
                  <c:v>3.0110000000000001</c:v>
                </c:pt>
                <c:pt idx="3012">
                  <c:v>3.012</c:v>
                </c:pt>
                <c:pt idx="3013">
                  <c:v>3.0129999999999999</c:v>
                </c:pt>
                <c:pt idx="3014">
                  <c:v>3.0139999999999998</c:v>
                </c:pt>
                <c:pt idx="3015">
                  <c:v>3.0150000000000001</c:v>
                </c:pt>
                <c:pt idx="3016">
                  <c:v>3.016</c:v>
                </c:pt>
                <c:pt idx="3017">
                  <c:v>3.0169999999999999</c:v>
                </c:pt>
                <c:pt idx="3018">
                  <c:v>3.0179999999999998</c:v>
                </c:pt>
                <c:pt idx="3019">
                  <c:v>3.0190000000000001</c:v>
                </c:pt>
                <c:pt idx="3020">
                  <c:v>3.02</c:v>
                </c:pt>
                <c:pt idx="3021">
                  <c:v>3.0209999999999999</c:v>
                </c:pt>
                <c:pt idx="3022">
                  <c:v>3.0219999999999998</c:v>
                </c:pt>
                <c:pt idx="3023">
                  <c:v>3.0230000000000001</c:v>
                </c:pt>
                <c:pt idx="3024">
                  <c:v>3.024</c:v>
                </c:pt>
                <c:pt idx="3025">
                  <c:v>3.0249999999999999</c:v>
                </c:pt>
                <c:pt idx="3026">
                  <c:v>3.0259999999999998</c:v>
                </c:pt>
                <c:pt idx="3027">
                  <c:v>3.0270000000000001</c:v>
                </c:pt>
                <c:pt idx="3028">
                  <c:v>3.028</c:v>
                </c:pt>
                <c:pt idx="3029">
                  <c:v>3.0289999999999999</c:v>
                </c:pt>
                <c:pt idx="3030">
                  <c:v>3.03</c:v>
                </c:pt>
                <c:pt idx="3031">
                  <c:v>3.0310000000000001</c:v>
                </c:pt>
                <c:pt idx="3032">
                  <c:v>3.032</c:v>
                </c:pt>
                <c:pt idx="3033">
                  <c:v>3.0329999999999999</c:v>
                </c:pt>
                <c:pt idx="3034">
                  <c:v>3.0339999999999998</c:v>
                </c:pt>
                <c:pt idx="3035">
                  <c:v>3.0350000000000001</c:v>
                </c:pt>
                <c:pt idx="3036">
                  <c:v>3.036</c:v>
                </c:pt>
                <c:pt idx="3037">
                  <c:v>3.0369999999999999</c:v>
                </c:pt>
                <c:pt idx="3038">
                  <c:v>3.0379999999999998</c:v>
                </c:pt>
                <c:pt idx="3039">
                  <c:v>3.0390000000000001</c:v>
                </c:pt>
                <c:pt idx="3040">
                  <c:v>3.04</c:v>
                </c:pt>
                <c:pt idx="3041">
                  <c:v>3.0409999999999999</c:v>
                </c:pt>
                <c:pt idx="3042">
                  <c:v>3.0419999999999998</c:v>
                </c:pt>
                <c:pt idx="3043">
                  <c:v>3.0430000000000001</c:v>
                </c:pt>
                <c:pt idx="3044">
                  <c:v>3.044</c:v>
                </c:pt>
                <c:pt idx="3045">
                  <c:v>3.0449999999999999</c:v>
                </c:pt>
                <c:pt idx="3046">
                  <c:v>3.0459999999999998</c:v>
                </c:pt>
                <c:pt idx="3047">
                  <c:v>3.0470000000000002</c:v>
                </c:pt>
                <c:pt idx="3048">
                  <c:v>3.048</c:v>
                </c:pt>
                <c:pt idx="3049">
                  <c:v>3.0489999999999999</c:v>
                </c:pt>
                <c:pt idx="3050">
                  <c:v>3.05</c:v>
                </c:pt>
                <c:pt idx="3051">
                  <c:v>3.0510000000000002</c:v>
                </c:pt>
                <c:pt idx="3052">
                  <c:v>3.052</c:v>
                </c:pt>
                <c:pt idx="3053">
                  <c:v>3.0529999999999999</c:v>
                </c:pt>
                <c:pt idx="3054">
                  <c:v>3.0539999999999998</c:v>
                </c:pt>
                <c:pt idx="3055">
                  <c:v>3.0550000000000002</c:v>
                </c:pt>
                <c:pt idx="3056">
                  <c:v>3.056</c:v>
                </c:pt>
                <c:pt idx="3057">
                  <c:v>3.0569999999999999</c:v>
                </c:pt>
                <c:pt idx="3058">
                  <c:v>3.0579999999999998</c:v>
                </c:pt>
                <c:pt idx="3059">
                  <c:v>3.0590000000000002</c:v>
                </c:pt>
                <c:pt idx="3060">
                  <c:v>3.06</c:v>
                </c:pt>
                <c:pt idx="3061">
                  <c:v>3.0609999999999999</c:v>
                </c:pt>
                <c:pt idx="3062">
                  <c:v>3.0619999999999998</c:v>
                </c:pt>
                <c:pt idx="3063">
                  <c:v>3.0630000000000002</c:v>
                </c:pt>
                <c:pt idx="3064">
                  <c:v>3.0640000000000001</c:v>
                </c:pt>
                <c:pt idx="3065">
                  <c:v>3.0649999999999999</c:v>
                </c:pt>
                <c:pt idx="3066">
                  <c:v>3.0659999999999998</c:v>
                </c:pt>
                <c:pt idx="3067">
                  <c:v>3.0670000000000002</c:v>
                </c:pt>
                <c:pt idx="3068">
                  <c:v>3.0680000000000001</c:v>
                </c:pt>
                <c:pt idx="3069">
                  <c:v>3.069</c:v>
                </c:pt>
                <c:pt idx="3070">
                  <c:v>3.07</c:v>
                </c:pt>
                <c:pt idx="3071">
                  <c:v>3.0710000000000002</c:v>
                </c:pt>
                <c:pt idx="3072">
                  <c:v>3.0720000000000001</c:v>
                </c:pt>
                <c:pt idx="3073">
                  <c:v>3.073</c:v>
                </c:pt>
                <c:pt idx="3074">
                  <c:v>3.0739999999999998</c:v>
                </c:pt>
                <c:pt idx="3075">
                  <c:v>3.0750000000000002</c:v>
                </c:pt>
                <c:pt idx="3076">
                  <c:v>3.0760000000000001</c:v>
                </c:pt>
                <c:pt idx="3077">
                  <c:v>3.077</c:v>
                </c:pt>
                <c:pt idx="3078">
                  <c:v>3.0779999999999998</c:v>
                </c:pt>
                <c:pt idx="3079">
                  <c:v>3.0790000000000002</c:v>
                </c:pt>
                <c:pt idx="3080">
                  <c:v>3.08</c:v>
                </c:pt>
                <c:pt idx="3081">
                  <c:v>3.081</c:v>
                </c:pt>
                <c:pt idx="3082">
                  <c:v>3.0819999999999999</c:v>
                </c:pt>
                <c:pt idx="3083">
                  <c:v>3.0830000000000002</c:v>
                </c:pt>
                <c:pt idx="3084">
                  <c:v>3.0840000000000001</c:v>
                </c:pt>
                <c:pt idx="3085">
                  <c:v>3.085</c:v>
                </c:pt>
                <c:pt idx="3086">
                  <c:v>3.0859999999999999</c:v>
                </c:pt>
                <c:pt idx="3087">
                  <c:v>3.0870000000000002</c:v>
                </c:pt>
                <c:pt idx="3088">
                  <c:v>3.0880000000000001</c:v>
                </c:pt>
                <c:pt idx="3089">
                  <c:v>3.089</c:v>
                </c:pt>
                <c:pt idx="3090">
                  <c:v>3.09</c:v>
                </c:pt>
                <c:pt idx="3091">
                  <c:v>3.0910000000000002</c:v>
                </c:pt>
                <c:pt idx="3092">
                  <c:v>3.0920000000000001</c:v>
                </c:pt>
                <c:pt idx="3093">
                  <c:v>3.093</c:v>
                </c:pt>
                <c:pt idx="3094">
                  <c:v>3.0939999999999999</c:v>
                </c:pt>
                <c:pt idx="3095">
                  <c:v>3.0950000000000002</c:v>
                </c:pt>
                <c:pt idx="3096">
                  <c:v>3.0960000000000001</c:v>
                </c:pt>
                <c:pt idx="3097">
                  <c:v>3.097</c:v>
                </c:pt>
                <c:pt idx="3098">
                  <c:v>3.0979999999999999</c:v>
                </c:pt>
                <c:pt idx="3099">
                  <c:v>3.0990000000000002</c:v>
                </c:pt>
                <c:pt idx="3100">
                  <c:v>3.1</c:v>
                </c:pt>
                <c:pt idx="3101">
                  <c:v>3.101</c:v>
                </c:pt>
                <c:pt idx="3102">
                  <c:v>3.1019999999999999</c:v>
                </c:pt>
                <c:pt idx="3103">
                  <c:v>3.1030000000000002</c:v>
                </c:pt>
                <c:pt idx="3104">
                  <c:v>3.1040000000000001</c:v>
                </c:pt>
                <c:pt idx="3105">
                  <c:v>3.105</c:v>
                </c:pt>
                <c:pt idx="3106">
                  <c:v>3.1059999999999999</c:v>
                </c:pt>
                <c:pt idx="3107">
                  <c:v>3.1070000000000002</c:v>
                </c:pt>
                <c:pt idx="3108">
                  <c:v>3.1080000000000001</c:v>
                </c:pt>
                <c:pt idx="3109">
                  <c:v>3.109</c:v>
                </c:pt>
                <c:pt idx="3110">
                  <c:v>3.11</c:v>
                </c:pt>
                <c:pt idx="3111">
                  <c:v>3.1110000000000002</c:v>
                </c:pt>
                <c:pt idx="3112">
                  <c:v>3.1120000000000001</c:v>
                </c:pt>
                <c:pt idx="3113">
                  <c:v>3.113</c:v>
                </c:pt>
                <c:pt idx="3114">
                  <c:v>3.1139999999999999</c:v>
                </c:pt>
                <c:pt idx="3115">
                  <c:v>3.1150000000000002</c:v>
                </c:pt>
                <c:pt idx="3116">
                  <c:v>3.1160000000000001</c:v>
                </c:pt>
                <c:pt idx="3117">
                  <c:v>3.117</c:v>
                </c:pt>
                <c:pt idx="3118">
                  <c:v>3.1179999999999999</c:v>
                </c:pt>
                <c:pt idx="3119">
                  <c:v>3.1190000000000002</c:v>
                </c:pt>
                <c:pt idx="3120">
                  <c:v>3.12</c:v>
                </c:pt>
                <c:pt idx="3121">
                  <c:v>3.121</c:v>
                </c:pt>
                <c:pt idx="3122">
                  <c:v>3.1219999999999999</c:v>
                </c:pt>
                <c:pt idx="3123">
                  <c:v>3.1230000000000002</c:v>
                </c:pt>
                <c:pt idx="3124">
                  <c:v>3.1240000000000001</c:v>
                </c:pt>
                <c:pt idx="3125">
                  <c:v>3.125</c:v>
                </c:pt>
                <c:pt idx="3126">
                  <c:v>3.1259999999999999</c:v>
                </c:pt>
                <c:pt idx="3127">
                  <c:v>3.1269999999999998</c:v>
                </c:pt>
                <c:pt idx="3128">
                  <c:v>3.1280000000000001</c:v>
                </c:pt>
                <c:pt idx="3129">
                  <c:v>3.129</c:v>
                </c:pt>
                <c:pt idx="3130">
                  <c:v>3.13</c:v>
                </c:pt>
                <c:pt idx="3131">
                  <c:v>3.1309999999999998</c:v>
                </c:pt>
                <c:pt idx="3132">
                  <c:v>3.1320000000000001</c:v>
                </c:pt>
                <c:pt idx="3133">
                  <c:v>3.133</c:v>
                </c:pt>
                <c:pt idx="3134">
                  <c:v>3.1339999999999999</c:v>
                </c:pt>
                <c:pt idx="3135">
                  <c:v>3.1349999999999998</c:v>
                </c:pt>
                <c:pt idx="3136">
                  <c:v>3.1360000000000001</c:v>
                </c:pt>
                <c:pt idx="3137">
                  <c:v>3.137</c:v>
                </c:pt>
                <c:pt idx="3138">
                  <c:v>3.1379999999999999</c:v>
                </c:pt>
                <c:pt idx="3139">
                  <c:v>3.1389999999999998</c:v>
                </c:pt>
                <c:pt idx="3140">
                  <c:v>3.14</c:v>
                </c:pt>
                <c:pt idx="3141">
                  <c:v>3.141</c:v>
                </c:pt>
                <c:pt idx="3142">
                  <c:v>3.1419999999999999</c:v>
                </c:pt>
                <c:pt idx="3143">
                  <c:v>3.1429999999999998</c:v>
                </c:pt>
                <c:pt idx="3144">
                  <c:v>3.1440000000000001</c:v>
                </c:pt>
                <c:pt idx="3145">
                  <c:v>3.145</c:v>
                </c:pt>
                <c:pt idx="3146">
                  <c:v>3.1459999999999999</c:v>
                </c:pt>
                <c:pt idx="3147">
                  <c:v>3.1469999999999998</c:v>
                </c:pt>
                <c:pt idx="3148">
                  <c:v>3.1480000000000001</c:v>
                </c:pt>
                <c:pt idx="3149">
                  <c:v>3.149</c:v>
                </c:pt>
                <c:pt idx="3150">
                  <c:v>3.15</c:v>
                </c:pt>
                <c:pt idx="3151">
                  <c:v>3.1509999999999998</c:v>
                </c:pt>
                <c:pt idx="3152">
                  <c:v>3.1520000000000001</c:v>
                </c:pt>
                <c:pt idx="3153">
                  <c:v>3.153</c:v>
                </c:pt>
                <c:pt idx="3154">
                  <c:v>3.1539999999999999</c:v>
                </c:pt>
                <c:pt idx="3155">
                  <c:v>3.1549999999999998</c:v>
                </c:pt>
                <c:pt idx="3156">
                  <c:v>3.1560000000000001</c:v>
                </c:pt>
                <c:pt idx="3157">
                  <c:v>3.157</c:v>
                </c:pt>
                <c:pt idx="3158">
                  <c:v>3.1579999999999999</c:v>
                </c:pt>
                <c:pt idx="3159">
                  <c:v>3.1589999999999998</c:v>
                </c:pt>
                <c:pt idx="3160">
                  <c:v>3.16</c:v>
                </c:pt>
                <c:pt idx="3161">
                  <c:v>3.161</c:v>
                </c:pt>
                <c:pt idx="3162">
                  <c:v>3.1619999999999999</c:v>
                </c:pt>
                <c:pt idx="3163">
                  <c:v>3.1629999999999998</c:v>
                </c:pt>
                <c:pt idx="3164">
                  <c:v>3.1640000000000001</c:v>
                </c:pt>
                <c:pt idx="3165">
                  <c:v>3.165</c:v>
                </c:pt>
                <c:pt idx="3166">
                  <c:v>3.1659999999999999</c:v>
                </c:pt>
                <c:pt idx="3167">
                  <c:v>3.1669999999999998</c:v>
                </c:pt>
                <c:pt idx="3168">
                  <c:v>3.1680000000000001</c:v>
                </c:pt>
                <c:pt idx="3169">
                  <c:v>3.169</c:v>
                </c:pt>
                <c:pt idx="3170">
                  <c:v>3.17</c:v>
                </c:pt>
                <c:pt idx="3171">
                  <c:v>3.1709999999999998</c:v>
                </c:pt>
                <c:pt idx="3172">
                  <c:v>3.1720000000000002</c:v>
                </c:pt>
                <c:pt idx="3173">
                  <c:v>3.173</c:v>
                </c:pt>
                <c:pt idx="3174">
                  <c:v>3.1739999999999999</c:v>
                </c:pt>
                <c:pt idx="3175">
                  <c:v>3.1749999999999998</c:v>
                </c:pt>
                <c:pt idx="3176">
                  <c:v>3.1760000000000002</c:v>
                </c:pt>
                <c:pt idx="3177">
                  <c:v>3.177</c:v>
                </c:pt>
                <c:pt idx="3178">
                  <c:v>3.1779999999999999</c:v>
                </c:pt>
                <c:pt idx="3179">
                  <c:v>3.1789999999999998</c:v>
                </c:pt>
                <c:pt idx="3180">
                  <c:v>3.18</c:v>
                </c:pt>
                <c:pt idx="3181">
                  <c:v>3.181</c:v>
                </c:pt>
                <c:pt idx="3182">
                  <c:v>3.1819999999999999</c:v>
                </c:pt>
                <c:pt idx="3183">
                  <c:v>3.1829999999999998</c:v>
                </c:pt>
                <c:pt idx="3184">
                  <c:v>3.1840000000000002</c:v>
                </c:pt>
                <c:pt idx="3185">
                  <c:v>3.1850000000000001</c:v>
                </c:pt>
                <c:pt idx="3186">
                  <c:v>3.1859999999999999</c:v>
                </c:pt>
                <c:pt idx="3187">
                  <c:v>3.1869999999999998</c:v>
                </c:pt>
                <c:pt idx="3188">
                  <c:v>3.1880000000000002</c:v>
                </c:pt>
                <c:pt idx="3189">
                  <c:v>3.1890000000000001</c:v>
                </c:pt>
                <c:pt idx="3190">
                  <c:v>3.19</c:v>
                </c:pt>
                <c:pt idx="3191">
                  <c:v>3.1909999999999998</c:v>
                </c:pt>
                <c:pt idx="3192">
                  <c:v>3.1920000000000002</c:v>
                </c:pt>
                <c:pt idx="3193">
                  <c:v>3.1930000000000001</c:v>
                </c:pt>
                <c:pt idx="3194">
                  <c:v>3.194</c:v>
                </c:pt>
                <c:pt idx="3195">
                  <c:v>3.1949999999999998</c:v>
                </c:pt>
                <c:pt idx="3196">
                  <c:v>3.1960000000000002</c:v>
                </c:pt>
                <c:pt idx="3197">
                  <c:v>3.1970000000000001</c:v>
                </c:pt>
                <c:pt idx="3198">
                  <c:v>3.198</c:v>
                </c:pt>
                <c:pt idx="3199">
                  <c:v>3.1989999999999998</c:v>
                </c:pt>
                <c:pt idx="3200">
                  <c:v>3.2</c:v>
                </c:pt>
                <c:pt idx="3201">
                  <c:v>3.2010000000000001</c:v>
                </c:pt>
                <c:pt idx="3202">
                  <c:v>3.202</c:v>
                </c:pt>
                <c:pt idx="3203">
                  <c:v>3.2029999999999998</c:v>
                </c:pt>
                <c:pt idx="3204">
                  <c:v>3.2040000000000002</c:v>
                </c:pt>
                <c:pt idx="3205">
                  <c:v>3.2050000000000001</c:v>
                </c:pt>
                <c:pt idx="3206">
                  <c:v>3.206</c:v>
                </c:pt>
                <c:pt idx="3207">
                  <c:v>3.2069999999999999</c:v>
                </c:pt>
                <c:pt idx="3208">
                  <c:v>3.2080000000000002</c:v>
                </c:pt>
                <c:pt idx="3209">
                  <c:v>3.2090000000000001</c:v>
                </c:pt>
                <c:pt idx="3210">
                  <c:v>3.21</c:v>
                </c:pt>
                <c:pt idx="3211">
                  <c:v>3.2109999999999999</c:v>
                </c:pt>
                <c:pt idx="3212">
                  <c:v>3.2120000000000002</c:v>
                </c:pt>
                <c:pt idx="3213">
                  <c:v>3.2130000000000001</c:v>
                </c:pt>
                <c:pt idx="3214">
                  <c:v>3.214</c:v>
                </c:pt>
                <c:pt idx="3215">
                  <c:v>3.2149999999999999</c:v>
                </c:pt>
                <c:pt idx="3216">
                  <c:v>3.2160000000000002</c:v>
                </c:pt>
                <c:pt idx="3217">
                  <c:v>3.2170000000000001</c:v>
                </c:pt>
                <c:pt idx="3218">
                  <c:v>3.218</c:v>
                </c:pt>
                <c:pt idx="3219">
                  <c:v>3.2189999999999999</c:v>
                </c:pt>
                <c:pt idx="3220">
                  <c:v>3.22</c:v>
                </c:pt>
                <c:pt idx="3221">
                  <c:v>3.2210000000000001</c:v>
                </c:pt>
                <c:pt idx="3222">
                  <c:v>3.222</c:v>
                </c:pt>
                <c:pt idx="3223">
                  <c:v>3.2229999999999999</c:v>
                </c:pt>
                <c:pt idx="3224">
                  <c:v>3.2240000000000002</c:v>
                </c:pt>
                <c:pt idx="3225">
                  <c:v>3.2250000000000001</c:v>
                </c:pt>
                <c:pt idx="3226">
                  <c:v>3.226</c:v>
                </c:pt>
                <c:pt idx="3227">
                  <c:v>3.2269999999999999</c:v>
                </c:pt>
                <c:pt idx="3228">
                  <c:v>3.2280000000000002</c:v>
                </c:pt>
                <c:pt idx="3229">
                  <c:v>3.2290000000000001</c:v>
                </c:pt>
                <c:pt idx="3230">
                  <c:v>3.23</c:v>
                </c:pt>
                <c:pt idx="3231">
                  <c:v>3.2309999999999999</c:v>
                </c:pt>
                <c:pt idx="3232">
                  <c:v>3.2320000000000002</c:v>
                </c:pt>
                <c:pt idx="3233">
                  <c:v>3.2330000000000001</c:v>
                </c:pt>
                <c:pt idx="3234">
                  <c:v>3.234</c:v>
                </c:pt>
                <c:pt idx="3235">
                  <c:v>3.2349999999999999</c:v>
                </c:pt>
                <c:pt idx="3236">
                  <c:v>3.2360000000000002</c:v>
                </c:pt>
                <c:pt idx="3237">
                  <c:v>3.2370000000000001</c:v>
                </c:pt>
                <c:pt idx="3238">
                  <c:v>3.238</c:v>
                </c:pt>
                <c:pt idx="3239">
                  <c:v>3.2389999999999999</c:v>
                </c:pt>
                <c:pt idx="3240">
                  <c:v>3.24</c:v>
                </c:pt>
                <c:pt idx="3241">
                  <c:v>3.2410000000000001</c:v>
                </c:pt>
                <c:pt idx="3242">
                  <c:v>3.242</c:v>
                </c:pt>
                <c:pt idx="3243">
                  <c:v>3.2429999999999999</c:v>
                </c:pt>
                <c:pt idx="3244">
                  <c:v>3.2440000000000002</c:v>
                </c:pt>
                <c:pt idx="3245">
                  <c:v>3.2450000000000001</c:v>
                </c:pt>
                <c:pt idx="3246">
                  <c:v>3.246</c:v>
                </c:pt>
                <c:pt idx="3247">
                  <c:v>3.2469999999999999</c:v>
                </c:pt>
                <c:pt idx="3248">
                  <c:v>3.2480000000000002</c:v>
                </c:pt>
                <c:pt idx="3249">
                  <c:v>3.2490000000000001</c:v>
                </c:pt>
                <c:pt idx="3250">
                  <c:v>3.25</c:v>
                </c:pt>
                <c:pt idx="3251">
                  <c:v>3.2509999999999999</c:v>
                </c:pt>
                <c:pt idx="3252">
                  <c:v>3.2519999999999998</c:v>
                </c:pt>
                <c:pt idx="3253">
                  <c:v>3.2530000000000001</c:v>
                </c:pt>
                <c:pt idx="3254">
                  <c:v>3.254</c:v>
                </c:pt>
                <c:pt idx="3255">
                  <c:v>3.2549999999999999</c:v>
                </c:pt>
                <c:pt idx="3256">
                  <c:v>3.2559999999999998</c:v>
                </c:pt>
                <c:pt idx="3257">
                  <c:v>3.2570000000000001</c:v>
                </c:pt>
                <c:pt idx="3258">
                  <c:v>3.258</c:v>
                </c:pt>
                <c:pt idx="3259">
                  <c:v>3.2589999999999999</c:v>
                </c:pt>
                <c:pt idx="3260">
                  <c:v>3.26</c:v>
                </c:pt>
                <c:pt idx="3261">
                  <c:v>3.2610000000000001</c:v>
                </c:pt>
                <c:pt idx="3262">
                  <c:v>3.262</c:v>
                </c:pt>
                <c:pt idx="3263">
                  <c:v>3.2629999999999999</c:v>
                </c:pt>
                <c:pt idx="3264">
                  <c:v>3.2639999999999998</c:v>
                </c:pt>
                <c:pt idx="3265">
                  <c:v>3.2650000000000001</c:v>
                </c:pt>
                <c:pt idx="3266">
                  <c:v>3.266</c:v>
                </c:pt>
                <c:pt idx="3267">
                  <c:v>3.2669999999999999</c:v>
                </c:pt>
                <c:pt idx="3268">
                  <c:v>3.2679999999999998</c:v>
                </c:pt>
                <c:pt idx="3269">
                  <c:v>3.2690000000000001</c:v>
                </c:pt>
                <c:pt idx="3270">
                  <c:v>3.27</c:v>
                </c:pt>
                <c:pt idx="3271">
                  <c:v>3.2709999999999999</c:v>
                </c:pt>
                <c:pt idx="3272">
                  <c:v>3.2719999999999998</c:v>
                </c:pt>
                <c:pt idx="3273">
                  <c:v>3.2730000000000001</c:v>
                </c:pt>
                <c:pt idx="3274">
                  <c:v>3.274</c:v>
                </c:pt>
                <c:pt idx="3275">
                  <c:v>3.2749999999999999</c:v>
                </c:pt>
                <c:pt idx="3276">
                  <c:v>3.2759999999999998</c:v>
                </c:pt>
                <c:pt idx="3277">
                  <c:v>3.2770000000000001</c:v>
                </c:pt>
                <c:pt idx="3278">
                  <c:v>3.278</c:v>
                </c:pt>
                <c:pt idx="3279">
                  <c:v>3.2789999999999999</c:v>
                </c:pt>
                <c:pt idx="3280">
                  <c:v>3.28</c:v>
                </c:pt>
                <c:pt idx="3281">
                  <c:v>3.2810000000000001</c:v>
                </c:pt>
                <c:pt idx="3282">
                  <c:v>3.282</c:v>
                </c:pt>
                <c:pt idx="3283">
                  <c:v>3.2829999999999999</c:v>
                </c:pt>
                <c:pt idx="3284">
                  <c:v>3.2839999999999998</c:v>
                </c:pt>
                <c:pt idx="3285">
                  <c:v>3.2850000000000001</c:v>
                </c:pt>
                <c:pt idx="3286">
                  <c:v>3.286</c:v>
                </c:pt>
                <c:pt idx="3287">
                  <c:v>3.2869999999999999</c:v>
                </c:pt>
                <c:pt idx="3288">
                  <c:v>3.2879999999999998</c:v>
                </c:pt>
                <c:pt idx="3289">
                  <c:v>3.2890000000000001</c:v>
                </c:pt>
                <c:pt idx="3290">
                  <c:v>3.29</c:v>
                </c:pt>
                <c:pt idx="3291">
                  <c:v>3.2909999999999999</c:v>
                </c:pt>
                <c:pt idx="3292">
                  <c:v>3.2919999999999998</c:v>
                </c:pt>
                <c:pt idx="3293">
                  <c:v>3.2930000000000001</c:v>
                </c:pt>
                <c:pt idx="3294">
                  <c:v>3.294</c:v>
                </c:pt>
                <c:pt idx="3295">
                  <c:v>3.2949999999999999</c:v>
                </c:pt>
                <c:pt idx="3296">
                  <c:v>3.2959999999999998</c:v>
                </c:pt>
                <c:pt idx="3297">
                  <c:v>3.2970000000000002</c:v>
                </c:pt>
                <c:pt idx="3298">
                  <c:v>3.298</c:v>
                </c:pt>
                <c:pt idx="3299">
                  <c:v>3.2989999999999999</c:v>
                </c:pt>
                <c:pt idx="3300">
                  <c:v>3.3</c:v>
                </c:pt>
                <c:pt idx="3301">
                  <c:v>3.3010000000000002</c:v>
                </c:pt>
                <c:pt idx="3302">
                  <c:v>3.302</c:v>
                </c:pt>
                <c:pt idx="3303">
                  <c:v>3.3029999999999999</c:v>
                </c:pt>
                <c:pt idx="3304">
                  <c:v>3.3039999999999998</c:v>
                </c:pt>
                <c:pt idx="3305">
                  <c:v>3.3050000000000002</c:v>
                </c:pt>
                <c:pt idx="3306">
                  <c:v>3.306</c:v>
                </c:pt>
                <c:pt idx="3307">
                  <c:v>3.3069999999999999</c:v>
                </c:pt>
                <c:pt idx="3308">
                  <c:v>3.3079999999999998</c:v>
                </c:pt>
                <c:pt idx="3309">
                  <c:v>3.3090000000000002</c:v>
                </c:pt>
                <c:pt idx="3310">
                  <c:v>3.31</c:v>
                </c:pt>
                <c:pt idx="3311">
                  <c:v>3.3109999999999999</c:v>
                </c:pt>
                <c:pt idx="3312">
                  <c:v>3.3119999999999998</c:v>
                </c:pt>
                <c:pt idx="3313">
                  <c:v>3.3130000000000002</c:v>
                </c:pt>
                <c:pt idx="3314">
                  <c:v>3.3140000000000001</c:v>
                </c:pt>
                <c:pt idx="3315">
                  <c:v>3.3149999999999999</c:v>
                </c:pt>
                <c:pt idx="3316">
                  <c:v>3.3159999999999998</c:v>
                </c:pt>
                <c:pt idx="3317">
                  <c:v>3.3170000000000002</c:v>
                </c:pt>
                <c:pt idx="3318">
                  <c:v>3.3180000000000001</c:v>
                </c:pt>
                <c:pt idx="3319">
                  <c:v>3.319</c:v>
                </c:pt>
                <c:pt idx="3320">
                  <c:v>3.32</c:v>
                </c:pt>
                <c:pt idx="3321">
                  <c:v>3.3210000000000002</c:v>
                </c:pt>
                <c:pt idx="3322">
                  <c:v>3.3220000000000001</c:v>
                </c:pt>
                <c:pt idx="3323">
                  <c:v>3.323</c:v>
                </c:pt>
                <c:pt idx="3324">
                  <c:v>3.3239999999999998</c:v>
                </c:pt>
                <c:pt idx="3325">
                  <c:v>3.3250000000000002</c:v>
                </c:pt>
                <c:pt idx="3326">
                  <c:v>3.3260000000000001</c:v>
                </c:pt>
                <c:pt idx="3327">
                  <c:v>3.327</c:v>
                </c:pt>
                <c:pt idx="3328">
                  <c:v>3.3279999999999998</c:v>
                </c:pt>
                <c:pt idx="3329">
                  <c:v>3.3290000000000002</c:v>
                </c:pt>
                <c:pt idx="3330">
                  <c:v>3.33</c:v>
                </c:pt>
                <c:pt idx="3331">
                  <c:v>3.331</c:v>
                </c:pt>
                <c:pt idx="3332">
                  <c:v>3.3319999999999999</c:v>
                </c:pt>
                <c:pt idx="3333">
                  <c:v>3.3330000000000002</c:v>
                </c:pt>
                <c:pt idx="3334">
                  <c:v>3.3340000000000001</c:v>
                </c:pt>
                <c:pt idx="3335">
                  <c:v>3.335</c:v>
                </c:pt>
                <c:pt idx="3336">
                  <c:v>3.3359999999999999</c:v>
                </c:pt>
                <c:pt idx="3337">
                  <c:v>3.3370000000000002</c:v>
                </c:pt>
                <c:pt idx="3338">
                  <c:v>3.3380000000000001</c:v>
                </c:pt>
                <c:pt idx="3339">
                  <c:v>3.339</c:v>
                </c:pt>
                <c:pt idx="3340">
                  <c:v>3.34</c:v>
                </c:pt>
                <c:pt idx="3341">
                  <c:v>3.3410000000000002</c:v>
                </c:pt>
                <c:pt idx="3342">
                  <c:v>3.3420000000000001</c:v>
                </c:pt>
                <c:pt idx="3343">
                  <c:v>3.343</c:v>
                </c:pt>
                <c:pt idx="3344">
                  <c:v>3.3439999999999999</c:v>
                </c:pt>
                <c:pt idx="3345">
                  <c:v>3.3450000000000002</c:v>
                </c:pt>
                <c:pt idx="3346">
                  <c:v>3.3460000000000001</c:v>
                </c:pt>
                <c:pt idx="3347">
                  <c:v>3.347</c:v>
                </c:pt>
                <c:pt idx="3348">
                  <c:v>3.3479999999999999</c:v>
                </c:pt>
                <c:pt idx="3349">
                  <c:v>3.3490000000000002</c:v>
                </c:pt>
                <c:pt idx="3350">
                  <c:v>3.35</c:v>
                </c:pt>
                <c:pt idx="3351">
                  <c:v>3.351</c:v>
                </c:pt>
                <c:pt idx="3352">
                  <c:v>3.3519999999999999</c:v>
                </c:pt>
                <c:pt idx="3353">
                  <c:v>3.3530000000000002</c:v>
                </c:pt>
                <c:pt idx="3354">
                  <c:v>3.3540000000000001</c:v>
                </c:pt>
                <c:pt idx="3355">
                  <c:v>3.355</c:v>
                </c:pt>
                <c:pt idx="3356">
                  <c:v>3.3559999999999999</c:v>
                </c:pt>
                <c:pt idx="3357">
                  <c:v>3.3570000000000002</c:v>
                </c:pt>
                <c:pt idx="3358">
                  <c:v>3.3580000000000001</c:v>
                </c:pt>
                <c:pt idx="3359">
                  <c:v>3.359</c:v>
                </c:pt>
                <c:pt idx="3360">
                  <c:v>3.36</c:v>
                </c:pt>
                <c:pt idx="3361">
                  <c:v>3.3610000000000002</c:v>
                </c:pt>
                <c:pt idx="3362">
                  <c:v>3.3620000000000001</c:v>
                </c:pt>
                <c:pt idx="3363">
                  <c:v>3.363</c:v>
                </c:pt>
                <c:pt idx="3364">
                  <c:v>3.3639999999999999</c:v>
                </c:pt>
                <c:pt idx="3365">
                  <c:v>3.3650000000000002</c:v>
                </c:pt>
                <c:pt idx="3366">
                  <c:v>3.3660000000000001</c:v>
                </c:pt>
                <c:pt idx="3367">
                  <c:v>3.367</c:v>
                </c:pt>
                <c:pt idx="3368">
                  <c:v>3.3679999999999999</c:v>
                </c:pt>
                <c:pt idx="3369">
                  <c:v>3.3690000000000002</c:v>
                </c:pt>
                <c:pt idx="3370">
                  <c:v>3.37</c:v>
                </c:pt>
                <c:pt idx="3371">
                  <c:v>3.371</c:v>
                </c:pt>
                <c:pt idx="3372">
                  <c:v>3.3719999999999999</c:v>
                </c:pt>
                <c:pt idx="3373">
                  <c:v>3.3730000000000002</c:v>
                </c:pt>
                <c:pt idx="3374">
                  <c:v>3.3740000000000001</c:v>
                </c:pt>
                <c:pt idx="3375">
                  <c:v>3.375</c:v>
                </c:pt>
                <c:pt idx="3376">
                  <c:v>3.3759999999999999</c:v>
                </c:pt>
                <c:pt idx="3377">
                  <c:v>3.3769999999999998</c:v>
                </c:pt>
                <c:pt idx="3378">
                  <c:v>3.3780000000000001</c:v>
                </c:pt>
                <c:pt idx="3379">
                  <c:v>3.379</c:v>
                </c:pt>
                <c:pt idx="3380">
                  <c:v>3.38</c:v>
                </c:pt>
                <c:pt idx="3381">
                  <c:v>3.3809999999999998</c:v>
                </c:pt>
                <c:pt idx="3382">
                  <c:v>3.3820000000000001</c:v>
                </c:pt>
                <c:pt idx="3383">
                  <c:v>3.383</c:v>
                </c:pt>
                <c:pt idx="3384">
                  <c:v>3.3839999999999999</c:v>
                </c:pt>
                <c:pt idx="3385">
                  <c:v>3.3849999999999998</c:v>
                </c:pt>
                <c:pt idx="3386">
                  <c:v>3.3860000000000001</c:v>
                </c:pt>
                <c:pt idx="3387">
                  <c:v>3.387</c:v>
                </c:pt>
                <c:pt idx="3388">
                  <c:v>3.3879999999999999</c:v>
                </c:pt>
                <c:pt idx="3389">
                  <c:v>3.3889999999999998</c:v>
                </c:pt>
                <c:pt idx="3390">
                  <c:v>3.39</c:v>
                </c:pt>
                <c:pt idx="3391">
                  <c:v>3.391</c:v>
                </c:pt>
                <c:pt idx="3392">
                  <c:v>3.3919999999999999</c:v>
                </c:pt>
                <c:pt idx="3393">
                  <c:v>3.3929999999999998</c:v>
                </c:pt>
                <c:pt idx="3394">
                  <c:v>3.3940000000000001</c:v>
                </c:pt>
                <c:pt idx="3395">
                  <c:v>3.395</c:v>
                </c:pt>
                <c:pt idx="3396">
                  <c:v>3.3959999999999999</c:v>
                </c:pt>
                <c:pt idx="3397">
                  <c:v>3.3969999999999998</c:v>
                </c:pt>
                <c:pt idx="3398">
                  <c:v>3.3980000000000001</c:v>
                </c:pt>
                <c:pt idx="3399">
                  <c:v>3.399</c:v>
                </c:pt>
                <c:pt idx="3400">
                  <c:v>3.4</c:v>
                </c:pt>
                <c:pt idx="3401">
                  <c:v>3.4009999999999998</c:v>
                </c:pt>
                <c:pt idx="3402">
                  <c:v>3.4020000000000001</c:v>
                </c:pt>
                <c:pt idx="3403">
                  <c:v>3.403</c:v>
                </c:pt>
                <c:pt idx="3404">
                  <c:v>3.4039999999999999</c:v>
                </c:pt>
                <c:pt idx="3405">
                  <c:v>3.4049999999999998</c:v>
                </c:pt>
                <c:pt idx="3406">
                  <c:v>3.4060000000000001</c:v>
                </c:pt>
                <c:pt idx="3407">
                  <c:v>3.407</c:v>
                </c:pt>
                <c:pt idx="3408">
                  <c:v>3.4079999999999999</c:v>
                </c:pt>
                <c:pt idx="3409">
                  <c:v>3.4089999999999998</c:v>
                </c:pt>
                <c:pt idx="3410">
                  <c:v>3.41</c:v>
                </c:pt>
                <c:pt idx="3411">
                  <c:v>3.411</c:v>
                </c:pt>
                <c:pt idx="3412">
                  <c:v>3.4119999999999999</c:v>
                </c:pt>
                <c:pt idx="3413">
                  <c:v>3.4129999999999998</c:v>
                </c:pt>
                <c:pt idx="3414">
                  <c:v>3.4140000000000001</c:v>
                </c:pt>
                <c:pt idx="3415">
                  <c:v>3.415</c:v>
                </c:pt>
                <c:pt idx="3416">
                  <c:v>3.4159999999999999</c:v>
                </c:pt>
                <c:pt idx="3417">
                  <c:v>3.4169999999999998</c:v>
                </c:pt>
                <c:pt idx="3418">
                  <c:v>3.4180000000000001</c:v>
                </c:pt>
                <c:pt idx="3419">
                  <c:v>3.419</c:v>
                </c:pt>
                <c:pt idx="3420">
                  <c:v>3.42</c:v>
                </c:pt>
                <c:pt idx="3421">
                  <c:v>3.4209999999999998</c:v>
                </c:pt>
                <c:pt idx="3422">
                  <c:v>3.4220000000000002</c:v>
                </c:pt>
                <c:pt idx="3423">
                  <c:v>3.423</c:v>
                </c:pt>
                <c:pt idx="3424">
                  <c:v>3.4239999999999999</c:v>
                </c:pt>
                <c:pt idx="3425">
                  <c:v>3.4249999999999998</c:v>
                </c:pt>
                <c:pt idx="3426">
                  <c:v>3.4260000000000002</c:v>
                </c:pt>
                <c:pt idx="3427">
                  <c:v>3.427</c:v>
                </c:pt>
                <c:pt idx="3428">
                  <c:v>3.4279999999999999</c:v>
                </c:pt>
                <c:pt idx="3429">
                  <c:v>3.4289999999999998</c:v>
                </c:pt>
                <c:pt idx="3430">
                  <c:v>3.43</c:v>
                </c:pt>
                <c:pt idx="3431">
                  <c:v>3.431</c:v>
                </c:pt>
                <c:pt idx="3432">
                  <c:v>3.4319999999999999</c:v>
                </c:pt>
                <c:pt idx="3433">
                  <c:v>3.4329999999999998</c:v>
                </c:pt>
                <c:pt idx="3434">
                  <c:v>3.4340000000000002</c:v>
                </c:pt>
                <c:pt idx="3435">
                  <c:v>3.4350000000000001</c:v>
                </c:pt>
                <c:pt idx="3436">
                  <c:v>3.4359999999999999</c:v>
                </c:pt>
                <c:pt idx="3437">
                  <c:v>3.4369999999999998</c:v>
                </c:pt>
                <c:pt idx="3438">
                  <c:v>3.4380000000000002</c:v>
                </c:pt>
                <c:pt idx="3439">
                  <c:v>3.4390000000000001</c:v>
                </c:pt>
                <c:pt idx="3440">
                  <c:v>3.44</c:v>
                </c:pt>
                <c:pt idx="3441">
                  <c:v>3.4409999999999998</c:v>
                </c:pt>
                <c:pt idx="3442">
                  <c:v>3.4420000000000002</c:v>
                </c:pt>
                <c:pt idx="3443">
                  <c:v>3.4430000000000001</c:v>
                </c:pt>
                <c:pt idx="3444">
                  <c:v>3.444</c:v>
                </c:pt>
                <c:pt idx="3445">
                  <c:v>3.4449999999999998</c:v>
                </c:pt>
                <c:pt idx="3446">
                  <c:v>3.4460000000000002</c:v>
                </c:pt>
                <c:pt idx="3447">
                  <c:v>3.4470000000000001</c:v>
                </c:pt>
                <c:pt idx="3448">
                  <c:v>3.448</c:v>
                </c:pt>
                <c:pt idx="3449">
                  <c:v>3.4489999999999998</c:v>
                </c:pt>
                <c:pt idx="3450">
                  <c:v>3.45</c:v>
                </c:pt>
                <c:pt idx="3451">
                  <c:v>3.4510000000000001</c:v>
                </c:pt>
                <c:pt idx="3452">
                  <c:v>3.452</c:v>
                </c:pt>
                <c:pt idx="3453">
                  <c:v>3.4529999999999998</c:v>
                </c:pt>
                <c:pt idx="3454">
                  <c:v>3.4540000000000002</c:v>
                </c:pt>
                <c:pt idx="3455">
                  <c:v>3.4550000000000001</c:v>
                </c:pt>
                <c:pt idx="3456">
                  <c:v>3.456</c:v>
                </c:pt>
                <c:pt idx="3457">
                  <c:v>3.4569999999999999</c:v>
                </c:pt>
                <c:pt idx="3458">
                  <c:v>3.4580000000000002</c:v>
                </c:pt>
                <c:pt idx="3459">
                  <c:v>3.4590000000000001</c:v>
                </c:pt>
                <c:pt idx="3460">
                  <c:v>3.46</c:v>
                </c:pt>
                <c:pt idx="3461">
                  <c:v>3.4609999999999999</c:v>
                </c:pt>
                <c:pt idx="3462">
                  <c:v>3.4620000000000002</c:v>
                </c:pt>
                <c:pt idx="3463">
                  <c:v>3.4630000000000001</c:v>
                </c:pt>
                <c:pt idx="3464">
                  <c:v>3.464</c:v>
                </c:pt>
                <c:pt idx="3465">
                  <c:v>3.4649999999999999</c:v>
                </c:pt>
                <c:pt idx="3466">
                  <c:v>3.4660000000000002</c:v>
                </c:pt>
                <c:pt idx="3467">
                  <c:v>3.4670000000000001</c:v>
                </c:pt>
                <c:pt idx="3468">
                  <c:v>3.468</c:v>
                </c:pt>
                <c:pt idx="3469">
                  <c:v>3.4689999999999999</c:v>
                </c:pt>
                <c:pt idx="3470">
                  <c:v>3.47</c:v>
                </c:pt>
                <c:pt idx="3471">
                  <c:v>3.4710000000000001</c:v>
                </c:pt>
                <c:pt idx="3472">
                  <c:v>3.472</c:v>
                </c:pt>
                <c:pt idx="3473">
                  <c:v>3.4729999999999999</c:v>
                </c:pt>
                <c:pt idx="3474">
                  <c:v>3.4740000000000002</c:v>
                </c:pt>
                <c:pt idx="3475">
                  <c:v>3.4750000000000001</c:v>
                </c:pt>
                <c:pt idx="3476">
                  <c:v>3.476</c:v>
                </c:pt>
                <c:pt idx="3477">
                  <c:v>3.4769999999999999</c:v>
                </c:pt>
                <c:pt idx="3478">
                  <c:v>3.4780000000000002</c:v>
                </c:pt>
                <c:pt idx="3479">
                  <c:v>3.4790000000000001</c:v>
                </c:pt>
                <c:pt idx="3480">
                  <c:v>3.48</c:v>
                </c:pt>
                <c:pt idx="3481">
                  <c:v>3.4809999999999999</c:v>
                </c:pt>
                <c:pt idx="3482">
                  <c:v>3.4820000000000002</c:v>
                </c:pt>
                <c:pt idx="3483">
                  <c:v>3.4830000000000001</c:v>
                </c:pt>
                <c:pt idx="3484">
                  <c:v>3.484</c:v>
                </c:pt>
                <c:pt idx="3485">
                  <c:v>3.4849999999999999</c:v>
                </c:pt>
                <c:pt idx="3486">
                  <c:v>3.4860000000000002</c:v>
                </c:pt>
                <c:pt idx="3487">
                  <c:v>3.4870000000000001</c:v>
                </c:pt>
                <c:pt idx="3488">
                  <c:v>3.488</c:v>
                </c:pt>
                <c:pt idx="3489">
                  <c:v>3.4889999999999999</c:v>
                </c:pt>
                <c:pt idx="3490">
                  <c:v>3.49</c:v>
                </c:pt>
                <c:pt idx="3491">
                  <c:v>3.4910000000000001</c:v>
                </c:pt>
                <c:pt idx="3492">
                  <c:v>3.492</c:v>
                </c:pt>
                <c:pt idx="3493">
                  <c:v>3.4929999999999999</c:v>
                </c:pt>
                <c:pt idx="3494">
                  <c:v>3.4940000000000002</c:v>
                </c:pt>
                <c:pt idx="3495">
                  <c:v>3.4950000000000001</c:v>
                </c:pt>
                <c:pt idx="3496">
                  <c:v>3.496</c:v>
                </c:pt>
                <c:pt idx="3497">
                  <c:v>3.4969999999999999</c:v>
                </c:pt>
                <c:pt idx="3498">
                  <c:v>3.4980000000000002</c:v>
                </c:pt>
                <c:pt idx="3499">
                  <c:v>3.4990000000000001</c:v>
                </c:pt>
                <c:pt idx="3500">
                  <c:v>3.5</c:v>
                </c:pt>
                <c:pt idx="3501">
                  <c:v>3.5009999999999999</c:v>
                </c:pt>
                <c:pt idx="3502">
                  <c:v>3.5019999999999998</c:v>
                </c:pt>
                <c:pt idx="3503">
                  <c:v>3.5030000000000001</c:v>
                </c:pt>
                <c:pt idx="3504">
                  <c:v>3.504</c:v>
                </c:pt>
                <c:pt idx="3505">
                  <c:v>3.5049999999999999</c:v>
                </c:pt>
                <c:pt idx="3506">
                  <c:v>3.5059999999999998</c:v>
                </c:pt>
                <c:pt idx="3507">
                  <c:v>3.5070000000000001</c:v>
                </c:pt>
                <c:pt idx="3508">
                  <c:v>3.508</c:v>
                </c:pt>
                <c:pt idx="3509">
                  <c:v>3.5089999999999999</c:v>
                </c:pt>
                <c:pt idx="3510">
                  <c:v>3.51</c:v>
                </c:pt>
                <c:pt idx="3511">
                  <c:v>3.5110000000000001</c:v>
                </c:pt>
                <c:pt idx="3512">
                  <c:v>3.512</c:v>
                </c:pt>
                <c:pt idx="3513">
                  <c:v>3.5129999999999999</c:v>
                </c:pt>
                <c:pt idx="3514">
                  <c:v>3.5139999999999998</c:v>
                </c:pt>
                <c:pt idx="3515">
                  <c:v>3.5150000000000001</c:v>
                </c:pt>
                <c:pt idx="3516">
                  <c:v>3.516</c:v>
                </c:pt>
                <c:pt idx="3517">
                  <c:v>3.5169999999999999</c:v>
                </c:pt>
                <c:pt idx="3518">
                  <c:v>3.5179999999999998</c:v>
                </c:pt>
                <c:pt idx="3519">
                  <c:v>3.5190000000000001</c:v>
                </c:pt>
                <c:pt idx="3520">
                  <c:v>3.52</c:v>
                </c:pt>
                <c:pt idx="3521">
                  <c:v>3.5209999999999999</c:v>
                </c:pt>
                <c:pt idx="3522">
                  <c:v>3.5219999999999998</c:v>
                </c:pt>
                <c:pt idx="3523">
                  <c:v>3.5230000000000001</c:v>
                </c:pt>
                <c:pt idx="3524">
                  <c:v>3.524</c:v>
                </c:pt>
                <c:pt idx="3525">
                  <c:v>3.5249999999999999</c:v>
                </c:pt>
                <c:pt idx="3526">
                  <c:v>3.5259999999999998</c:v>
                </c:pt>
                <c:pt idx="3527">
                  <c:v>3.5270000000000001</c:v>
                </c:pt>
                <c:pt idx="3528">
                  <c:v>3.528</c:v>
                </c:pt>
                <c:pt idx="3529">
                  <c:v>3.5289999999999999</c:v>
                </c:pt>
                <c:pt idx="3530">
                  <c:v>3.53</c:v>
                </c:pt>
                <c:pt idx="3531">
                  <c:v>3.5310000000000001</c:v>
                </c:pt>
                <c:pt idx="3532">
                  <c:v>3.532</c:v>
                </c:pt>
                <c:pt idx="3533">
                  <c:v>3.5329999999999999</c:v>
                </c:pt>
                <c:pt idx="3534">
                  <c:v>3.5339999999999998</c:v>
                </c:pt>
                <c:pt idx="3535">
                  <c:v>3.5350000000000001</c:v>
                </c:pt>
                <c:pt idx="3536">
                  <c:v>3.536</c:v>
                </c:pt>
                <c:pt idx="3537">
                  <c:v>3.5369999999999999</c:v>
                </c:pt>
                <c:pt idx="3538">
                  <c:v>3.5379999999999998</c:v>
                </c:pt>
                <c:pt idx="3539">
                  <c:v>3.5390000000000001</c:v>
                </c:pt>
                <c:pt idx="3540">
                  <c:v>3.54</c:v>
                </c:pt>
                <c:pt idx="3541">
                  <c:v>3.5409999999999999</c:v>
                </c:pt>
                <c:pt idx="3542">
                  <c:v>3.5419999999999998</c:v>
                </c:pt>
                <c:pt idx="3543">
                  <c:v>3.5430000000000001</c:v>
                </c:pt>
                <c:pt idx="3544">
                  <c:v>3.544</c:v>
                </c:pt>
                <c:pt idx="3545">
                  <c:v>3.5449999999999999</c:v>
                </c:pt>
                <c:pt idx="3546">
                  <c:v>3.5459999999999998</c:v>
                </c:pt>
                <c:pt idx="3547">
                  <c:v>3.5470000000000002</c:v>
                </c:pt>
                <c:pt idx="3548">
                  <c:v>3.548</c:v>
                </c:pt>
                <c:pt idx="3549">
                  <c:v>3.5489999999999999</c:v>
                </c:pt>
                <c:pt idx="3550">
                  <c:v>3.55</c:v>
                </c:pt>
                <c:pt idx="3551">
                  <c:v>3.5510000000000002</c:v>
                </c:pt>
                <c:pt idx="3552">
                  <c:v>3.552</c:v>
                </c:pt>
                <c:pt idx="3553">
                  <c:v>3.5529999999999999</c:v>
                </c:pt>
                <c:pt idx="3554">
                  <c:v>3.5539999999999998</c:v>
                </c:pt>
                <c:pt idx="3555">
                  <c:v>3.5550000000000002</c:v>
                </c:pt>
                <c:pt idx="3556">
                  <c:v>3.556</c:v>
                </c:pt>
                <c:pt idx="3557">
                  <c:v>3.5569999999999999</c:v>
                </c:pt>
                <c:pt idx="3558">
                  <c:v>3.5579999999999998</c:v>
                </c:pt>
                <c:pt idx="3559">
                  <c:v>3.5590000000000002</c:v>
                </c:pt>
                <c:pt idx="3560">
                  <c:v>3.56</c:v>
                </c:pt>
                <c:pt idx="3561">
                  <c:v>3.5609999999999999</c:v>
                </c:pt>
                <c:pt idx="3562">
                  <c:v>3.5619999999999998</c:v>
                </c:pt>
                <c:pt idx="3563">
                  <c:v>3.5630000000000002</c:v>
                </c:pt>
                <c:pt idx="3564">
                  <c:v>3.5640000000000001</c:v>
                </c:pt>
                <c:pt idx="3565">
                  <c:v>3.5649999999999999</c:v>
                </c:pt>
                <c:pt idx="3566">
                  <c:v>3.5659999999999998</c:v>
                </c:pt>
                <c:pt idx="3567">
                  <c:v>3.5670000000000002</c:v>
                </c:pt>
                <c:pt idx="3568">
                  <c:v>3.5680000000000001</c:v>
                </c:pt>
                <c:pt idx="3569">
                  <c:v>3.569</c:v>
                </c:pt>
                <c:pt idx="3570">
                  <c:v>3.57</c:v>
                </c:pt>
                <c:pt idx="3571">
                  <c:v>3.5710000000000002</c:v>
                </c:pt>
                <c:pt idx="3572">
                  <c:v>3.5720000000000001</c:v>
                </c:pt>
                <c:pt idx="3573">
                  <c:v>3.573</c:v>
                </c:pt>
                <c:pt idx="3574">
                  <c:v>3.5739999999999998</c:v>
                </c:pt>
                <c:pt idx="3575">
                  <c:v>3.5750000000000002</c:v>
                </c:pt>
                <c:pt idx="3576">
                  <c:v>3.5760000000000001</c:v>
                </c:pt>
                <c:pt idx="3577">
                  <c:v>3.577</c:v>
                </c:pt>
                <c:pt idx="3578">
                  <c:v>3.5779999999999998</c:v>
                </c:pt>
                <c:pt idx="3579">
                  <c:v>3.5790000000000002</c:v>
                </c:pt>
                <c:pt idx="3580">
                  <c:v>3.58</c:v>
                </c:pt>
                <c:pt idx="3581">
                  <c:v>3.581</c:v>
                </c:pt>
                <c:pt idx="3582">
                  <c:v>3.5819999999999999</c:v>
                </c:pt>
                <c:pt idx="3583">
                  <c:v>3.5830000000000002</c:v>
                </c:pt>
                <c:pt idx="3584">
                  <c:v>3.5840000000000001</c:v>
                </c:pt>
                <c:pt idx="3585">
                  <c:v>3.585</c:v>
                </c:pt>
                <c:pt idx="3586">
                  <c:v>3.5859999999999999</c:v>
                </c:pt>
                <c:pt idx="3587">
                  <c:v>3.5870000000000002</c:v>
                </c:pt>
                <c:pt idx="3588">
                  <c:v>3.5880000000000001</c:v>
                </c:pt>
                <c:pt idx="3589">
                  <c:v>3.589</c:v>
                </c:pt>
                <c:pt idx="3590">
                  <c:v>3.59</c:v>
                </c:pt>
                <c:pt idx="3591">
                  <c:v>3.5910000000000002</c:v>
                </c:pt>
                <c:pt idx="3592">
                  <c:v>3.5920000000000001</c:v>
                </c:pt>
                <c:pt idx="3593">
                  <c:v>3.593</c:v>
                </c:pt>
                <c:pt idx="3594">
                  <c:v>3.5939999999999999</c:v>
                </c:pt>
                <c:pt idx="3595">
                  <c:v>3.5950000000000002</c:v>
                </c:pt>
                <c:pt idx="3596">
                  <c:v>3.5960000000000001</c:v>
                </c:pt>
                <c:pt idx="3597">
                  <c:v>3.597</c:v>
                </c:pt>
                <c:pt idx="3598">
                  <c:v>3.5979999999999999</c:v>
                </c:pt>
                <c:pt idx="3599">
                  <c:v>3.5990000000000002</c:v>
                </c:pt>
                <c:pt idx="3600">
                  <c:v>3.6</c:v>
                </c:pt>
                <c:pt idx="3601">
                  <c:v>3.601</c:v>
                </c:pt>
                <c:pt idx="3602">
                  <c:v>3.6019999999999999</c:v>
                </c:pt>
                <c:pt idx="3603">
                  <c:v>3.6030000000000002</c:v>
                </c:pt>
                <c:pt idx="3604">
                  <c:v>3.6040000000000001</c:v>
                </c:pt>
                <c:pt idx="3605">
                  <c:v>3.605</c:v>
                </c:pt>
                <c:pt idx="3606">
                  <c:v>3.6059999999999999</c:v>
                </c:pt>
                <c:pt idx="3607">
                  <c:v>3.6070000000000002</c:v>
                </c:pt>
                <c:pt idx="3608">
                  <c:v>3.6080000000000001</c:v>
                </c:pt>
                <c:pt idx="3609">
                  <c:v>3.609</c:v>
                </c:pt>
                <c:pt idx="3610">
                  <c:v>3.61</c:v>
                </c:pt>
                <c:pt idx="3611">
                  <c:v>3.6110000000000002</c:v>
                </c:pt>
                <c:pt idx="3612">
                  <c:v>3.6120000000000001</c:v>
                </c:pt>
                <c:pt idx="3613">
                  <c:v>3.613</c:v>
                </c:pt>
                <c:pt idx="3614">
                  <c:v>3.6139999999999999</c:v>
                </c:pt>
                <c:pt idx="3615">
                  <c:v>3.6150000000000002</c:v>
                </c:pt>
                <c:pt idx="3616">
                  <c:v>3.6160000000000001</c:v>
                </c:pt>
                <c:pt idx="3617">
                  <c:v>3.617</c:v>
                </c:pt>
                <c:pt idx="3618">
                  <c:v>3.6179999999999999</c:v>
                </c:pt>
                <c:pt idx="3619">
                  <c:v>3.6190000000000002</c:v>
                </c:pt>
                <c:pt idx="3620">
                  <c:v>3.62</c:v>
                </c:pt>
                <c:pt idx="3621">
                  <c:v>3.621</c:v>
                </c:pt>
                <c:pt idx="3622">
                  <c:v>3.6219999999999999</c:v>
                </c:pt>
                <c:pt idx="3623">
                  <c:v>3.6230000000000002</c:v>
                </c:pt>
                <c:pt idx="3624">
                  <c:v>3.6240000000000001</c:v>
                </c:pt>
                <c:pt idx="3625">
                  <c:v>3.625</c:v>
                </c:pt>
                <c:pt idx="3626">
                  <c:v>3.6259999999999999</c:v>
                </c:pt>
                <c:pt idx="3627">
                  <c:v>3.6269999999999998</c:v>
                </c:pt>
                <c:pt idx="3628">
                  <c:v>3.6280000000000001</c:v>
                </c:pt>
                <c:pt idx="3629">
                  <c:v>3.629</c:v>
                </c:pt>
                <c:pt idx="3630">
                  <c:v>3.63</c:v>
                </c:pt>
                <c:pt idx="3631">
                  <c:v>3.6309999999999998</c:v>
                </c:pt>
                <c:pt idx="3632">
                  <c:v>3.6320000000000001</c:v>
                </c:pt>
                <c:pt idx="3633">
                  <c:v>3.633</c:v>
                </c:pt>
                <c:pt idx="3634">
                  <c:v>3.6339999999999999</c:v>
                </c:pt>
                <c:pt idx="3635">
                  <c:v>3.6349999999999998</c:v>
                </c:pt>
                <c:pt idx="3636">
                  <c:v>3.6360000000000001</c:v>
                </c:pt>
                <c:pt idx="3637">
                  <c:v>3.637</c:v>
                </c:pt>
                <c:pt idx="3638">
                  <c:v>3.6379999999999999</c:v>
                </c:pt>
                <c:pt idx="3639">
                  <c:v>3.6389999999999998</c:v>
                </c:pt>
                <c:pt idx="3640">
                  <c:v>3.64</c:v>
                </c:pt>
                <c:pt idx="3641">
                  <c:v>3.641</c:v>
                </c:pt>
                <c:pt idx="3642">
                  <c:v>3.6419999999999999</c:v>
                </c:pt>
                <c:pt idx="3643">
                  <c:v>3.6429999999999998</c:v>
                </c:pt>
                <c:pt idx="3644">
                  <c:v>3.6440000000000001</c:v>
                </c:pt>
                <c:pt idx="3645">
                  <c:v>3.645</c:v>
                </c:pt>
                <c:pt idx="3646">
                  <c:v>3.6459999999999999</c:v>
                </c:pt>
                <c:pt idx="3647">
                  <c:v>3.6469999999999998</c:v>
                </c:pt>
                <c:pt idx="3648">
                  <c:v>3.6480000000000001</c:v>
                </c:pt>
                <c:pt idx="3649">
                  <c:v>3.649</c:v>
                </c:pt>
                <c:pt idx="3650">
                  <c:v>3.65</c:v>
                </c:pt>
                <c:pt idx="3651">
                  <c:v>3.6509999999999998</c:v>
                </c:pt>
                <c:pt idx="3652">
                  <c:v>3.6520000000000001</c:v>
                </c:pt>
                <c:pt idx="3653">
                  <c:v>3.653</c:v>
                </c:pt>
                <c:pt idx="3654">
                  <c:v>3.6539999999999999</c:v>
                </c:pt>
                <c:pt idx="3655">
                  <c:v>3.6549999999999998</c:v>
                </c:pt>
                <c:pt idx="3656">
                  <c:v>3.6560000000000001</c:v>
                </c:pt>
                <c:pt idx="3657">
                  <c:v>3.657</c:v>
                </c:pt>
                <c:pt idx="3658">
                  <c:v>3.6579999999999999</c:v>
                </c:pt>
                <c:pt idx="3659">
                  <c:v>3.6589999999999998</c:v>
                </c:pt>
                <c:pt idx="3660">
                  <c:v>3.66</c:v>
                </c:pt>
                <c:pt idx="3661">
                  <c:v>3.661</c:v>
                </c:pt>
                <c:pt idx="3662">
                  <c:v>3.6619999999999999</c:v>
                </c:pt>
                <c:pt idx="3663">
                  <c:v>3.6629999999999998</c:v>
                </c:pt>
                <c:pt idx="3664">
                  <c:v>3.6640000000000001</c:v>
                </c:pt>
                <c:pt idx="3665">
                  <c:v>3.665</c:v>
                </c:pt>
                <c:pt idx="3666">
                  <c:v>3.6659999999999999</c:v>
                </c:pt>
                <c:pt idx="3667">
                  <c:v>3.6669999999999998</c:v>
                </c:pt>
                <c:pt idx="3668">
                  <c:v>3.6680000000000001</c:v>
                </c:pt>
                <c:pt idx="3669">
                  <c:v>3.669</c:v>
                </c:pt>
                <c:pt idx="3670">
                  <c:v>3.67</c:v>
                </c:pt>
                <c:pt idx="3671">
                  <c:v>3.6709999999999998</c:v>
                </c:pt>
                <c:pt idx="3672">
                  <c:v>3.6720000000000002</c:v>
                </c:pt>
                <c:pt idx="3673">
                  <c:v>3.673</c:v>
                </c:pt>
                <c:pt idx="3674">
                  <c:v>3.6739999999999999</c:v>
                </c:pt>
                <c:pt idx="3675">
                  <c:v>3.6749999999999998</c:v>
                </c:pt>
                <c:pt idx="3676">
                  <c:v>3.6760000000000002</c:v>
                </c:pt>
                <c:pt idx="3677">
                  <c:v>3.677</c:v>
                </c:pt>
                <c:pt idx="3678">
                  <c:v>3.6779999999999999</c:v>
                </c:pt>
                <c:pt idx="3679">
                  <c:v>3.6789999999999998</c:v>
                </c:pt>
                <c:pt idx="3680">
                  <c:v>3.68</c:v>
                </c:pt>
                <c:pt idx="3681">
                  <c:v>3.681</c:v>
                </c:pt>
                <c:pt idx="3682">
                  <c:v>3.6819999999999999</c:v>
                </c:pt>
                <c:pt idx="3683">
                  <c:v>3.6829999999999998</c:v>
                </c:pt>
                <c:pt idx="3684">
                  <c:v>3.6840000000000002</c:v>
                </c:pt>
                <c:pt idx="3685">
                  <c:v>3.6850000000000001</c:v>
                </c:pt>
                <c:pt idx="3686">
                  <c:v>3.6859999999999999</c:v>
                </c:pt>
                <c:pt idx="3687">
                  <c:v>3.6869999999999998</c:v>
                </c:pt>
                <c:pt idx="3688">
                  <c:v>3.6880000000000002</c:v>
                </c:pt>
                <c:pt idx="3689">
                  <c:v>3.6890000000000001</c:v>
                </c:pt>
                <c:pt idx="3690">
                  <c:v>3.69</c:v>
                </c:pt>
                <c:pt idx="3691">
                  <c:v>3.6909999999999998</c:v>
                </c:pt>
                <c:pt idx="3692">
                  <c:v>3.6920000000000002</c:v>
                </c:pt>
                <c:pt idx="3693">
                  <c:v>3.6930000000000001</c:v>
                </c:pt>
                <c:pt idx="3694">
                  <c:v>3.694</c:v>
                </c:pt>
                <c:pt idx="3695">
                  <c:v>3.6949999999999998</c:v>
                </c:pt>
                <c:pt idx="3696">
                  <c:v>3.6960000000000002</c:v>
                </c:pt>
                <c:pt idx="3697">
                  <c:v>3.6970000000000001</c:v>
                </c:pt>
                <c:pt idx="3698">
                  <c:v>3.698</c:v>
                </c:pt>
                <c:pt idx="3699">
                  <c:v>3.6989999999999998</c:v>
                </c:pt>
                <c:pt idx="3700">
                  <c:v>3.7</c:v>
                </c:pt>
                <c:pt idx="3701">
                  <c:v>3.7010000000000001</c:v>
                </c:pt>
                <c:pt idx="3702">
                  <c:v>3.702</c:v>
                </c:pt>
                <c:pt idx="3703">
                  <c:v>3.7029999999999998</c:v>
                </c:pt>
                <c:pt idx="3704">
                  <c:v>3.7040000000000002</c:v>
                </c:pt>
                <c:pt idx="3705">
                  <c:v>3.7050000000000001</c:v>
                </c:pt>
                <c:pt idx="3706">
                  <c:v>3.706</c:v>
                </c:pt>
                <c:pt idx="3707">
                  <c:v>3.7069999999999999</c:v>
                </c:pt>
                <c:pt idx="3708">
                  <c:v>3.7080000000000002</c:v>
                </c:pt>
                <c:pt idx="3709">
                  <c:v>3.7090000000000001</c:v>
                </c:pt>
                <c:pt idx="3710">
                  <c:v>3.71</c:v>
                </c:pt>
                <c:pt idx="3711">
                  <c:v>3.7109999999999999</c:v>
                </c:pt>
                <c:pt idx="3712">
                  <c:v>3.7120000000000002</c:v>
                </c:pt>
                <c:pt idx="3713">
                  <c:v>3.7130000000000001</c:v>
                </c:pt>
                <c:pt idx="3714">
                  <c:v>3.714</c:v>
                </c:pt>
                <c:pt idx="3715">
                  <c:v>3.7149999999999999</c:v>
                </c:pt>
                <c:pt idx="3716">
                  <c:v>3.7160000000000002</c:v>
                </c:pt>
                <c:pt idx="3717">
                  <c:v>3.7170000000000001</c:v>
                </c:pt>
                <c:pt idx="3718">
                  <c:v>3.718</c:v>
                </c:pt>
                <c:pt idx="3719">
                  <c:v>3.7189999999999999</c:v>
                </c:pt>
                <c:pt idx="3720">
                  <c:v>3.72</c:v>
                </c:pt>
                <c:pt idx="3721">
                  <c:v>3.7210000000000001</c:v>
                </c:pt>
                <c:pt idx="3722">
                  <c:v>3.722</c:v>
                </c:pt>
                <c:pt idx="3723">
                  <c:v>3.7229999999999999</c:v>
                </c:pt>
                <c:pt idx="3724">
                  <c:v>3.7240000000000002</c:v>
                </c:pt>
                <c:pt idx="3725">
                  <c:v>3.7250000000000001</c:v>
                </c:pt>
                <c:pt idx="3726">
                  <c:v>3.726</c:v>
                </c:pt>
                <c:pt idx="3727">
                  <c:v>3.7269999999999999</c:v>
                </c:pt>
                <c:pt idx="3728">
                  <c:v>3.7280000000000002</c:v>
                </c:pt>
                <c:pt idx="3729">
                  <c:v>3.7290000000000001</c:v>
                </c:pt>
                <c:pt idx="3730">
                  <c:v>3.73</c:v>
                </c:pt>
                <c:pt idx="3731">
                  <c:v>3.7309999999999999</c:v>
                </c:pt>
                <c:pt idx="3732">
                  <c:v>3.7320000000000002</c:v>
                </c:pt>
                <c:pt idx="3733">
                  <c:v>3.7330000000000001</c:v>
                </c:pt>
                <c:pt idx="3734">
                  <c:v>3.734</c:v>
                </c:pt>
                <c:pt idx="3735">
                  <c:v>3.7349999999999999</c:v>
                </c:pt>
                <c:pt idx="3736">
                  <c:v>3.7360000000000002</c:v>
                </c:pt>
                <c:pt idx="3737">
                  <c:v>3.7370000000000001</c:v>
                </c:pt>
                <c:pt idx="3738">
                  <c:v>3.738</c:v>
                </c:pt>
                <c:pt idx="3739">
                  <c:v>3.7389999999999999</c:v>
                </c:pt>
                <c:pt idx="3740">
                  <c:v>3.74</c:v>
                </c:pt>
                <c:pt idx="3741">
                  <c:v>3.7410000000000001</c:v>
                </c:pt>
                <c:pt idx="3742">
                  <c:v>3.742</c:v>
                </c:pt>
                <c:pt idx="3743">
                  <c:v>3.7429999999999999</c:v>
                </c:pt>
                <c:pt idx="3744">
                  <c:v>3.7440000000000002</c:v>
                </c:pt>
                <c:pt idx="3745">
                  <c:v>3.7450000000000001</c:v>
                </c:pt>
                <c:pt idx="3746">
                  <c:v>3.746</c:v>
                </c:pt>
                <c:pt idx="3747">
                  <c:v>3.7469999999999999</c:v>
                </c:pt>
                <c:pt idx="3748">
                  <c:v>3.7480000000000002</c:v>
                </c:pt>
                <c:pt idx="3749">
                  <c:v>3.7490000000000001</c:v>
                </c:pt>
                <c:pt idx="3750">
                  <c:v>3.75</c:v>
                </c:pt>
                <c:pt idx="3751">
                  <c:v>3.7509999999999999</c:v>
                </c:pt>
                <c:pt idx="3752">
                  <c:v>3.7519999999999998</c:v>
                </c:pt>
                <c:pt idx="3753">
                  <c:v>3.7530000000000001</c:v>
                </c:pt>
                <c:pt idx="3754">
                  <c:v>3.754</c:v>
                </c:pt>
                <c:pt idx="3755">
                  <c:v>3.7549999999999999</c:v>
                </c:pt>
                <c:pt idx="3756">
                  <c:v>3.7559999999999998</c:v>
                </c:pt>
                <c:pt idx="3757">
                  <c:v>3.7570000000000001</c:v>
                </c:pt>
                <c:pt idx="3758">
                  <c:v>3.758</c:v>
                </c:pt>
                <c:pt idx="3759">
                  <c:v>3.7589999999999999</c:v>
                </c:pt>
                <c:pt idx="3760">
                  <c:v>3.76</c:v>
                </c:pt>
                <c:pt idx="3761">
                  <c:v>3.7610000000000001</c:v>
                </c:pt>
                <c:pt idx="3762">
                  <c:v>3.762</c:v>
                </c:pt>
                <c:pt idx="3763">
                  <c:v>3.7629999999999999</c:v>
                </c:pt>
                <c:pt idx="3764">
                  <c:v>3.7639999999999998</c:v>
                </c:pt>
                <c:pt idx="3765">
                  <c:v>3.7650000000000001</c:v>
                </c:pt>
                <c:pt idx="3766">
                  <c:v>3.766</c:v>
                </c:pt>
                <c:pt idx="3767">
                  <c:v>3.7669999999999999</c:v>
                </c:pt>
                <c:pt idx="3768">
                  <c:v>3.7679999999999998</c:v>
                </c:pt>
                <c:pt idx="3769">
                  <c:v>3.7690000000000001</c:v>
                </c:pt>
                <c:pt idx="3770">
                  <c:v>3.77</c:v>
                </c:pt>
                <c:pt idx="3771">
                  <c:v>3.7709999999999999</c:v>
                </c:pt>
                <c:pt idx="3772">
                  <c:v>3.7719999999999998</c:v>
                </c:pt>
                <c:pt idx="3773">
                  <c:v>3.7730000000000001</c:v>
                </c:pt>
                <c:pt idx="3774">
                  <c:v>3.774</c:v>
                </c:pt>
                <c:pt idx="3775">
                  <c:v>3.7749999999999999</c:v>
                </c:pt>
                <c:pt idx="3776">
                  <c:v>3.7759999999999998</c:v>
                </c:pt>
                <c:pt idx="3777">
                  <c:v>3.7770000000000001</c:v>
                </c:pt>
                <c:pt idx="3778">
                  <c:v>3.778</c:v>
                </c:pt>
                <c:pt idx="3779">
                  <c:v>3.7789999999999999</c:v>
                </c:pt>
                <c:pt idx="3780">
                  <c:v>3.78</c:v>
                </c:pt>
                <c:pt idx="3781">
                  <c:v>3.7810000000000001</c:v>
                </c:pt>
                <c:pt idx="3782">
                  <c:v>3.782</c:v>
                </c:pt>
                <c:pt idx="3783">
                  <c:v>3.7829999999999999</c:v>
                </c:pt>
                <c:pt idx="3784">
                  <c:v>3.7839999999999998</c:v>
                </c:pt>
                <c:pt idx="3785">
                  <c:v>3.7850000000000001</c:v>
                </c:pt>
                <c:pt idx="3786">
                  <c:v>3.786</c:v>
                </c:pt>
                <c:pt idx="3787">
                  <c:v>3.7869999999999999</c:v>
                </c:pt>
                <c:pt idx="3788">
                  <c:v>3.7879999999999998</c:v>
                </c:pt>
                <c:pt idx="3789">
                  <c:v>3.7890000000000001</c:v>
                </c:pt>
                <c:pt idx="3790">
                  <c:v>3.79</c:v>
                </c:pt>
                <c:pt idx="3791">
                  <c:v>3.7909999999999999</c:v>
                </c:pt>
                <c:pt idx="3792">
                  <c:v>3.7919999999999998</c:v>
                </c:pt>
                <c:pt idx="3793">
                  <c:v>3.7930000000000001</c:v>
                </c:pt>
                <c:pt idx="3794">
                  <c:v>3.794</c:v>
                </c:pt>
                <c:pt idx="3795">
                  <c:v>3.7949999999999999</c:v>
                </c:pt>
                <c:pt idx="3796">
                  <c:v>3.7959999999999998</c:v>
                </c:pt>
                <c:pt idx="3797">
                  <c:v>3.7970000000000002</c:v>
                </c:pt>
                <c:pt idx="3798">
                  <c:v>3.798</c:v>
                </c:pt>
                <c:pt idx="3799">
                  <c:v>3.7989999999999999</c:v>
                </c:pt>
                <c:pt idx="3800">
                  <c:v>3.8</c:v>
                </c:pt>
                <c:pt idx="3801">
                  <c:v>3.8010000000000002</c:v>
                </c:pt>
                <c:pt idx="3802">
                  <c:v>3.802</c:v>
                </c:pt>
                <c:pt idx="3803">
                  <c:v>3.8029999999999999</c:v>
                </c:pt>
                <c:pt idx="3804">
                  <c:v>3.8039999999999998</c:v>
                </c:pt>
                <c:pt idx="3805">
                  <c:v>3.8050000000000002</c:v>
                </c:pt>
                <c:pt idx="3806">
                  <c:v>3.806</c:v>
                </c:pt>
                <c:pt idx="3807">
                  <c:v>3.8069999999999999</c:v>
                </c:pt>
                <c:pt idx="3808">
                  <c:v>3.8079999999999998</c:v>
                </c:pt>
                <c:pt idx="3809">
                  <c:v>3.8090000000000002</c:v>
                </c:pt>
                <c:pt idx="3810">
                  <c:v>3.81</c:v>
                </c:pt>
                <c:pt idx="3811">
                  <c:v>3.8109999999999999</c:v>
                </c:pt>
                <c:pt idx="3812">
                  <c:v>3.8119999999999998</c:v>
                </c:pt>
                <c:pt idx="3813">
                  <c:v>3.8130000000000002</c:v>
                </c:pt>
                <c:pt idx="3814">
                  <c:v>3.8140000000000001</c:v>
                </c:pt>
                <c:pt idx="3815">
                  <c:v>3.8149999999999999</c:v>
                </c:pt>
                <c:pt idx="3816">
                  <c:v>3.8159999999999998</c:v>
                </c:pt>
                <c:pt idx="3817">
                  <c:v>3.8170000000000002</c:v>
                </c:pt>
                <c:pt idx="3818">
                  <c:v>3.8180000000000001</c:v>
                </c:pt>
                <c:pt idx="3819">
                  <c:v>3.819</c:v>
                </c:pt>
                <c:pt idx="3820">
                  <c:v>3.82</c:v>
                </c:pt>
                <c:pt idx="3821">
                  <c:v>3.8210000000000002</c:v>
                </c:pt>
                <c:pt idx="3822">
                  <c:v>3.8220000000000001</c:v>
                </c:pt>
                <c:pt idx="3823">
                  <c:v>3.823</c:v>
                </c:pt>
                <c:pt idx="3824">
                  <c:v>3.8239999999999998</c:v>
                </c:pt>
                <c:pt idx="3825">
                  <c:v>3.8250000000000002</c:v>
                </c:pt>
                <c:pt idx="3826">
                  <c:v>3.8260000000000001</c:v>
                </c:pt>
                <c:pt idx="3827">
                  <c:v>3.827</c:v>
                </c:pt>
                <c:pt idx="3828">
                  <c:v>3.8279999999999998</c:v>
                </c:pt>
                <c:pt idx="3829">
                  <c:v>3.8290000000000002</c:v>
                </c:pt>
                <c:pt idx="3830">
                  <c:v>3.83</c:v>
                </c:pt>
                <c:pt idx="3831">
                  <c:v>3.831</c:v>
                </c:pt>
                <c:pt idx="3832">
                  <c:v>3.8319999999999999</c:v>
                </c:pt>
                <c:pt idx="3833">
                  <c:v>3.8330000000000002</c:v>
                </c:pt>
                <c:pt idx="3834">
                  <c:v>3.8340000000000001</c:v>
                </c:pt>
                <c:pt idx="3835">
                  <c:v>3.835</c:v>
                </c:pt>
                <c:pt idx="3836">
                  <c:v>3.8359999999999999</c:v>
                </c:pt>
                <c:pt idx="3837">
                  <c:v>3.8370000000000002</c:v>
                </c:pt>
                <c:pt idx="3838">
                  <c:v>3.8380000000000001</c:v>
                </c:pt>
                <c:pt idx="3839">
                  <c:v>3.839</c:v>
                </c:pt>
                <c:pt idx="3840">
                  <c:v>3.84</c:v>
                </c:pt>
                <c:pt idx="3841">
                  <c:v>3.8410000000000002</c:v>
                </c:pt>
                <c:pt idx="3842">
                  <c:v>3.8420000000000001</c:v>
                </c:pt>
                <c:pt idx="3843">
                  <c:v>3.843</c:v>
                </c:pt>
                <c:pt idx="3844">
                  <c:v>3.8439999999999999</c:v>
                </c:pt>
                <c:pt idx="3845">
                  <c:v>3.8450000000000002</c:v>
                </c:pt>
                <c:pt idx="3846">
                  <c:v>3.8460000000000001</c:v>
                </c:pt>
                <c:pt idx="3847">
                  <c:v>3.847</c:v>
                </c:pt>
                <c:pt idx="3848">
                  <c:v>3.8479999999999999</c:v>
                </c:pt>
                <c:pt idx="3849">
                  <c:v>3.8490000000000002</c:v>
                </c:pt>
                <c:pt idx="3850">
                  <c:v>3.85</c:v>
                </c:pt>
                <c:pt idx="3851">
                  <c:v>3.851</c:v>
                </c:pt>
                <c:pt idx="3852">
                  <c:v>3.8519999999999999</c:v>
                </c:pt>
                <c:pt idx="3853">
                  <c:v>3.8530000000000002</c:v>
                </c:pt>
                <c:pt idx="3854">
                  <c:v>3.8540000000000001</c:v>
                </c:pt>
                <c:pt idx="3855">
                  <c:v>3.855</c:v>
                </c:pt>
                <c:pt idx="3856">
                  <c:v>3.8559999999999999</c:v>
                </c:pt>
                <c:pt idx="3857">
                  <c:v>3.8570000000000002</c:v>
                </c:pt>
                <c:pt idx="3858">
                  <c:v>3.8580000000000001</c:v>
                </c:pt>
                <c:pt idx="3859">
                  <c:v>3.859</c:v>
                </c:pt>
                <c:pt idx="3860">
                  <c:v>3.86</c:v>
                </c:pt>
                <c:pt idx="3861">
                  <c:v>3.8610000000000002</c:v>
                </c:pt>
                <c:pt idx="3862">
                  <c:v>3.8620000000000001</c:v>
                </c:pt>
                <c:pt idx="3863">
                  <c:v>3.863</c:v>
                </c:pt>
                <c:pt idx="3864">
                  <c:v>3.8639999999999999</c:v>
                </c:pt>
                <c:pt idx="3865">
                  <c:v>3.8650000000000002</c:v>
                </c:pt>
                <c:pt idx="3866">
                  <c:v>3.8660000000000001</c:v>
                </c:pt>
                <c:pt idx="3867">
                  <c:v>3.867</c:v>
                </c:pt>
                <c:pt idx="3868">
                  <c:v>3.8679999999999999</c:v>
                </c:pt>
                <c:pt idx="3869">
                  <c:v>3.8690000000000002</c:v>
                </c:pt>
                <c:pt idx="3870">
                  <c:v>3.87</c:v>
                </c:pt>
                <c:pt idx="3871">
                  <c:v>3.871</c:v>
                </c:pt>
                <c:pt idx="3872">
                  <c:v>3.8719999999999999</c:v>
                </c:pt>
                <c:pt idx="3873">
                  <c:v>3.8730000000000002</c:v>
                </c:pt>
                <c:pt idx="3874">
                  <c:v>3.8740000000000001</c:v>
                </c:pt>
                <c:pt idx="3875">
                  <c:v>3.875</c:v>
                </c:pt>
                <c:pt idx="3876">
                  <c:v>3.8759999999999999</c:v>
                </c:pt>
                <c:pt idx="3877">
                  <c:v>3.8769999999999998</c:v>
                </c:pt>
                <c:pt idx="3878">
                  <c:v>3.8780000000000001</c:v>
                </c:pt>
                <c:pt idx="3879">
                  <c:v>3.879</c:v>
                </c:pt>
                <c:pt idx="3880">
                  <c:v>3.88</c:v>
                </c:pt>
                <c:pt idx="3881">
                  <c:v>3.8809999999999998</c:v>
                </c:pt>
                <c:pt idx="3882">
                  <c:v>3.8820000000000001</c:v>
                </c:pt>
                <c:pt idx="3883">
                  <c:v>3.883</c:v>
                </c:pt>
                <c:pt idx="3884">
                  <c:v>3.8839999999999999</c:v>
                </c:pt>
                <c:pt idx="3885">
                  <c:v>3.8849999999999998</c:v>
                </c:pt>
                <c:pt idx="3886">
                  <c:v>3.8860000000000001</c:v>
                </c:pt>
                <c:pt idx="3887">
                  <c:v>3.887</c:v>
                </c:pt>
                <c:pt idx="3888">
                  <c:v>3.8879999999999999</c:v>
                </c:pt>
                <c:pt idx="3889">
                  <c:v>3.8889999999999998</c:v>
                </c:pt>
                <c:pt idx="3890">
                  <c:v>3.89</c:v>
                </c:pt>
                <c:pt idx="3891">
                  <c:v>3.891</c:v>
                </c:pt>
                <c:pt idx="3892">
                  <c:v>3.8919999999999999</c:v>
                </c:pt>
                <c:pt idx="3893">
                  <c:v>3.8929999999999998</c:v>
                </c:pt>
                <c:pt idx="3894">
                  <c:v>3.8940000000000001</c:v>
                </c:pt>
                <c:pt idx="3895">
                  <c:v>3.895</c:v>
                </c:pt>
                <c:pt idx="3896">
                  <c:v>3.8959999999999999</c:v>
                </c:pt>
                <c:pt idx="3897">
                  <c:v>3.8969999999999998</c:v>
                </c:pt>
                <c:pt idx="3898">
                  <c:v>3.8980000000000001</c:v>
                </c:pt>
                <c:pt idx="3899">
                  <c:v>3.899</c:v>
                </c:pt>
                <c:pt idx="3900">
                  <c:v>3.9</c:v>
                </c:pt>
                <c:pt idx="3901">
                  <c:v>3.9009999999999998</c:v>
                </c:pt>
                <c:pt idx="3902">
                  <c:v>3.9020000000000001</c:v>
                </c:pt>
                <c:pt idx="3903">
                  <c:v>3.903</c:v>
                </c:pt>
                <c:pt idx="3904">
                  <c:v>3.9039999999999999</c:v>
                </c:pt>
                <c:pt idx="3905">
                  <c:v>3.9049999999999998</c:v>
                </c:pt>
                <c:pt idx="3906">
                  <c:v>3.9060000000000001</c:v>
                </c:pt>
                <c:pt idx="3907">
                  <c:v>3.907</c:v>
                </c:pt>
                <c:pt idx="3908">
                  <c:v>3.9079999999999999</c:v>
                </c:pt>
                <c:pt idx="3909">
                  <c:v>3.9089999999999998</c:v>
                </c:pt>
                <c:pt idx="3910">
                  <c:v>3.91</c:v>
                </c:pt>
                <c:pt idx="3911">
                  <c:v>3.911</c:v>
                </c:pt>
                <c:pt idx="3912">
                  <c:v>3.9119999999999999</c:v>
                </c:pt>
                <c:pt idx="3913">
                  <c:v>3.9129999999999998</c:v>
                </c:pt>
                <c:pt idx="3914">
                  <c:v>3.9140000000000001</c:v>
                </c:pt>
                <c:pt idx="3915">
                  <c:v>3.915</c:v>
                </c:pt>
                <c:pt idx="3916">
                  <c:v>3.9159999999999999</c:v>
                </c:pt>
                <c:pt idx="3917">
                  <c:v>3.9169999999999998</c:v>
                </c:pt>
                <c:pt idx="3918">
                  <c:v>3.9180000000000001</c:v>
                </c:pt>
                <c:pt idx="3919">
                  <c:v>3.919</c:v>
                </c:pt>
                <c:pt idx="3920">
                  <c:v>3.92</c:v>
                </c:pt>
                <c:pt idx="3921">
                  <c:v>3.9209999999999998</c:v>
                </c:pt>
                <c:pt idx="3922">
                  <c:v>3.9220000000000002</c:v>
                </c:pt>
                <c:pt idx="3923">
                  <c:v>3.923</c:v>
                </c:pt>
                <c:pt idx="3924">
                  <c:v>3.9239999999999999</c:v>
                </c:pt>
                <c:pt idx="3925">
                  <c:v>3.9249999999999998</c:v>
                </c:pt>
                <c:pt idx="3926">
                  <c:v>3.9260000000000002</c:v>
                </c:pt>
                <c:pt idx="3927">
                  <c:v>3.927</c:v>
                </c:pt>
                <c:pt idx="3928">
                  <c:v>3.9279999999999999</c:v>
                </c:pt>
                <c:pt idx="3929">
                  <c:v>3.9289999999999998</c:v>
                </c:pt>
                <c:pt idx="3930">
                  <c:v>3.93</c:v>
                </c:pt>
                <c:pt idx="3931">
                  <c:v>3.931</c:v>
                </c:pt>
                <c:pt idx="3932">
                  <c:v>3.9319999999999999</c:v>
                </c:pt>
                <c:pt idx="3933">
                  <c:v>3.9329999999999998</c:v>
                </c:pt>
                <c:pt idx="3934">
                  <c:v>3.9340000000000002</c:v>
                </c:pt>
                <c:pt idx="3935">
                  <c:v>3.9350000000000001</c:v>
                </c:pt>
                <c:pt idx="3936">
                  <c:v>3.9359999999999999</c:v>
                </c:pt>
                <c:pt idx="3937">
                  <c:v>3.9369999999999998</c:v>
                </c:pt>
                <c:pt idx="3938">
                  <c:v>3.9380000000000002</c:v>
                </c:pt>
                <c:pt idx="3939">
                  <c:v>3.9390000000000001</c:v>
                </c:pt>
                <c:pt idx="3940">
                  <c:v>3.94</c:v>
                </c:pt>
                <c:pt idx="3941">
                  <c:v>3.9409999999999998</c:v>
                </c:pt>
                <c:pt idx="3942">
                  <c:v>3.9420000000000002</c:v>
                </c:pt>
                <c:pt idx="3943">
                  <c:v>3.9430000000000001</c:v>
                </c:pt>
                <c:pt idx="3944">
                  <c:v>3.944</c:v>
                </c:pt>
                <c:pt idx="3945">
                  <c:v>3.9449999999999998</c:v>
                </c:pt>
                <c:pt idx="3946">
                  <c:v>3.9460000000000002</c:v>
                </c:pt>
                <c:pt idx="3947">
                  <c:v>3.9470000000000001</c:v>
                </c:pt>
                <c:pt idx="3948">
                  <c:v>3.948</c:v>
                </c:pt>
                <c:pt idx="3949">
                  <c:v>3.9489999999999998</c:v>
                </c:pt>
                <c:pt idx="3950">
                  <c:v>3.95</c:v>
                </c:pt>
                <c:pt idx="3951">
                  <c:v>3.9510000000000001</c:v>
                </c:pt>
                <c:pt idx="3952">
                  <c:v>3.952</c:v>
                </c:pt>
                <c:pt idx="3953">
                  <c:v>3.9529999999999998</c:v>
                </c:pt>
                <c:pt idx="3954">
                  <c:v>3.9540000000000002</c:v>
                </c:pt>
                <c:pt idx="3955">
                  <c:v>3.9550000000000001</c:v>
                </c:pt>
                <c:pt idx="3956">
                  <c:v>3.956</c:v>
                </c:pt>
                <c:pt idx="3957">
                  <c:v>3.9569999999999999</c:v>
                </c:pt>
                <c:pt idx="3958">
                  <c:v>3.9580000000000002</c:v>
                </c:pt>
                <c:pt idx="3959">
                  <c:v>3.9590000000000001</c:v>
                </c:pt>
                <c:pt idx="3960">
                  <c:v>3.96</c:v>
                </c:pt>
                <c:pt idx="3961">
                  <c:v>3.9609999999999999</c:v>
                </c:pt>
                <c:pt idx="3962">
                  <c:v>3.9620000000000002</c:v>
                </c:pt>
                <c:pt idx="3963">
                  <c:v>3.9630000000000001</c:v>
                </c:pt>
                <c:pt idx="3964">
                  <c:v>3.964</c:v>
                </c:pt>
                <c:pt idx="3965">
                  <c:v>3.9649999999999999</c:v>
                </c:pt>
                <c:pt idx="3966">
                  <c:v>3.9660000000000002</c:v>
                </c:pt>
                <c:pt idx="3967">
                  <c:v>3.9670000000000001</c:v>
                </c:pt>
                <c:pt idx="3968">
                  <c:v>3.968</c:v>
                </c:pt>
                <c:pt idx="3969">
                  <c:v>3.9689999999999999</c:v>
                </c:pt>
                <c:pt idx="3970">
                  <c:v>3.97</c:v>
                </c:pt>
                <c:pt idx="3971">
                  <c:v>3.9710000000000001</c:v>
                </c:pt>
                <c:pt idx="3972">
                  <c:v>3.972</c:v>
                </c:pt>
                <c:pt idx="3973">
                  <c:v>3.9729999999999999</c:v>
                </c:pt>
                <c:pt idx="3974">
                  <c:v>3.9740000000000002</c:v>
                </c:pt>
                <c:pt idx="3975">
                  <c:v>3.9750000000000001</c:v>
                </c:pt>
                <c:pt idx="3976">
                  <c:v>3.976</c:v>
                </c:pt>
                <c:pt idx="3977">
                  <c:v>3.9769999999999999</c:v>
                </c:pt>
                <c:pt idx="3978">
                  <c:v>3.9780000000000002</c:v>
                </c:pt>
                <c:pt idx="3979">
                  <c:v>3.9790000000000001</c:v>
                </c:pt>
                <c:pt idx="3980">
                  <c:v>3.98</c:v>
                </c:pt>
                <c:pt idx="3981">
                  <c:v>3.9809999999999999</c:v>
                </c:pt>
                <c:pt idx="3982">
                  <c:v>3.9820000000000002</c:v>
                </c:pt>
                <c:pt idx="3983">
                  <c:v>3.9830000000000001</c:v>
                </c:pt>
                <c:pt idx="3984">
                  <c:v>3.984</c:v>
                </c:pt>
                <c:pt idx="3985">
                  <c:v>3.9849999999999999</c:v>
                </c:pt>
                <c:pt idx="3986">
                  <c:v>3.9860000000000002</c:v>
                </c:pt>
                <c:pt idx="3987">
                  <c:v>3.9870000000000001</c:v>
                </c:pt>
                <c:pt idx="3988">
                  <c:v>3.988</c:v>
                </c:pt>
                <c:pt idx="3989">
                  <c:v>3.9889999999999999</c:v>
                </c:pt>
                <c:pt idx="3990">
                  <c:v>3.99</c:v>
                </c:pt>
                <c:pt idx="3991">
                  <c:v>3.9910000000000001</c:v>
                </c:pt>
                <c:pt idx="3992">
                  <c:v>3.992</c:v>
                </c:pt>
                <c:pt idx="3993">
                  <c:v>3.9929999999999999</c:v>
                </c:pt>
                <c:pt idx="3994">
                  <c:v>3.9940000000000002</c:v>
                </c:pt>
                <c:pt idx="3995">
                  <c:v>3.9950000000000001</c:v>
                </c:pt>
                <c:pt idx="3996">
                  <c:v>3.996</c:v>
                </c:pt>
                <c:pt idx="3997">
                  <c:v>3.9969999999999999</c:v>
                </c:pt>
                <c:pt idx="3998">
                  <c:v>3.9980000000000002</c:v>
                </c:pt>
                <c:pt idx="3999">
                  <c:v>3.9990000000000001</c:v>
                </c:pt>
                <c:pt idx="4000">
                  <c:v>4</c:v>
                </c:pt>
                <c:pt idx="4001">
                  <c:v>4.0010000000000003</c:v>
                </c:pt>
                <c:pt idx="4002">
                  <c:v>4.0019999999999998</c:v>
                </c:pt>
                <c:pt idx="4003">
                  <c:v>4.0030000000000001</c:v>
                </c:pt>
                <c:pt idx="4004">
                  <c:v>4.0039999999999996</c:v>
                </c:pt>
                <c:pt idx="4005">
                  <c:v>4.0049999999999999</c:v>
                </c:pt>
                <c:pt idx="4006">
                  <c:v>4.0060000000000002</c:v>
                </c:pt>
                <c:pt idx="4007">
                  <c:v>4.0069999999999997</c:v>
                </c:pt>
                <c:pt idx="4008">
                  <c:v>4.008</c:v>
                </c:pt>
                <c:pt idx="4009">
                  <c:v>4.0090000000000003</c:v>
                </c:pt>
                <c:pt idx="4010">
                  <c:v>4.01</c:v>
                </c:pt>
                <c:pt idx="4011">
                  <c:v>4.0110000000000001</c:v>
                </c:pt>
                <c:pt idx="4012">
                  <c:v>4.0119999999999996</c:v>
                </c:pt>
                <c:pt idx="4013">
                  <c:v>4.0129999999999999</c:v>
                </c:pt>
                <c:pt idx="4014">
                  <c:v>4.0140000000000002</c:v>
                </c:pt>
                <c:pt idx="4015">
                  <c:v>4.0149999999999997</c:v>
                </c:pt>
                <c:pt idx="4016">
                  <c:v>4.016</c:v>
                </c:pt>
                <c:pt idx="4017">
                  <c:v>4.0170000000000003</c:v>
                </c:pt>
                <c:pt idx="4018">
                  <c:v>4.0179999999999998</c:v>
                </c:pt>
                <c:pt idx="4019">
                  <c:v>4.0190000000000001</c:v>
                </c:pt>
                <c:pt idx="4020">
                  <c:v>4.0199999999999996</c:v>
                </c:pt>
                <c:pt idx="4021">
                  <c:v>4.0209999999999999</c:v>
                </c:pt>
                <c:pt idx="4022">
                  <c:v>4.0220000000000002</c:v>
                </c:pt>
                <c:pt idx="4023">
                  <c:v>4.0229999999999997</c:v>
                </c:pt>
                <c:pt idx="4024">
                  <c:v>4.024</c:v>
                </c:pt>
                <c:pt idx="4025">
                  <c:v>4.0250000000000004</c:v>
                </c:pt>
                <c:pt idx="4026">
                  <c:v>4.0259999999999998</c:v>
                </c:pt>
                <c:pt idx="4027">
                  <c:v>4.0270000000000001</c:v>
                </c:pt>
                <c:pt idx="4028">
                  <c:v>4.0279999999999996</c:v>
                </c:pt>
                <c:pt idx="4029">
                  <c:v>4.0289999999999999</c:v>
                </c:pt>
                <c:pt idx="4030">
                  <c:v>4.03</c:v>
                </c:pt>
                <c:pt idx="4031">
                  <c:v>4.0309999999999997</c:v>
                </c:pt>
                <c:pt idx="4032">
                  <c:v>4.032</c:v>
                </c:pt>
                <c:pt idx="4033">
                  <c:v>4.0330000000000004</c:v>
                </c:pt>
                <c:pt idx="4034">
                  <c:v>4.0339999999999998</c:v>
                </c:pt>
                <c:pt idx="4035">
                  <c:v>4.0350000000000001</c:v>
                </c:pt>
                <c:pt idx="4036">
                  <c:v>4.0359999999999996</c:v>
                </c:pt>
                <c:pt idx="4037">
                  <c:v>4.0369999999999999</c:v>
                </c:pt>
                <c:pt idx="4038">
                  <c:v>4.0380000000000003</c:v>
                </c:pt>
                <c:pt idx="4039">
                  <c:v>4.0389999999999997</c:v>
                </c:pt>
                <c:pt idx="4040">
                  <c:v>4.04</c:v>
                </c:pt>
                <c:pt idx="4041">
                  <c:v>4.0410000000000004</c:v>
                </c:pt>
                <c:pt idx="4042">
                  <c:v>4.0419999999999998</c:v>
                </c:pt>
                <c:pt idx="4043">
                  <c:v>4.0430000000000001</c:v>
                </c:pt>
                <c:pt idx="4044">
                  <c:v>4.0439999999999996</c:v>
                </c:pt>
                <c:pt idx="4045">
                  <c:v>4.0449999999999999</c:v>
                </c:pt>
                <c:pt idx="4046">
                  <c:v>4.0460000000000003</c:v>
                </c:pt>
                <c:pt idx="4047">
                  <c:v>4.0469999999999997</c:v>
                </c:pt>
                <c:pt idx="4048">
                  <c:v>4.048</c:v>
                </c:pt>
                <c:pt idx="4049">
                  <c:v>4.0490000000000004</c:v>
                </c:pt>
                <c:pt idx="4050">
                  <c:v>4.05</c:v>
                </c:pt>
                <c:pt idx="4051">
                  <c:v>4.0510000000000002</c:v>
                </c:pt>
                <c:pt idx="4052">
                  <c:v>4.0519999999999996</c:v>
                </c:pt>
                <c:pt idx="4053">
                  <c:v>4.0529999999999999</c:v>
                </c:pt>
                <c:pt idx="4054">
                  <c:v>4.0540000000000003</c:v>
                </c:pt>
                <c:pt idx="4055">
                  <c:v>4.0549999999999997</c:v>
                </c:pt>
                <c:pt idx="4056">
                  <c:v>4.056</c:v>
                </c:pt>
                <c:pt idx="4057">
                  <c:v>4.0570000000000004</c:v>
                </c:pt>
                <c:pt idx="4058">
                  <c:v>4.0579999999999998</c:v>
                </c:pt>
                <c:pt idx="4059">
                  <c:v>4.0590000000000002</c:v>
                </c:pt>
                <c:pt idx="4060">
                  <c:v>4.0599999999999996</c:v>
                </c:pt>
                <c:pt idx="4061">
                  <c:v>4.0609999999999999</c:v>
                </c:pt>
                <c:pt idx="4062">
                  <c:v>4.0620000000000003</c:v>
                </c:pt>
                <c:pt idx="4063">
                  <c:v>4.0629999999999997</c:v>
                </c:pt>
                <c:pt idx="4064">
                  <c:v>4.0640000000000001</c:v>
                </c:pt>
                <c:pt idx="4065">
                  <c:v>4.0650000000000004</c:v>
                </c:pt>
                <c:pt idx="4066">
                  <c:v>4.0659999999999998</c:v>
                </c:pt>
                <c:pt idx="4067">
                  <c:v>4.0670000000000002</c:v>
                </c:pt>
                <c:pt idx="4068">
                  <c:v>4.0679999999999996</c:v>
                </c:pt>
                <c:pt idx="4069">
                  <c:v>4.069</c:v>
                </c:pt>
                <c:pt idx="4070">
                  <c:v>4.07</c:v>
                </c:pt>
                <c:pt idx="4071">
                  <c:v>4.0709999999999997</c:v>
                </c:pt>
                <c:pt idx="4072">
                  <c:v>4.0720000000000001</c:v>
                </c:pt>
                <c:pt idx="4073">
                  <c:v>4.0730000000000004</c:v>
                </c:pt>
                <c:pt idx="4074">
                  <c:v>4.0739999999999998</c:v>
                </c:pt>
                <c:pt idx="4075">
                  <c:v>4.0750000000000002</c:v>
                </c:pt>
                <c:pt idx="4076">
                  <c:v>4.0759999999999996</c:v>
                </c:pt>
                <c:pt idx="4077">
                  <c:v>4.077</c:v>
                </c:pt>
                <c:pt idx="4078">
                  <c:v>4.0780000000000003</c:v>
                </c:pt>
                <c:pt idx="4079">
                  <c:v>4.0789999999999997</c:v>
                </c:pt>
                <c:pt idx="4080">
                  <c:v>4.08</c:v>
                </c:pt>
                <c:pt idx="4081">
                  <c:v>4.0810000000000004</c:v>
                </c:pt>
                <c:pt idx="4082">
                  <c:v>4.0819999999999999</c:v>
                </c:pt>
                <c:pt idx="4083">
                  <c:v>4.0830000000000002</c:v>
                </c:pt>
                <c:pt idx="4084">
                  <c:v>4.0839999999999996</c:v>
                </c:pt>
                <c:pt idx="4085">
                  <c:v>4.085</c:v>
                </c:pt>
                <c:pt idx="4086">
                  <c:v>4.0860000000000003</c:v>
                </c:pt>
                <c:pt idx="4087">
                  <c:v>4.0869999999999997</c:v>
                </c:pt>
                <c:pt idx="4088">
                  <c:v>4.0880000000000001</c:v>
                </c:pt>
                <c:pt idx="4089">
                  <c:v>4.0890000000000004</c:v>
                </c:pt>
                <c:pt idx="4090">
                  <c:v>4.09</c:v>
                </c:pt>
                <c:pt idx="4091">
                  <c:v>4.0910000000000002</c:v>
                </c:pt>
                <c:pt idx="4092">
                  <c:v>4.0919999999999996</c:v>
                </c:pt>
                <c:pt idx="4093">
                  <c:v>4.093</c:v>
                </c:pt>
                <c:pt idx="4094">
                  <c:v>4.0940000000000003</c:v>
                </c:pt>
                <c:pt idx="4095">
                  <c:v>4.0949999999999998</c:v>
                </c:pt>
                <c:pt idx="4096">
                  <c:v>4.0960000000000001</c:v>
                </c:pt>
                <c:pt idx="4097">
                  <c:v>4.0970000000000004</c:v>
                </c:pt>
                <c:pt idx="4098">
                  <c:v>4.0979999999999999</c:v>
                </c:pt>
                <c:pt idx="4099">
                  <c:v>4.0990000000000002</c:v>
                </c:pt>
                <c:pt idx="4100">
                  <c:v>4.0999999999999996</c:v>
                </c:pt>
                <c:pt idx="4101">
                  <c:v>4.101</c:v>
                </c:pt>
                <c:pt idx="4102">
                  <c:v>4.1020000000000003</c:v>
                </c:pt>
                <c:pt idx="4103">
                  <c:v>4.1029999999999998</c:v>
                </c:pt>
                <c:pt idx="4104">
                  <c:v>4.1040000000000001</c:v>
                </c:pt>
                <c:pt idx="4105">
                  <c:v>4.1050000000000004</c:v>
                </c:pt>
                <c:pt idx="4106">
                  <c:v>4.1059999999999999</c:v>
                </c:pt>
                <c:pt idx="4107">
                  <c:v>4.1070000000000002</c:v>
                </c:pt>
                <c:pt idx="4108">
                  <c:v>4.1079999999999997</c:v>
                </c:pt>
                <c:pt idx="4109">
                  <c:v>4.109</c:v>
                </c:pt>
                <c:pt idx="4110">
                  <c:v>4.1100000000000003</c:v>
                </c:pt>
                <c:pt idx="4111">
                  <c:v>4.1109999999999998</c:v>
                </c:pt>
                <c:pt idx="4112">
                  <c:v>4.1120000000000001</c:v>
                </c:pt>
                <c:pt idx="4113">
                  <c:v>4.1130000000000004</c:v>
                </c:pt>
                <c:pt idx="4114">
                  <c:v>4.1139999999999999</c:v>
                </c:pt>
                <c:pt idx="4115">
                  <c:v>4.1150000000000002</c:v>
                </c:pt>
                <c:pt idx="4116">
                  <c:v>4.1159999999999997</c:v>
                </c:pt>
                <c:pt idx="4117">
                  <c:v>4.117</c:v>
                </c:pt>
                <c:pt idx="4118">
                  <c:v>4.1180000000000003</c:v>
                </c:pt>
                <c:pt idx="4119">
                  <c:v>4.1189999999999998</c:v>
                </c:pt>
                <c:pt idx="4120">
                  <c:v>4.12</c:v>
                </c:pt>
                <c:pt idx="4121">
                  <c:v>4.1210000000000004</c:v>
                </c:pt>
                <c:pt idx="4122">
                  <c:v>4.1219999999999999</c:v>
                </c:pt>
                <c:pt idx="4123">
                  <c:v>4.1230000000000002</c:v>
                </c:pt>
                <c:pt idx="4124">
                  <c:v>4.1239999999999997</c:v>
                </c:pt>
                <c:pt idx="4125">
                  <c:v>4.125</c:v>
                </c:pt>
                <c:pt idx="4126">
                  <c:v>4.1260000000000003</c:v>
                </c:pt>
                <c:pt idx="4127">
                  <c:v>4.1269999999999998</c:v>
                </c:pt>
                <c:pt idx="4128">
                  <c:v>4.1280000000000001</c:v>
                </c:pt>
                <c:pt idx="4129">
                  <c:v>4.1289999999999996</c:v>
                </c:pt>
                <c:pt idx="4130">
                  <c:v>4.13</c:v>
                </c:pt>
                <c:pt idx="4131">
                  <c:v>4.1310000000000002</c:v>
                </c:pt>
                <c:pt idx="4132">
                  <c:v>4.1319999999999997</c:v>
                </c:pt>
                <c:pt idx="4133">
                  <c:v>4.133</c:v>
                </c:pt>
                <c:pt idx="4134">
                  <c:v>4.1340000000000003</c:v>
                </c:pt>
                <c:pt idx="4135">
                  <c:v>4.1349999999999998</c:v>
                </c:pt>
                <c:pt idx="4136">
                  <c:v>4.1360000000000001</c:v>
                </c:pt>
                <c:pt idx="4137">
                  <c:v>4.1369999999999996</c:v>
                </c:pt>
                <c:pt idx="4138">
                  <c:v>4.1379999999999999</c:v>
                </c:pt>
                <c:pt idx="4139">
                  <c:v>4.1390000000000002</c:v>
                </c:pt>
                <c:pt idx="4140">
                  <c:v>4.1399999999999997</c:v>
                </c:pt>
                <c:pt idx="4141">
                  <c:v>4.141</c:v>
                </c:pt>
                <c:pt idx="4142">
                  <c:v>4.1420000000000003</c:v>
                </c:pt>
                <c:pt idx="4143">
                  <c:v>4.1429999999999998</c:v>
                </c:pt>
                <c:pt idx="4144">
                  <c:v>4.1440000000000001</c:v>
                </c:pt>
                <c:pt idx="4145">
                  <c:v>4.1449999999999996</c:v>
                </c:pt>
                <c:pt idx="4146">
                  <c:v>4.1459999999999999</c:v>
                </c:pt>
                <c:pt idx="4147">
                  <c:v>4.1470000000000002</c:v>
                </c:pt>
                <c:pt idx="4148">
                  <c:v>4.1479999999999997</c:v>
                </c:pt>
                <c:pt idx="4149">
                  <c:v>4.149</c:v>
                </c:pt>
                <c:pt idx="4150">
                  <c:v>4.1500000000000004</c:v>
                </c:pt>
                <c:pt idx="4151">
                  <c:v>4.1509999999999998</c:v>
                </c:pt>
                <c:pt idx="4152">
                  <c:v>4.1520000000000001</c:v>
                </c:pt>
                <c:pt idx="4153">
                  <c:v>4.1529999999999996</c:v>
                </c:pt>
                <c:pt idx="4154">
                  <c:v>4.1539999999999999</c:v>
                </c:pt>
                <c:pt idx="4155">
                  <c:v>4.1550000000000002</c:v>
                </c:pt>
                <c:pt idx="4156">
                  <c:v>4.1559999999999997</c:v>
                </c:pt>
                <c:pt idx="4157">
                  <c:v>4.157</c:v>
                </c:pt>
                <c:pt idx="4158">
                  <c:v>4.1580000000000004</c:v>
                </c:pt>
                <c:pt idx="4159">
                  <c:v>4.1589999999999998</c:v>
                </c:pt>
                <c:pt idx="4160">
                  <c:v>4.16</c:v>
                </c:pt>
                <c:pt idx="4161">
                  <c:v>4.1609999999999996</c:v>
                </c:pt>
                <c:pt idx="4162">
                  <c:v>4.1619999999999999</c:v>
                </c:pt>
                <c:pt idx="4163">
                  <c:v>4.1630000000000003</c:v>
                </c:pt>
                <c:pt idx="4164">
                  <c:v>4.1639999999999997</c:v>
                </c:pt>
                <c:pt idx="4165">
                  <c:v>4.165</c:v>
                </c:pt>
                <c:pt idx="4166">
                  <c:v>4.1660000000000004</c:v>
                </c:pt>
                <c:pt idx="4167">
                  <c:v>4.1669999999999998</c:v>
                </c:pt>
                <c:pt idx="4168">
                  <c:v>4.1680000000000001</c:v>
                </c:pt>
                <c:pt idx="4169">
                  <c:v>4.1689999999999996</c:v>
                </c:pt>
                <c:pt idx="4170">
                  <c:v>4.17</c:v>
                </c:pt>
                <c:pt idx="4171">
                  <c:v>4.1710000000000003</c:v>
                </c:pt>
                <c:pt idx="4172">
                  <c:v>4.1719999999999997</c:v>
                </c:pt>
                <c:pt idx="4173">
                  <c:v>4.173</c:v>
                </c:pt>
                <c:pt idx="4174">
                  <c:v>4.1740000000000004</c:v>
                </c:pt>
                <c:pt idx="4175">
                  <c:v>4.1749999999999998</c:v>
                </c:pt>
                <c:pt idx="4176">
                  <c:v>4.1760000000000002</c:v>
                </c:pt>
                <c:pt idx="4177">
                  <c:v>4.1769999999999996</c:v>
                </c:pt>
                <c:pt idx="4178">
                  <c:v>4.1779999999999999</c:v>
                </c:pt>
                <c:pt idx="4179">
                  <c:v>4.1790000000000003</c:v>
                </c:pt>
                <c:pt idx="4180">
                  <c:v>4.18</c:v>
                </c:pt>
                <c:pt idx="4181">
                  <c:v>4.181</c:v>
                </c:pt>
                <c:pt idx="4182">
                  <c:v>4.1820000000000004</c:v>
                </c:pt>
                <c:pt idx="4183">
                  <c:v>4.1829999999999998</c:v>
                </c:pt>
                <c:pt idx="4184">
                  <c:v>4.1840000000000002</c:v>
                </c:pt>
                <c:pt idx="4185">
                  <c:v>4.1849999999999996</c:v>
                </c:pt>
                <c:pt idx="4186">
                  <c:v>4.1859999999999999</c:v>
                </c:pt>
                <c:pt idx="4187">
                  <c:v>4.1870000000000003</c:v>
                </c:pt>
                <c:pt idx="4188">
                  <c:v>4.1879999999999997</c:v>
                </c:pt>
                <c:pt idx="4189">
                  <c:v>4.1890000000000001</c:v>
                </c:pt>
                <c:pt idx="4190">
                  <c:v>4.1900000000000004</c:v>
                </c:pt>
                <c:pt idx="4191">
                  <c:v>4.1909999999999998</c:v>
                </c:pt>
                <c:pt idx="4192">
                  <c:v>4.1920000000000002</c:v>
                </c:pt>
                <c:pt idx="4193">
                  <c:v>4.1929999999999996</c:v>
                </c:pt>
                <c:pt idx="4194">
                  <c:v>4.194</c:v>
                </c:pt>
                <c:pt idx="4195">
                  <c:v>4.1950000000000003</c:v>
                </c:pt>
                <c:pt idx="4196">
                  <c:v>4.1959999999999997</c:v>
                </c:pt>
                <c:pt idx="4197">
                  <c:v>4.1970000000000001</c:v>
                </c:pt>
                <c:pt idx="4198">
                  <c:v>4.1980000000000004</c:v>
                </c:pt>
                <c:pt idx="4199">
                  <c:v>4.1989999999999998</c:v>
                </c:pt>
                <c:pt idx="4200">
                  <c:v>4.2</c:v>
                </c:pt>
                <c:pt idx="4201">
                  <c:v>4.2009999999999996</c:v>
                </c:pt>
                <c:pt idx="4202">
                  <c:v>4.202</c:v>
                </c:pt>
                <c:pt idx="4203">
                  <c:v>4.2030000000000003</c:v>
                </c:pt>
                <c:pt idx="4204">
                  <c:v>4.2039999999999997</c:v>
                </c:pt>
                <c:pt idx="4205">
                  <c:v>4.2050000000000001</c:v>
                </c:pt>
                <c:pt idx="4206">
                  <c:v>4.2060000000000004</c:v>
                </c:pt>
                <c:pt idx="4207">
                  <c:v>4.2069999999999999</c:v>
                </c:pt>
                <c:pt idx="4208">
                  <c:v>4.2080000000000002</c:v>
                </c:pt>
                <c:pt idx="4209">
                  <c:v>4.2089999999999996</c:v>
                </c:pt>
                <c:pt idx="4210">
                  <c:v>4.21</c:v>
                </c:pt>
                <c:pt idx="4211">
                  <c:v>4.2110000000000003</c:v>
                </c:pt>
                <c:pt idx="4212">
                  <c:v>4.2119999999999997</c:v>
                </c:pt>
                <c:pt idx="4213">
                  <c:v>4.2130000000000001</c:v>
                </c:pt>
                <c:pt idx="4214">
                  <c:v>4.2140000000000004</c:v>
                </c:pt>
                <c:pt idx="4215">
                  <c:v>4.2149999999999999</c:v>
                </c:pt>
                <c:pt idx="4216">
                  <c:v>4.2160000000000002</c:v>
                </c:pt>
                <c:pt idx="4217">
                  <c:v>4.2169999999999996</c:v>
                </c:pt>
                <c:pt idx="4218">
                  <c:v>4.218</c:v>
                </c:pt>
                <c:pt idx="4219">
                  <c:v>4.2190000000000003</c:v>
                </c:pt>
                <c:pt idx="4220">
                  <c:v>4.22</c:v>
                </c:pt>
                <c:pt idx="4221">
                  <c:v>4.2210000000000001</c:v>
                </c:pt>
                <c:pt idx="4222">
                  <c:v>4.2220000000000004</c:v>
                </c:pt>
                <c:pt idx="4223">
                  <c:v>4.2229999999999999</c:v>
                </c:pt>
                <c:pt idx="4224">
                  <c:v>4.2240000000000002</c:v>
                </c:pt>
                <c:pt idx="4225">
                  <c:v>4.2249999999999996</c:v>
                </c:pt>
                <c:pt idx="4226">
                  <c:v>4.226</c:v>
                </c:pt>
                <c:pt idx="4227">
                  <c:v>4.2270000000000003</c:v>
                </c:pt>
                <c:pt idx="4228">
                  <c:v>4.2279999999999998</c:v>
                </c:pt>
                <c:pt idx="4229">
                  <c:v>4.2290000000000001</c:v>
                </c:pt>
                <c:pt idx="4230">
                  <c:v>4.2300000000000004</c:v>
                </c:pt>
                <c:pt idx="4231">
                  <c:v>4.2309999999999999</c:v>
                </c:pt>
                <c:pt idx="4232">
                  <c:v>4.2320000000000002</c:v>
                </c:pt>
                <c:pt idx="4233">
                  <c:v>4.2329999999999997</c:v>
                </c:pt>
                <c:pt idx="4234">
                  <c:v>4.234</c:v>
                </c:pt>
                <c:pt idx="4235">
                  <c:v>4.2350000000000003</c:v>
                </c:pt>
                <c:pt idx="4236">
                  <c:v>4.2359999999999998</c:v>
                </c:pt>
                <c:pt idx="4237">
                  <c:v>4.2370000000000001</c:v>
                </c:pt>
                <c:pt idx="4238">
                  <c:v>4.2380000000000004</c:v>
                </c:pt>
                <c:pt idx="4239">
                  <c:v>4.2389999999999999</c:v>
                </c:pt>
                <c:pt idx="4240">
                  <c:v>4.24</c:v>
                </c:pt>
                <c:pt idx="4241">
                  <c:v>4.2409999999999997</c:v>
                </c:pt>
                <c:pt idx="4242">
                  <c:v>4.242</c:v>
                </c:pt>
                <c:pt idx="4243">
                  <c:v>4.2430000000000003</c:v>
                </c:pt>
                <c:pt idx="4244">
                  <c:v>4.2439999999999998</c:v>
                </c:pt>
                <c:pt idx="4245">
                  <c:v>4.2450000000000001</c:v>
                </c:pt>
                <c:pt idx="4246">
                  <c:v>4.2460000000000004</c:v>
                </c:pt>
                <c:pt idx="4247">
                  <c:v>4.2469999999999999</c:v>
                </c:pt>
                <c:pt idx="4248">
                  <c:v>4.2480000000000002</c:v>
                </c:pt>
                <c:pt idx="4249">
                  <c:v>4.2489999999999997</c:v>
                </c:pt>
                <c:pt idx="4250">
                  <c:v>4.25</c:v>
                </c:pt>
                <c:pt idx="4251">
                  <c:v>4.2510000000000003</c:v>
                </c:pt>
                <c:pt idx="4252">
                  <c:v>4.2519999999999998</c:v>
                </c:pt>
                <c:pt idx="4253">
                  <c:v>4.2530000000000001</c:v>
                </c:pt>
                <c:pt idx="4254">
                  <c:v>4.2539999999999996</c:v>
                </c:pt>
                <c:pt idx="4255">
                  <c:v>4.2549999999999999</c:v>
                </c:pt>
                <c:pt idx="4256">
                  <c:v>4.2560000000000002</c:v>
                </c:pt>
                <c:pt idx="4257">
                  <c:v>4.2569999999999997</c:v>
                </c:pt>
                <c:pt idx="4258">
                  <c:v>4.258</c:v>
                </c:pt>
                <c:pt idx="4259">
                  <c:v>4.2590000000000003</c:v>
                </c:pt>
                <c:pt idx="4260">
                  <c:v>4.26</c:v>
                </c:pt>
                <c:pt idx="4261">
                  <c:v>4.2610000000000001</c:v>
                </c:pt>
                <c:pt idx="4262">
                  <c:v>4.2619999999999996</c:v>
                </c:pt>
                <c:pt idx="4263">
                  <c:v>4.2629999999999999</c:v>
                </c:pt>
                <c:pt idx="4264">
                  <c:v>4.2640000000000002</c:v>
                </c:pt>
                <c:pt idx="4265">
                  <c:v>4.2649999999999997</c:v>
                </c:pt>
                <c:pt idx="4266">
                  <c:v>4.266</c:v>
                </c:pt>
                <c:pt idx="4267">
                  <c:v>4.2670000000000003</c:v>
                </c:pt>
                <c:pt idx="4268">
                  <c:v>4.2679999999999998</c:v>
                </c:pt>
                <c:pt idx="4269">
                  <c:v>4.2690000000000001</c:v>
                </c:pt>
                <c:pt idx="4270">
                  <c:v>4.2699999999999996</c:v>
                </c:pt>
                <c:pt idx="4271">
                  <c:v>4.2709999999999999</c:v>
                </c:pt>
                <c:pt idx="4272">
                  <c:v>4.2720000000000002</c:v>
                </c:pt>
                <c:pt idx="4273">
                  <c:v>4.2729999999999997</c:v>
                </c:pt>
                <c:pt idx="4274">
                  <c:v>4.274</c:v>
                </c:pt>
                <c:pt idx="4275">
                  <c:v>4.2750000000000004</c:v>
                </c:pt>
                <c:pt idx="4276">
                  <c:v>4.2759999999999998</c:v>
                </c:pt>
                <c:pt idx="4277">
                  <c:v>4.2770000000000001</c:v>
                </c:pt>
                <c:pt idx="4278">
                  <c:v>4.2779999999999996</c:v>
                </c:pt>
                <c:pt idx="4279">
                  <c:v>4.2789999999999999</c:v>
                </c:pt>
                <c:pt idx="4280">
                  <c:v>4.28</c:v>
                </c:pt>
                <c:pt idx="4281">
                  <c:v>4.2809999999999997</c:v>
                </c:pt>
                <c:pt idx="4282">
                  <c:v>4.282</c:v>
                </c:pt>
                <c:pt idx="4283">
                  <c:v>4.2830000000000004</c:v>
                </c:pt>
                <c:pt idx="4284">
                  <c:v>4.2839999999999998</c:v>
                </c:pt>
                <c:pt idx="4285">
                  <c:v>4.2850000000000001</c:v>
                </c:pt>
                <c:pt idx="4286">
                  <c:v>4.2859999999999996</c:v>
                </c:pt>
                <c:pt idx="4287">
                  <c:v>4.2869999999999999</c:v>
                </c:pt>
                <c:pt idx="4288">
                  <c:v>4.2880000000000003</c:v>
                </c:pt>
                <c:pt idx="4289">
                  <c:v>4.2889999999999997</c:v>
                </c:pt>
                <c:pt idx="4290">
                  <c:v>4.29</c:v>
                </c:pt>
                <c:pt idx="4291">
                  <c:v>4.2910000000000004</c:v>
                </c:pt>
                <c:pt idx="4292">
                  <c:v>4.2919999999999998</c:v>
                </c:pt>
                <c:pt idx="4293">
                  <c:v>4.2930000000000001</c:v>
                </c:pt>
                <c:pt idx="4294">
                  <c:v>4.2939999999999996</c:v>
                </c:pt>
                <c:pt idx="4295">
                  <c:v>4.2949999999999999</c:v>
                </c:pt>
                <c:pt idx="4296">
                  <c:v>4.2960000000000003</c:v>
                </c:pt>
                <c:pt idx="4297">
                  <c:v>4.2969999999999997</c:v>
                </c:pt>
                <c:pt idx="4298">
                  <c:v>4.298</c:v>
                </c:pt>
                <c:pt idx="4299">
                  <c:v>4.2990000000000004</c:v>
                </c:pt>
                <c:pt idx="4300">
                  <c:v>4.3</c:v>
                </c:pt>
                <c:pt idx="4301">
                  <c:v>4.3010000000000002</c:v>
                </c:pt>
                <c:pt idx="4302">
                  <c:v>4.3019999999999996</c:v>
                </c:pt>
                <c:pt idx="4303">
                  <c:v>4.3029999999999999</c:v>
                </c:pt>
                <c:pt idx="4304">
                  <c:v>4.3040000000000003</c:v>
                </c:pt>
                <c:pt idx="4305">
                  <c:v>4.3049999999999997</c:v>
                </c:pt>
                <c:pt idx="4306">
                  <c:v>4.306</c:v>
                </c:pt>
                <c:pt idx="4307">
                  <c:v>4.3070000000000004</c:v>
                </c:pt>
                <c:pt idx="4308">
                  <c:v>4.3079999999999998</c:v>
                </c:pt>
                <c:pt idx="4309">
                  <c:v>4.3090000000000002</c:v>
                </c:pt>
                <c:pt idx="4310">
                  <c:v>4.3099999999999996</c:v>
                </c:pt>
                <c:pt idx="4311">
                  <c:v>4.3109999999999999</c:v>
                </c:pt>
                <c:pt idx="4312">
                  <c:v>4.3120000000000003</c:v>
                </c:pt>
                <c:pt idx="4313">
                  <c:v>4.3129999999999997</c:v>
                </c:pt>
                <c:pt idx="4314">
                  <c:v>4.3140000000000001</c:v>
                </c:pt>
                <c:pt idx="4315">
                  <c:v>4.3150000000000004</c:v>
                </c:pt>
                <c:pt idx="4316">
                  <c:v>4.3159999999999998</c:v>
                </c:pt>
                <c:pt idx="4317">
                  <c:v>4.3170000000000002</c:v>
                </c:pt>
                <c:pt idx="4318">
                  <c:v>4.3179999999999996</c:v>
                </c:pt>
                <c:pt idx="4319">
                  <c:v>4.319</c:v>
                </c:pt>
                <c:pt idx="4320">
                  <c:v>4.32</c:v>
                </c:pt>
                <c:pt idx="4321">
                  <c:v>4.3209999999999997</c:v>
                </c:pt>
                <c:pt idx="4322">
                  <c:v>4.3220000000000001</c:v>
                </c:pt>
                <c:pt idx="4323">
                  <c:v>4.3230000000000004</c:v>
                </c:pt>
                <c:pt idx="4324">
                  <c:v>4.3239999999999998</c:v>
                </c:pt>
                <c:pt idx="4325">
                  <c:v>4.3250000000000002</c:v>
                </c:pt>
                <c:pt idx="4326">
                  <c:v>4.3259999999999996</c:v>
                </c:pt>
                <c:pt idx="4327">
                  <c:v>4.327</c:v>
                </c:pt>
                <c:pt idx="4328">
                  <c:v>4.3280000000000003</c:v>
                </c:pt>
                <c:pt idx="4329">
                  <c:v>4.3289999999999997</c:v>
                </c:pt>
                <c:pt idx="4330">
                  <c:v>4.33</c:v>
                </c:pt>
                <c:pt idx="4331">
                  <c:v>4.3310000000000004</c:v>
                </c:pt>
                <c:pt idx="4332">
                  <c:v>4.3319999999999999</c:v>
                </c:pt>
                <c:pt idx="4333">
                  <c:v>4.3330000000000002</c:v>
                </c:pt>
                <c:pt idx="4334">
                  <c:v>4.3339999999999996</c:v>
                </c:pt>
                <c:pt idx="4335">
                  <c:v>4.335</c:v>
                </c:pt>
                <c:pt idx="4336">
                  <c:v>4.3360000000000003</c:v>
                </c:pt>
                <c:pt idx="4337">
                  <c:v>4.3369999999999997</c:v>
                </c:pt>
                <c:pt idx="4338">
                  <c:v>4.3380000000000001</c:v>
                </c:pt>
                <c:pt idx="4339">
                  <c:v>4.3390000000000004</c:v>
                </c:pt>
                <c:pt idx="4340">
                  <c:v>4.34</c:v>
                </c:pt>
                <c:pt idx="4341">
                  <c:v>4.3410000000000002</c:v>
                </c:pt>
                <c:pt idx="4342">
                  <c:v>4.3419999999999996</c:v>
                </c:pt>
                <c:pt idx="4343">
                  <c:v>4.343</c:v>
                </c:pt>
                <c:pt idx="4344">
                  <c:v>4.3440000000000003</c:v>
                </c:pt>
                <c:pt idx="4345">
                  <c:v>4.3449999999999998</c:v>
                </c:pt>
                <c:pt idx="4346">
                  <c:v>4.3460000000000001</c:v>
                </c:pt>
                <c:pt idx="4347">
                  <c:v>4.3470000000000004</c:v>
                </c:pt>
                <c:pt idx="4348">
                  <c:v>4.3479999999999999</c:v>
                </c:pt>
                <c:pt idx="4349">
                  <c:v>4.3490000000000002</c:v>
                </c:pt>
                <c:pt idx="4350">
                  <c:v>4.3499999999999996</c:v>
                </c:pt>
                <c:pt idx="4351">
                  <c:v>4.351</c:v>
                </c:pt>
                <c:pt idx="4352">
                  <c:v>4.3520000000000003</c:v>
                </c:pt>
                <c:pt idx="4353">
                  <c:v>4.3529999999999998</c:v>
                </c:pt>
                <c:pt idx="4354">
                  <c:v>4.3540000000000001</c:v>
                </c:pt>
                <c:pt idx="4355">
                  <c:v>4.3550000000000004</c:v>
                </c:pt>
                <c:pt idx="4356">
                  <c:v>4.3559999999999999</c:v>
                </c:pt>
                <c:pt idx="4357">
                  <c:v>4.3570000000000002</c:v>
                </c:pt>
                <c:pt idx="4358">
                  <c:v>4.3579999999999997</c:v>
                </c:pt>
                <c:pt idx="4359">
                  <c:v>4.359</c:v>
                </c:pt>
                <c:pt idx="4360">
                  <c:v>4.3600000000000003</c:v>
                </c:pt>
                <c:pt idx="4361">
                  <c:v>4.3609999999999998</c:v>
                </c:pt>
                <c:pt idx="4362">
                  <c:v>4.3620000000000001</c:v>
                </c:pt>
                <c:pt idx="4363">
                  <c:v>4.3630000000000004</c:v>
                </c:pt>
                <c:pt idx="4364">
                  <c:v>4.3639999999999999</c:v>
                </c:pt>
                <c:pt idx="4365">
                  <c:v>4.3650000000000002</c:v>
                </c:pt>
                <c:pt idx="4366">
                  <c:v>4.3659999999999997</c:v>
                </c:pt>
                <c:pt idx="4367">
                  <c:v>4.367</c:v>
                </c:pt>
                <c:pt idx="4368">
                  <c:v>4.3680000000000003</c:v>
                </c:pt>
                <c:pt idx="4369">
                  <c:v>4.3689999999999998</c:v>
                </c:pt>
                <c:pt idx="4370">
                  <c:v>4.37</c:v>
                </c:pt>
                <c:pt idx="4371">
                  <c:v>4.3710000000000004</c:v>
                </c:pt>
                <c:pt idx="4372">
                  <c:v>4.3719999999999999</c:v>
                </c:pt>
                <c:pt idx="4373">
                  <c:v>4.3730000000000002</c:v>
                </c:pt>
                <c:pt idx="4374">
                  <c:v>4.3739999999999997</c:v>
                </c:pt>
                <c:pt idx="4375">
                  <c:v>4.375</c:v>
                </c:pt>
                <c:pt idx="4376">
                  <c:v>4.3760000000000003</c:v>
                </c:pt>
                <c:pt idx="4377">
                  <c:v>4.3769999999999998</c:v>
                </c:pt>
                <c:pt idx="4378">
                  <c:v>4.3780000000000001</c:v>
                </c:pt>
                <c:pt idx="4379">
                  <c:v>4.3789999999999996</c:v>
                </c:pt>
                <c:pt idx="4380">
                  <c:v>4.38</c:v>
                </c:pt>
                <c:pt idx="4381">
                  <c:v>4.3810000000000002</c:v>
                </c:pt>
                <c:pt idx="4382">
                  <c:v>4.3819999999999997</c:v>
                </c:pt>
                <c:pt idx="4383">
                  <c:v>4.383</c:v>
                </c:pt>
                <c:pt idx="4384">
                  <c:v>4.3840000000000003</c:v>
                </c:pt>
                <c:pt idx="4385">
                  <c:v>4.3849999999999998</c:v>
                </c:pt>
                <c:pt idx="4386">
                  <c:v>4.3860000000000001</c:v>
                </c:pt>
                <c:pt idx="4387">
                  <c:v>4.3869999999999996</c:v>
                </c:pt>
                <c:pt idx="4388">
                  <c:v>4.3879999999999999</c:v>
                </c:pt>
                <c:pt idx="4389">
                  <c:v>4.3890000000000002</c:v>
                </c:pt>
                <c:pt idx="4390">
                  <c:v>4.3899999999999997</c:v>
                </c:pt>
                <c:pt idx="4391">
                  <c:v>4.391</c:v>
                </c:pt>
                <c:pt idx="4392">
                  <c:v>4.3920000000000003</c:v>
                </c:pt>
                <c:pt idx="4393">
                  <c:v>4.3929999999999998</c:v>
                </c:pt>
                <c:pt idx="4394">
                  <c:v>4.3940000000000001</c:v>
                </c:pt>
                <c:pt idx="4395">
                  <c:v>4.3949999999999996</c:v>
                </c:pt>
                <c:pt idx="4396">
                  <c:v>4.3959999999999999</c:v>
                </c:pt>
                <c:pt idx="4397">
                  <c:v>4.3970000000000002</c:v>
                </c:pt>
                <c:pt idx="4398">
                  <c:v>4.3979999999999997</c:v>
                </c:pt>
                <c:pt idx="4399">
                  <c:v>4.399</c:v>
                </c:pt>
                <c:pt idx="4400">
                  <c:v>4.4000000000000004</c:v>
                </c:pt>
                <c:pt idx="4401">
                  <c:v>4.4009999999999998</c:v>
                </c:pt>
                <c:pt idx="4402">
                  <c:v>4.4020000000000001</c:v>
                </c:pt>
                <c:pt idx="4403">
                  <c:v>4.4029999999999996</c:v>
                </c:pt>
                <c:pt idx="4404">
                  <c:v>4.4039999999999999</c:v>
                </c:pt>
                <c:pt idx="4405">
                  <c:v>4.4050000000000002</c:v>
                </c:pt>
                <c:pt idx="4406">
                  <c:v>4.4059999999999997</c:v>
                </c:pt>
                <c:pt idx="4407">
                  <c:v>4.407</c:v>
                </c:pt>
                <c:pt idx="4408">
                  <c:v>4.4080000000000004</c:v>
                </c:pt>
                <c:pt idx="4409">
                  <c:v>4.4089999999999998</c:v>
                </c:pt>
                <c:pt idx="4410">
                  <c:v>4.41</c:v>
                </c:pt>
                <c:pt idx="4411">
                  <c:v>4.4109999999999996</c:v>
                </c:pt>
                <c:pt idx="4412">
                  <c:v>4.4119999999999999</c:v>
                </c:pt>
                <c:pt idx="4413">
                  <c:v>4.4130000000000003</c:v>
                </c:pt>
                <c:pt idx="4414">
                  <c:v>4.4139999999999997</c:v>
                </c:pt>
                <c:pt idx="4415">
                  <c:v>4.415</c:v>
                </c:pt>
                <c:pt idx="4416">
                  <c:v>4.4160000000000004</c:v>
                </c:pt>
                <c:pt idx="4417">
                  <c:v>4.4169999999999998</c:v>
                </c:pt>
                <c:pt idx="4418">
                  <c:v>4.4180000000000001</c:v>
                </c:pt>
                <c:pt idx="4419">
                  <c:v>4.4189999999999996</c:v>
                </c:pt>
                <c:pt idx="4420">
                  <c:v>4.42</c:v>
                </c:pt>
                <c:pt idx="4421">
                  <c:v>4.4210000000000003</c:v>
                </c:pt>
                <c:pt idx="4422">
                  <c:v>4.4219999999999997</c:v>
                </c:pt>
                <c:pt idx="4423">
                  <c:v>4.423</c:v>
                </c:pt>
                <c:pt idx="4424">
                  <c:v>4.4240000000000004</c:v>
                </c:pt>
                <c:pt idx="4425">
                  <c:v>4.4249999999999998</c:v>
                </c:pt>
                <c:pt idx="4426">
                  <c:v>4.4260000000000002</c:v>
                </c:pt>
                <c:pt idx="4427">
                  <c:v>4.4269999999999996</c:v>
                </c:pt>
                <c:pt idx="4428">
                  <c:v>4.4279999999999999</c:v>
                </c:pt>
                <c:pt idx="4429">
                  <c:v>4.4290000000000003</c:v>
                </c:pt>
                <c:pt idx="4430">
                  <c:v>4.43</c:v>
                </c:pt>
                <c:pt idx="4431">
                  <c:v>4.431</c:v>
                </c:pt>
                <c:pt idx="4432">
                  <c:v>4.4320000000000004</c:v>
                </c:pt>
                <c:pt idx="4433">
                  <c:v>4.4329999999999998</c:v>
                </c:pt>
                <c:pt idx="4434">
                  <c:v>4.4340000000000002</c:v>
                </c:pt>
                <c:pt idx="4435">
                  <c:v>4.4349999999999996</c:v>
                </c:pt>
                <c:pt idx="4436">
                  <c:v>4.4359999999999999</c:v>
                </c:pt>
                <c:pt idx="4437">
                  <c:v>4.4370000000000003</c:v>
                </c:pt>
                <c:pt idx="4438">
                  <c:v>4.4379999999999997</c:v>
                </c:pt>
                <c:pt idx="4439">
                  <c:v>4.4390000000000001</c:v>
                </c:pt>
                <c:pt idx="4440">
                  <c:v>4.4400000000000004</c:v>
                </c:pt>
                <c:pt idx="4441">
                  <c:v>4.4409999999999998</c:v>
                </c:pt>
                <c:pt idx="4442">
                  <c:v>4.4420000000000002</c:v>
                </c:pt>
                <c:pt idx="4443">
                  <c:v>4.4429999999999996</c:v>
                </c:pt>
                <c:pt idx="4444">
                  <c:v>4.444</c:v>
                </c:pt>
                <c:pt idx="4445">
                  <c:v>4.4450000000000003</c:v>
                </c:pt>
                <c:pt idx="4446">
                  <c:v>4.4459999999999997</c:v>
                </c:pt>
                <c:pt idx="4447">
                  <c:v>4.4470000000000001</c:v>
                </c:pt>
                <c:pt idx="4448">
                  <c:v>4.4480000000000004</c:v>
                </c:pt>
                <c:pt idx="4449">
                  <c:v>4.4489999999999998</c:v>
                </c:pt>
                <c:pt idx="4450">
                  <c:v>4.45</c:v>
                </c:pt>
                <c:pt idx="4451">
                  <c:v>4.4509999999999996</c:v>
                </c:pt>
                <c:pt idx="4452">
                  <c:v>4.452</c:v>
                </c:pt>
                <c:pt idx="4453">
                  <c:v>4.4530000000000003</c:v>
                </c:pt>
                <c:pt idx="4454">
                  <c:v>4.4539999999999997</c:v>
                </c:pt>
                <c:pt idx="4455">
                  <c:v>4.4550000000000001</c:v>
                </c:pt>
                <c:pt idx="4456">
                  <c:v>4.4560000000000004</c:v>
                </c:pt>
                <c:pt idx="4457">
                  <c:v>4.4569999999999999</c:v>
                </c:pt>
                <c:pt idx="4458">
                  <c:v>4.4580000000000002</c:v>
                </c:pt>
                <c:pt idx="4459">
                  <c:v>4.4589999999999996</c:v>
                </c:pt>
                <c:pt idx="4460">
                  <c:v>4.46</c:v>
                </c:pt>
                <c:pt idx="4461">
                  <c:v>4.4610000000000003</c:v>
                </c:pt>
                <c:pt idx="4462">
                  <c:v>4.4619999999999997</c:v>
                </c:pt>
                <c:pt idx="4463">
                  <c:v>4.4630000000000001</c:v>
                </c:pt>
                <c:pt idx="4464">
                  <c:v>4.4640000000000004</c:v>
                </c:pt>
                <c:pt idx="4465">
                  <c:v>4.4649999999999999</c:v>
                </c:pt>
                <c:pt idx="4466">
                  <c:v>4.4660000000000002</c:v>
                </c:pt>
                <c:pt idx="4467">
                  <c:v>4.4669999999999996</c:v>
                </c:pt>
                <c:pt idx="4468">
                  <c:v>4.468</c:v>
                </c:pt>
                <c:pt idx="4469">
                  <c:v>4.4690000000000003</c:v>
                </c:pt>
                <c:pt idx="4470">
                  <c:v>4.47</c:v>
                </c:pt>
                <c:pt idx="4471">
                  <c:v>4.4710000000000001</c:v>
                </c:pt>
                <c:pt idx="4472">
                  <c:v>4.4720000000000004</c:v>
                </c:pt>
                <c:pt idx="4473">
                  <c:v>4.4729999999999999</c:v>
                </c:pt>
                <c:pt idx="4474">
                  <c:v>4.4740000000000002</c:v>
                </c:pt>
                <c:pt idx="4475">
                  <c:v>4.4749999999999996</c:v>
                </c:pt>
                <c:pt idx="4476">
                  <c:v>4.476</c:v>
                </c:pt>
                <c:pt idx="4477">
                  <c:v>4.4770000000000003</c:v>
                </c:pt>
                <c:pt idx="4478">
                  <c:v>4.4779999999999998</c:v>
                </c:pt>
                <c:pt idx="4479">
                  <c:v>4.4790000000000001</c:v>
                </c:pt>
                <c:pt idx="4480">
                  <c:v>4.4800000000000004</c:v>
                </c:pt>
                <c:pt idx="4481">
                  <c:v>4.4809999999999999</c:v>
                </c:pt>
                <c:pt idx="4482">
                  <c:v>4.4820000000000002</c:v>
                </c:pt>
                <c:pt idx="4483">
                  <c:v>4.4829999999999997</c:v>
                </c:pt>
                <c:pt idx="4484">
                  <c:v>4.484</c:v>
                </c:pt>
                <c:pt idx="4485">
                  <c:v>4.4850000000000003</c:v>
                </c:pt>
                <c:pt idx="4486">
                  <c:v>4.4859999999999998</c:v>
                </c:pt>
                <c:pt idx="4487">
                  <c:v>4.4870000000000001</c:v>
                </c:pt>
                <c:pt idx="4488">
                  <c:v>4.4880000000000004</c:v>
                </c:pt>
                <c:pt idx="4489">
                  <c:v>4.4889999999999999</c:v>
                </c:pt>
                <c:pt idx="4490">
                  <c:v>4.49</c:v>
                </c:pt>
                <c:pt idx="4491">
                  <c:v>4.4909999999999997</c:v>
                </c:pt>
                <c:pt idx="4492">
                  <c:v>4.492</c:v>
                </c:pt>
                <c:pt idx="4493">
                  <c:v>4.4930000000000003</c:v>
                </c:pt>
                <c:pt idx="4494">
                  <c:v>4.4939999999999998</c:v>
                </c:pt>
                <c:pt idx="4495">
                  <c:v>4.4950000000000001</c:v>
                </c:pt>
                <c:pt idx="4496">
                  <c:v>4.4960000000000004</c:v>
                </c:pt>
                <c:pt idx="4497">
                  <c:v>4.4969999999999999</c:v>
                </c:pt>
                <c:pt idx="4498">
                  <c:v>4.4980000000000002</c:v>
                </c:pt>
                <c:pt idx="4499">
                  <c:v>4.4989999999999997</c:v>
                </c:pt>
                <c:pt idx="4500">
                  <c:v>4.5</c:v>
                </c:pt>
                <c:pt idx="4501">
                  <c:v>4.5010000000000003</c:v>
                </c:pt>
                <c:pt idx="4502">
                  <c:v>4.5019999999999998</c:v>
                </c:pt>
                <c:pt idx="4503">
                  <c:v>4.5030000000000001</c:v>
                </c:pt>
                <c:pt idx="4504">
                  <c:v>4.5039999999999996</c:v>
                </c:pt>
                <c:pt idx="4505">
                  <c:v>4.5049999999999999</c:v>
                </c:pt>
                <c:pt idx="4506">
                  <c:v>4.5060000000000002</c:v>
                </c:pt>
                <c:pt idx="4507">
                  <c:v>4.5069999999999997</c:v>
                </c:pt>
                <c:pt idx="4508">
                  <c:v>4.508</c:v>
                </c:pt>
                <c:pt idx="4509">
                  <c:v>4.5090000000000003</c:v>
                </c:pt>
                <c:pt idx="4510">
                  <c:v>4.51</c:v>
                </c:pt>
                <c:pt idx="4511">
                  <c:v>4.5110000000000001</c:v>
                </c:pt>
                <c:pt idx="4512">
                  <c:v>4.5119999999999996</c:v>
                </c:pt>
                <c:pt idx="4513">
                  <c:v>4.5129999999999999</c:v>
                </c:pt>
                <c:pt idx="4514">
                  <c:v>4.5140000000000002</c:v>
                </c:pt>
                <c:pt idx="4515">
                  <c:v>4.5149999999999997</c:v>
                </c:pt>
                <c:pt idx="4516">
                  <c:v>4.516</c:v>
                </c:pt>
                <c:pt idx="4517">
                  <c:v>4.5170000000000003</c:v>
                </c:pt>
                <c:pt idx="4518">
                  <c:v>4.5179999999999998</c:v>
                </c:pt>
                <c:pt idx="4519">
                  <c:v>4.5190000000000001</c:v>
                </c:pt>
                <c:pt idx="4520">
                  <c:v>4.5199999999999996</c:v>
                </c:pt>
                <c:pt idx="4521">
                  <c:v>4.5209999999999999</c:v>
                </c:pt>
                <c:pt idx="4522">
                  <c:v>4.5220000000000002</c:v>
                </c:pt>
                <c:pt idx="4523">
                  <c:v>4.5229999999999997</c:v>
                </c:pt>
                <c:pt idx="4524">
                  <c:v>4.524</c:v>
                </c:pt>
                <c:pt idx="4525">
                  <c:v>4.5250000000000004</c:v>
                </c:pt>
                <c:pt idx="4526">
                  <c:v>4.5259999999999998</c:v>
                </c:pt>
                <c:pt idx="4527">
                  <c:v>4.5270000000000001</c:v>
                </c:pt>
                <c:pt idx="4528">
                  <c:v>4.5279999999999996</c:v>
                </c:pt>
                <c:pt idx="4529">
                  <c:v>4.5289999999999999</c:v>
                </c:pt>
                <c:pt idx="4530">
                  <c:v>4.53</c:v>
                </c:pt>
                <c:pt idx="4531">
                  <c:v>4.5309999999999997</c:v>
                </c:pt>
                <c:pt idx="4532">
                  <c:v>4.532</c:v>
                </c:pt>
                <c:pt idx="4533">
                  <c:v>4.5330000000000004</c:v>
                </c:pt>
                <c:pt idx="4534">
                  <c:v>4.5339999999999998</c:v>
                </c:pt>
                <c:pt idx="4535">
                  <c:v>4.5350000000000001</c:v>
                </c:pt>
                <c:pt idx="4536">
                  <c:v>4.5359999999999996</c:v>
                </c:pt>
                <c:pt idx="4537">
                  <c:v>4.5369999999999999</c:v>
                </c:pt>
                <c:pt idx="4538">
                  <c:v>4.5380000000000003</c:v>
                </c:pt>
                <c:pt idx="4539">
                  <c:v>4.5389999999999997</c:v>
                </c:pt>
                <c:pt idx="4540">
                  <c:v>4.54</c:v>
                </c:pt>
                <c:pt idx="4541">
                  <c:v>4.5410000000000004</c:v>
                </c:pt>
                <c:pt idx="4542">
                  <c:v>4.5419999999999998</c:v>
                </c:pt>
                <c:pt idx="4543">
                  <c:v>4.5430000000000001</c:v>
                </c:pt>
                <c:pt idx="4544">
                  <c:v>4.5439999999999996</c:v>
                </c:pt>
                <c:pt idx="4545">
                  <c:v>4.5449999999999999</c:v>
                </c:pt>
                <c:pt idx="4546">
                  <c:v>4.5460000000000003</c:v>
                </c:pt>
                <c:pt idx="4547">
                  <c:v>4.5469999999999997</c:v>
                </c:pt>
                <c:pt idx="4548">
                  <c:v>4.548</c:v>
                </c:pt>
                <c:pt idx="4549">
                  <c:v>4.5490000000000004</c:v>
                </c:pt>
                <c:pt idx="4550">
                  <c:v>4.55</c:v>
                </c:pt>
                <c:pt idx="4551">
                  <c:v>4.5510000000000002</c:v>
                </c:pt>
                <c:pt idx="4552">
                  <c:v>4.5519999999999996</c:v>
                </c:pt>
                <c:pt idx="4553">
                  <c:v>4.5529999999999999</c:v>
                </c:pt>
                <c:pt idx="4554">
                  <c:v>4.5540000000000003</c:v>
                </c:pt>
                <c:pt idx="4555">
                  <c:v>4.5549999999999997</c:v>
                </c:pt>
                <c:pt idx="4556">
                  <c:v>4.556</c:v>
                </c:pt>
                <c:pt idx="4557">
                  <c:v>4.5570000000000004</c:v>
                </c:pt>
                <c:pt idx="4558">
                  <c:v>4.5579999999999998</c:v>
                </c:pt>
                <c:pt idx="4559">
                  <c:v>4.5590000000000002</c:v>
                </c:pt>
                <c:pt idx="4560">
                  <c:v>4.5599999999999996</c:v>
                </c:pt>
                <c:pt idx="4561">
                  <c:v>4.5609999999999999</c:v>
                </c:pt>
                <c:pt idx="4562">
                  <c:v>4.5620000000000003</c:v>
                </c:pt>
                <c:pt idx="4563">
                  <c:v>4.5629999999999997</c:v>
                </c:pt>
                <c:pt idx="4564">
                  <c:v>4.5640000000000001</c:v>
                </c:pt>
                <c:pt idx="4565">
                  <c:v>4.5650000000000004</c:v>
                </c:pt>
                <c:pt idx="4566">
                  <c:v>4.5659999999999998</c:v>
                </c:pt>
                <c:pt idx="4567">
                  <c:v>4.5670000000000002</c:v>
                </c:pt>
                <c:pt idx="4568">
                  <c:v>4.5679999999999996</c:v>
                </c:pt>
                <c:pt idx="4569">
                  <c:v>4.569</c:v>
                </c:pt>
                <c:pt idx="4570">
                  <c:v>4.57</c:v>
                </c:pt>
                <c:pt idx="4571">
                  <c:v>4.5709999999999997</c:v>
                </c:pt>
                <c:pt idx="4572">
                  <c:v>4.5720000000000001</c:v>
                </c:pt>
                <c:pt idx="4573">
                  <c:v>4.5730000000000004</c:v>
                </c:pt>
                <c:pt idx="4574">
                  <c:v>4.5739999999999998</c:v>
                </c:pt>
                <c:pt idx="4575">
                  <c:v>4.5750000000000002</c:v>
                </c:pt>
                <c:pt idx="4576">
                  <c:v>4.5759999999999996</c:v>
                </c:pt>
                <c:pt idx="4577">
                  <c:v>4.577</c:v>
                </c:pt>
                <c:pt idx="4578">
                  <c:v>4.5780000000000003</c:v>
                </c:pt>
                <c:pt idx="4579">
                  <c:v>4.5789999999999997</c:v>
                </c:pt>
                <c:pt idx="4580">
                  <c:v>4.58</c:v>
                </c:pt>
                <c:pt idx="4581">
                  <c:v>4.5810000000000004</c:v>
                </c:pt>
                <c:pt idx="4582">
                  <c:v>4.5819999999999999</c:v>
                </c:pt>
                <c:pt idx="4583">
                  <c:v>4.5830000000000002</c:v>
                </c:pt>
                <c:pt idx="4584">
                  <c:v>4.5839999999999996</c:v>
                </c:pt>
                <c:pt idx="4585">
                  <c:v>4.585</c:v>
                </c:pt>
                <c:pt idx="4586">
                  <c:v>4.5860000000000003</c:v>
                </c:pt>
                <c:pt idx="4587">
                  <c:v>4.5869999999999997</c:v>
                </c:pt>
                <c:pt idx="4588">
                  <c:v>4.5880000000000001</c:v>
                </c:pt>
                <c:pt idx="4589">
                  <c:v>4.5890000000000004</c:v>
                </c:pt>
                <c:pt idx="4590">
                  <c:v>4.59</c:v>
                </c:pt>
                <c:pt idx="4591">
                  <c:v>4.5910000000000002</c:v>
                </c:pt>
                <c:pt idx="4592">
                  <c:v>4.5919999999999996</c:v>
                </c:pt>
                <c:pt idx="4593">
                  <c:v>4.593</c:v>
                </c:pt>
                <c:pt idx="4594">
                  <c:v>4.5940000000000003</c:v>
                </c:pt>
                <c:pt idx="4595">
                  <c:v>4.5949999999999998</c:v>
                </c:pt>
                <c:pt idx="4596">
                  <c:v>4.5960000000000001</c:v>
                </c:pt>
                <c:pt idx="4597">
                  <c:v>4.5970000000000004</c:v>
                </c:pt>
                <c:pt idx="4598">
                  <c:v>4.5979999999999999</c:v>
                </c:pt>
                <c:pt idx="4599">
                  <c:v>4.5990000000000002</c:v>
                </c:pt>
                <c:pt idx="4600">
                  <c:v>4.5999999999999996</c:v>
                </c:pt>
                <c:pt idx="4601">
                  <c:v>4.601</c:v>
                </c:pt>
                <c:pt idx="4602">
                  <c:v>4.6020000000000003</c:v>
                </c:pt>
                <c:pt idx="4603">
                  <c:v>4.6029999999999998</c:v>
                </c:pt>
                <c:pt idx="4604">
                  <c:v>4.6040000000000001</c:v>
                </c:pt>
                <c:pt idx="4605">
                  <c:v>4.6050000000000004</c:v>
                </c:pt>
                <c:pt idx="4606">
                  <c:v>4.6059999999999999</c:v>
                </c:pt>
                <c:pt idx="4607">
                  <c:v>4.6070000000000002</c:v>
                </c:pt>
                <c:pt idx="4608">
                  <c:v>4.6079999999999997</c:v>
                </c:pt>
                <c:pt idx="4609">
                  <c:v>4.609</c:v>
                </c:pt>
                <c:pt idx="4610">
                  <c:v>4.6100000000000003</c:v>
                </c:pt>
                <c:pt idx="4611">
                  <c:v>4.6109999999999998</c:v>
                </c:pt>
                <c:pt idx="4612">
                  <c:v>4.6120000000000001</c:v>
                </c:pt>
                <c:pt idx="4613">
                  <c:v>4.6130000000000004</c:v>
                </c:pt>
                <c:pt idx="4614">
                  <c:v>4.6139999999999999</c:v>
                </c:pt>
                <c:pt idx="4615">
                  <c:v>4.6150000000000002</c:v>
                </c:pt>
                <c:pt idx="4616">
                  <c:v>4.6159999999999997</c:v>
                </c:pt>
                <c:pt idx="4617">
                  <c:v>4.617</c:v>
                </c:pt>
                <c:pt idx="4618">
                  <c:v>4.6180000000000003</c:v>
                </c:pt>
                <c:pt idx="4619">
                  <c:v>4.6189999999999998</c:v>
                </c:pt>
                <c:pt idx="4620">
                  <c:v>4.62</c:v>
                </c:pt>
                <c:pt idx="4621">
                  <c:v>4.6210000000000004</c:v>
                </c:pt>
                <c:pt idx="4622">
                  <c:v>4.6219999999999999</c:v>
                </c:pt>
                <c:pt idx="4623">
                  <c:v>4.6230000000000002</c:v>
                </c:pt>
                <c:pt idx="4624">
                  <c:v>4.6239999999999997</c:v>
                </c:pt>
                <c:pt idx="4625">
                  <c:v>4.625</c:v>
                </c:pt>
                <c:pt idx="4626">
                  <c:v>4.6260000000000003</c:v>
                </c:pt>
                <c:pt idx="4627">
                  <c:v>4.6269999999999998</c:v>
                </c:pt>
                <c:pt idx="4628">
                  <c:v>4.6280000000000001</c:v>
                </c:pt>
                <c:pt idx="4629">
                  <c:v>4.6289999999999996</c:v>
                </c:pt>
                <c:pt idx="4630">
                  <c:v>4.63</c:v>
                </c:pt>
                <c:pt idx="4631">
                  <c:v>4.6310000000000002</c:v>
                </c:pt>
                <c:pt idx="4632">
                  <c:v>4.6319999999999997</c:v>
                </c:pt>
                <c:pt idx="4633">
                  <c:v>4.633</c:v>
                </c:pt>
                <c:pt idx="4634">
                  <c:v>4.6340000000000003</c:v>
                </c:pt>
                <c:pt idx="4635">
                  <c:v>4.6349999999999998</c:v>
                </c:pt>
                <c:pt idx="4636">
                  <c:v>4.6360000000000001</c:v>
                </c:pt>
                <c:pt idx="4637">
                  <c:v>4.6369999999999996</c:v>
                </c:pt>
                <c:pt idx="4638">
                  <c:v>4.6379999999999999</c:v>
                </c:pt>
                <c:pt idx="4639">
                  <c:v>4.6390000000000002</c:v>
                </c:pt>
                <c:pt idx="4640">
                  <c:v>4.6399999999999997</c:v>
                </c:pt>
                <c:pt idx="4641">
                  <c:v>4.641</c:v>
                </c:pt>
                <c:pt idx="4642">
                  <c:v>4.6420000000000003</c:v>
                </c:pt>
                <c:pt idx="4643">
                  <c:v>4.6429999999999998</c:v>
                </c:pt>
                <c:pt idx="4644">
                  <c:v>4.6440000000000001</c:v>
                </c:pt>
                <c:pt idx="4645">
                  <c:v>4.6449999999999996</c:v>
                </c:pt>
                <c:pt idx="4646">
                  <c:v>4.6459999999999999</c:v>
                </c:pt>
                <c:pt idx="4647">
                  <c:v>4.6470000000000002</c:v>
                </c:pt>
                <c:pt idx="4648">
                  <c:v>4.6479999999999997</c:v>
                </c:pt>
                <c:pt idx="4649">
                  <c:v>4.649</c:v>
                </c:pt>
                <c:pt idx="4650">
                  <c:v>4.6500000000000004</c:v>
                </c:pt>
                <c:pt idx="4651">
                  <c:v>4.6509999999999998</c:v>
                </c:pt>
                <c:pt idx="4652">
                  <c:v>4.6520000000000001</c:v>
                </c:pt>
                <c:pt idx="4653">
                  <c:v>4.6529999999999996</c:v>
                </c:pt>
                <c:pt idx="4654">
                  <c:v>4.6539999999999999</c:v>
                </c:pt>
                <c:pt idx="4655">
                  <c:v>4.6550000000000002</c:v>
                </c:pt>
                <c:pt idx="4656">
                  <c:v>4.6559999999999997</c:v>
                </c:pt>
                <c:pt idx="4657">
                  <c:v>4.657</c:v>
                </c:pt>
                <c:pt idx="4658">
                  <c:v>4.6580000000000004</c:v>
                </c:pt>
                <c:pt idx="4659">
                  <c:v>4.6589999999999998</c:v>
                </c:pt>
                <c:pt idx="4660">
                  <c:v>4.66</c:v>
                </c:pt>
                <c:pt idx="4661">
                  <c:v>4.6609999999999996</c:v>
                </c:pt>
                <c:pt idx="4662">
                  <c:v>4.6619999999999999</c:v>
                </c:pt>
                <c:pt idx="4663">
                  <c:v>4.6630000000000003</c:v>
                </c:pt>
                <c:pt idx="4664">
                  <c:v>4.6639999999999997</c:v>
                </c:pt>
                <c:pt idx="4665">
                  <c:v>4.665</c:v>
                </c:pt>
                <c:pt idx="4666">
                  <c:v>4.6660000000000004</c:v>
                </c:pt>
                <c:pt idx="4667">
                  <c:v>4.6669999999999998</c:v>
                </c:pt>
                <c:pt idx="4668">
                  <c:v>4.6680000000000001</c:v>
                </c:pt>
                <c:pt idx="4669">
                  <c:v>4.6689999999999996</c:v>
                </c:pt>
                <c:pt idx="4670">
                  <c:v>4.67</c:v>
                </c:pt>
                <c:pt idx="4671">
                  <c:v>4.6710000000000003</c:v>
                </c:pt>
                <c:pt idx="4672">
                  <c:v>4.6719999999999997</c:v>
                </c:pt>
                <c:pt idx="4673">
                  <c:v>4.673</c:v>
                </c:pt>
                <c:pt idx="4674">
                  <c:v>4.6740000000000004</c:v>
                </c:pt>
                <c:pt idx="4675">
                  <c:v>4.6749999999999998</c:v>
                </c:pt>
                <c:pt idx="4676">
                  <c:v>4.6760000000000002</c:v>
                </c:pt>
                <c:pt idx="4677">
                  <c:v>4.6769999999999996</c:v>
                </c:pt>
                <c:pt idx="4678">
                  <c:v>4.6779999999999999</c:v>
                </c:pt>
                <c:pt idx="4679">
                  <c:v>4.6790000000000003</c:v>
                </c:pt>
                <c:pt idx="4680">
                  <c:v>4.68</c:v>
                </c:pt>
                <c:pt idx="4681">
                  <c:v>4.681</c:v>
                </c:pt>
                <c:pt idx="4682">
                  <c:v>4.6820000000000004</c:v>
                </c:pt>
                <c:pt idx="4683">
                  <c:v>4.6829999999999998</c:v>
                </c:pt>
                <c:pt idx="4684">
                  <c:v>4.6840000000000002</c:v>
                </c:pt>
                <c:pt idx="4685">
                  <c:v>4.6849999999999996</c:v>
                </c:pt>
                <c:pt idx="4686">
                  <c:v>4.6859999999999999</c:v>
                </c:pt>
                <c:pt idx="4687">
                  <c:v>4.6870000000000003</c:v>
                </c:pt>
                <c:pt idx="4688">
                  <c:v>4.6879999999999997</c:v>
                </c:pt>
                <c:pt idx="4689">
                  <c:v>4.6890000000000001</c:v>
                </c:pt>
                <c:pt idx="4690">
                  <c:v>4.6900000000000004</c:v>
                </c:pt>
                <c:pt idx="4691">
                  <c:v>4.6909999999999998</c:v>
                </c:pt>
                <c:pt idx="4692">
                  <c:v>4.6920000000000002</c:v>
                </c:pt>
                <c:pt idx="4693">
                  <c:v>4.6929999999999996</c:v>
                </c:pt>
                <c:pt idx="4694">
                  <c:v>4.694</c:v>
                </c:pt>
                <c:pt idx="4695">
                  <c:v>4.6950000000000003</c:v>
                </c:pt>
                <c:pt idx="4696">
                  <c:v>4.6959999999999997</c:v>
                </c:pt>
                <c:pt idx="4697">
                  <c:v>4.6970000000000001</c:v>
                </c:pt>
                <c:pt idx="4698">
                  <c:v>4.6980000000000004</c:v>
                </c:pt>
                <c:pt idx="4699">
                  <c:v>4.6989999999999998</c:v>
                </c:pt>
                <c:pt idx="4700">
                  <c:v>4.7</c:v>
                </c:pt>
                <c:pt idx="4701">
                  <c:v>4.7009999999999996</c:v>
                </c:pt>
                <c:pt idx="4702">
                  <c:v>4.702</c:v>
                </c:pt>
                <c:pt idx="4703">
                  <c:v>4.7030000000000003</c:v>
                </c:pt>
                <c:pt idx="4704">
                  <c:v>4.7039999999999997</c:v>
                </c:pt>
                <c:pt idx="4705">
                  <c:v>4.7050000000000001</c:v>
                </c:pt>
                <c:pt idx="4706">
                  <c:v>4.7060000000000004</c:v>
                </c:pt>
                <c:pt idx="4707">
                  <c:v>4.7069999999999999</c:v>
                </c:pt>
                <c:pt idx="4708">
                  <c:v>4.7080000000000002</c:v>
                </c:pt>
                <c:pt idx="4709">
                  <c:v>4.7089999999999996</c:v>
                </c:pt>
                <c:pt idx="4710">
                  <c:v>4.71</c:v>
                </c:pt>
                <c:pt idx="4711">
                  <c:v>4.7110000000000003</c:v>
                </c:pt>
                <c:pt idx="4712">
                  <c:v>4.7119999999999997</c:v>
                </c:pt>
                <c:pt idx="4713">
                  <c:v>4.7130000000000001</c:v>
                </c:pt>
                <c:pt idx="4714">
                  <c:v>4.7140000000000004</c:v>
                </c:pt>
                <c:pt idx="4715">
                  <c:v>4.7149999999999999</c:v>
                </c:pt>
                <c:pt idx="4716">
                  <c:v>4.7160000000000002</c:v>
                </c:pt>
                <c:pt idx="4717">
                  <c:v>4.7169999999999996</c:v>
                </c:pt>
                <c:pt idx="4718">
                  <c:v>4.718</c:v>
                </c:pt>
                <c:pt idx="4719">
                  <c:v>4.7190000000000003</c:v>
                </c:pt>
                <c:pt idx="4720">
                  <c:v>4.72</c:v>
                </c:pt>
                <c:pt idx="4721">
                  <c:v>4.7210000000000001</c:v>
                </c:pt>
                <c:pt idx="4722">
                  <c:v>4.7220000000000004</c:v>
                </c:pt>
                <c:pt idx="4723">
                  <c:v>4.7229999999999999</c:v>
                </c:pt>
                <c:pt idx="4724">
                  <c:v>4.7240000000000002</c:v>
                </c:pt>
                <c:pt idx="4725">
                  <c:v>4.7249999999999996</c:v>
                </c:pt>
                <c:pt idx="4726">
                  <c:v>4.726</c:v>
                </c:pt>
                <c:pt idx="4727">
                  <c:v>4.7270000000000003</c:v>
                </c:pt>
                <c:pt idx="4728">
                  <c:v>4.7279999999999998</c:v>
                </c:pt>
                <c:pt idx="4729">
                  <c:v>4.7290000000000001</c:v>
                </c:pt>
                <c:pt idx="4730">
                  <c:v>4.7300000000000004</c:v>
                </c:pt>
                <c:pt idx="4731">
                  <c:v>4.7309999999999999</c:v>
                </c:pt>
                <c:pt idx="4732">
                  <c:v>4.7320000000000002</c:v>
                </c:pt>
                <c:pt idx="4733">
                  <c:v>4.7329999999999997</c:v>
                </c:pt>
                <c:pt idx="4734">
                  <c:v>4.734</c:v>
                </c:pt>
                <c:pt idx="4735">
                  <c:v>4.7350000000000003</c:v>
                </c:pt>
                <c:pt idx="4736">
                  <c:v>4.7359999999999998</c:v>
                </c:pt>
                <c:pt idx="4737">
                  <c:v>4.7370000000000001</c:v>
                </c:pt>
                <c:pt idx="4738">
                  <c:v>4.7380000000000004</c:v>
                </c:pt>
                <c:pt idx="4739">
                  <c:v>4.7389999999999999</c:v>
                </c:pt>
                <c:pt idx="4740">
                  <c:v>4.74</c:v>
                </c:pt>
                <c:pt idx="4741">
                  <c:v>4.7409999999999997</c:v>
                </c:pt>
                <c:pt idx="4742">
                  <c:v>4.742</c:v>
                </c:pt>
                <c:pt idx="4743">
                  <c:v>4.7430000000000003</c:v>
                </c:pt>
                <c:pt idx="4744">
                  <c:v>4.7439999999999998</c:v>
                </c:pt>
                <c:pt idx="4745">
                  <c:v>4.7450000000000001</c:v>
                </c:pt>
                <c:pt idx="4746">
                  <c:v>4.7460000000000004</c:v>
                </c:pt>
                <c:pt idx="4747">
                  <c:v>4.7469999999999999</c:v>
                </c:pt>
                <c:pt idx="4748">
                  <c:v>4.7480000000000002</c:v>
                </c:pt>
                <c:pt idx="4749">
                  <c:v>4.7489999999999997</c:v>
                </c:pt>
                <c:pt idx="4750">
                  <c:v>4.75</c:v>
                </c:pt>
                <c:pt idx="4751">
                  <c:v>4.7510000000000003</c:v>
                </c:pt>
                <c:pt idx="4752">
                  <c:v>4.7519999999999998</c:v>
                </c:pt>
                <c:pt idx="4753">
                  <c:v>4.7530000000000001</c:v>
                </c:pt>
                <c:pt idx="4754">
                  <c:v>4.7539999999999996</c:v>
                </c:pt>
                <c:pt idx="4755">
                  <c:v>4.7549999999999999</c:v>
                </c:pt>
                <c:pt idx="4756">
                  <c:v>4.7560000000000002</c:v>
                </c:pt>
                <c:pt idx="4757">
                  <c:v>4.7569999999999997</c:v>
                </c:pt>
                <c:pt idx="4758">
                  <c:v>4.758</c:v>
                </c:pt>
                <c:pt idx="4759">
                  <c:v>4.7590000000000003</c:v>
                </c:pt>
                <c:pt idx="4760">
                  <c:v>4.76</c:v>
                </c:pt>
                <c:pt idx="4761">
                  <c:v>4.7610000000000001</c:v>
                </c:pt>
                <c:pt idx="4762">
                  <c:v>4.7619999999999996</c:v>
                </c:pt>
                <c:pt idx="4763">
                  <c:v>4.7629999999999999</c:v>
                </c:pt>
                <c:pt idx="4764">
                  <c:v>4.7640000000000002</c:v>
                </c:pt>
                <c:pt idx="4765">
                  <c:v>4.7649999999999997</c:v>
                </c:pt>
                <c:pt idx="4766">
                  <c:v>4.766</c:v>
                </c:pt>
                <c:pt idx="4767">
                  <c:v>4.7670000000000003</c:v>
                </c:pt>
                <c:pt idx="4768">
                  <c:v>4.7679999999999998</c:v>
                </c:pt>
                <c:pt idx="4769">
                  <c:v>4.7690000000000001</c:v>
                </c:pt>
                <c:pt idx="4770">
                  <c:v>4.7699999999999996</c:v>
                </c:pt>
                <c:pt idx="4771">
                  <c:v>4.7709999999999999</c:v>
                </c:pt>
                <c:pt idx="4772">
                  <c:v>4.7720000000000002</c:v>
                </c:pt>
                <c:pt idx="4773">
                  <c:v>4.7729999999999997</c:v>
                </c:pt>
                <c:pt idx="4774">
                  <c:v>4.774</c:v>
                </c:pt>
                <c:pt idx="4775">
                  <c:v>4.7750000000000004</c:v>
                </c:pt>
                <c:pt idx="4776">
                  <c:v>4.7759999999999998</c:v>
                </c:pt>
                <c:pt idx="4777">
                  <c:v>4.7770000000000001</c:v>
                </c:pt>
                <c:pt idx="4778">
                  <c:v>4.7779999999999996</c:v>
                </c:pt>
                <c:pt idx="4779">
                  <c:v>4.7789999999999999</c:v>
                </c:pt>
                <c:pt idx="4780">
                  <c:v>4.78</c:v>
                </c:pt>
                <c:pt idx="4781">
                  <c:v>4.7809999999999997</c:v>
                </c:pt>
                <c:pt idx="4782">
                  <c:v>4.782</c:v>
                </c:pt>
                <c:pt idx="4783">
                  <c:v>4.7830000000000004</c:v>
                </c:pt>
                <c:pt idx="4784">
                  <c:v>4.7839999999999998</c:v>
                </c:pt>
                <c:pt idx="4785">
                  <c:v>4.7850000000000001</c:v>
                </c:pt>
                <c:pt idx="4786">
                  <c:v>4.7859999999999996</c:v>
                </c:pt>
                <c:pt idx="4787">
                  <c:v>4.7869999999999999</c:v>
                </c:pt>
                <c:pt idx="4788">
                  <c:v>4.7880000000000003</c:v>
                </c:pt>
                <c:pt idx="4789">
                  <c:v>4.7889999999999997</c:v>
                </c:pt>
                <c:pt idx="4790">
                  <c:v>4.79</c:v>
                </c:pt>
                <c:pt idx="4791">
                  <c:v>4.7910000000000004</c:v>
                </c:pt>
                <c:pt idx="4792">
                  <c:v>4.7919999999999998</c:v>
                </c:pt>
                <c:pt idx="4793">
                  <c:v>4.7930000000000001</c:v>
                </c:pt>
                <c:pt idx="4794">
                  <c:v>4.7939999999999996</c:v>
                </c:pt>
                <c:pt idx="4795">
                  <c:v>4.7949999999999999</c:v>
                </c:pt>
                <c:pt idx="4796">
                  <c:v>4.7960000000000003</c:v>
                </c:pt>
                <c:pt idx="4797">
                  <c:v>4.7969999999999997</c:v>
                </c:pt>
                <c:pt idx="4798">
                  <c:v>4.798</c:v>
                </c:pt>
                <c:pt idx="4799">
                  <c:v>4.7990000000000004</c:v>
                </c:pt>
                <c:pt idx="4800">
                  <c:v>4.8</c:v>
                </c:pt>
                <c:pt idx="4801">
                  <c:v>4.8010000000000002</c:v>
                </c:pt>
                <c:pt idx="4802">
                  <c:v>4.8019999999999996</c:v>
                </c:pt>
                <c:pt idx="4803">
                  <c:v>4.8029999999999999</c:v>
                </c:pt>
                <c:pt idx="4804">
                  <c:v>4.8040000000000003</c:v>
                </c:pt>
                <c:pt idx="4805">
                  <c:v>4.8049999999999997</c:v>
                </c:pt>
                <c:pt idx="4806">
                  <c:v>4.806</c:v>
                </c:pt>
                <c:pt idx="4807">
                  <c:v>4.8070000000000004</c:v>
                </c:pt>
                <c:pt idx="4808">
                  <c:v>4.8079999999999998</c:v>
                </c:pt>
                <c:pt idx="4809">
                  <c:v>4.8090000000000002</c:v>
                </c:pt>
                <c:pt idx="4810">
                  <c:v>4.8099999999999996</c:v>
                </c:pt>
                <c:pt idx="4811">
                  <c:v>4.8109999999999999</c:v>
                </c:pt>
                <c:pt idx="4812">
                  <c:v>4.8120000000000003</c:v>
                </c:pt>
                <c:pt idx="4813">
                  <c:v>4.8129999999999997</c:v>
                </c:pt>
                <c:pt idx="4814">
                  <c:v>4.8140000000000001</c:v>
                </c:pt>
                <c:pt idx="4815">
                  <c:v>4.8150000000000004</c:v>
                </c:pt>
                <c:pt idx="4816">
                  <c:v>4.8159999999999998</c:v>
                </c:pt>
                <c:pt idx="4817">
                  <c:v>4.8170000000000002</c:v>
                </c:pt>
                <c:pt idx="4818">
                  <c:v>4.8179999999999996</c:v>
                </c:pt>
                <c:pt idx="4819">
                  <c:v>4.819</c:v>
                </c:pt>
                <c:pt idx="4820">
                  <c:v>4.82</c:v>
                </c:pt>
                <c:pt idx="4821">
                  <c:v>4.8209999999999997</c:v>
                </c:pt>
                <c:pt idx="4822">
                  <c:v>4.8220000000000001</c:v>
                </c:pt>
                <c:pt idx="4823">
                  <c:v>4.8230000000000004</c:v>
                </c:pt>
                <c:pt idx="4824">
                  <c:v>4.8239999999999998</c:v>
                </c:pt>
                <c:pt idx="4825">
                  <c:v>4.8250000000000002</c:v>
                </c:pt>
                <c:pt idx="4826">
                  <c:v>4.8259999999999996</c:v>
                </c:pt>
                <c:pt idx="4827">
                  <c:v>4.827</c:v>
                </c:pt>
                <c:pt idx="4828">
                  <c:v>4.8280000000000003</c:v>
                </c:pt>
                <c:pt idx="4829">
                  <c:v>4.8289999999999997</c:v>
                </c:pt>
                <c:pt idx="4830">
                  <c:v>4.83</c:v>
                </c:pt>
                <c:pt idx="4831">
                  <c:v>4.8310000000000004</c:v>
                </c:pt>
                <c:pt idx="4832">
                  <c:v>4.8319999999999999</c:v>
                </c:pt>
                <c:pt idx="4833">
                  <c:v>4.8330000000000002</c:v>
                </c:pt>
                <c:pt idx="4834">
                  <c:v>4.8339999999999996</c:v>
                </c:pt>
                <c:pt idx="4835">
                  <c:v>4.835</c:v>
                </c:pt>
                <c:pt idx="4836">
                  <c:v>4.8360000000000003</c:v>
                </c:pt>
                <c:pt idx="4837">
                  <c:v>4.8369999999999997</c:v>
                </c:pt>
                <c:pt idx="4838">
                  <c:v>4.8380000000000001</c:v>
                </c:pt>
                <c:pt idx="4839">
                  <c:v>4.8390000000000004</c:v>
                </c:pt>
                <c:pt idx="4840">
                  <c:v>4.84</c:v>
                </c:pt>
                <c:pt idx="4841">
                  <c:v>4.8410000000000002</c:v>
                </c:pt>
                <c:pt idx="4842">
                  <c:v>4.8419999999999996</c:v>
                </c:pt>
                <c:pt idx="4843">
                  <c:v>4.843</c:v>
                </c:pt>
                <c:pt idx="4844">
                  <c:v>4.8440000000000003</c:v>
                </c:pt>
                <c:pt idx="4845">
                  <c:v>4.8449999999999998</c:v>
                </c:pt>
                <c:pt idx="4846">
                  <c:v>4.8460000000000001</c:v>
                </c:pt>
                <c:pt idx="4847">
                  <c:v>4.8470000000000004</c:v>
                </c:pt>
                <c:pt idx="4848">
                  <c:v>4.8479999999999999</c:v>
                </c:pt>
                <c:pt idx="4849">
                  <c:v>4.8490000000000002</c:v>
                </c:pt>
                <c:pt idx="4850">
                  <c:v>4.8499999999999996</c:v>
                </c:pt>
                <c:pt idx="4851">
                  <c:v>4.851</c:v>
                </c:pt>
                <c:pt idx="4852">
                  <c:v>4.8520000000000003</c:v>
                </c:pt>
                <c:pt idx="4853">
                  <c:v>4.8529999999999998</c:v>
                </c:pt>
                <c:pt idx="4854">
                  <c:v>4.8540000000000001</c:v>
                </c:pt>
                <c:pt idx="4855">
                  <c:v>4.8550000000000004</c:v>
                </c:pt>
                <c:pt idx="4856">
                  <c:v>4.8559999999999999</c:v>
                </c:pt>
                <c:pt idx="4857">
                  <c:v>4.8570000000000002</c:v>
                </c:pt>
                <c:pt idx="4858">
                  <c:v>4.8579999999999997</c:v>
                </c:pt>
                <c:pt idx="4859">
                  <c:v>4.859</c:v>
                </c:pt>
                <c:pt idx="4860">
                  <c:v>4.8600000000000003</c:v>
                </c:pt>
                <c:pt idx="4861">
                  <c:v>4.8609999999999998</c:v>
                </c:pt>
                <c:pt idx="4862">
                  <c:v>4.8620000000000001</c:v>
                </c:pt>
                <c:pt idx="4863">
                  <c:v>4.8630000000000004</c:v>
                </c:pt>
                <c:pt idx="4864">
                  <c:v>4.8639999999999999</c:v>
                </c:pt>
                <c:pt idx="4865">
                  <c:v>4.8650000000000002</c:v>
                </c:pt>
                <c:pt idx="4866">
                  <c:v>4.8659999999999997</c:v>
                </c:pt>
                <c:pt idx="4867">
                  <c:v>4.867</c:v>
                </c:pt>
                <c:pt idx="4868">
                  <c:v>4.8680000000000003</c:v>
                </c:pt>
                <c:pt idx="4869">
                  <c:v>4.8689999999999998</c:v>
                </c:pt>
                <c:pt idx="4870">
                  <c:v>4.87</c:v>
                </c:pt>
                <c:pt idx="4871">
                  <c:v>4.8710000000000004</c:v>
                </c:pt>
                <c:pt idx="4872">
                  <c:v>4.8719999999999999</c:v>
                </c:pt>
                <c:pt idx="4873">
                  <c:v>4.8730000000000002</c:v>
                </c:pt>
                <c:pt idx="4874">
                  <c:v>4.8739999999999997</c:v>
                </c:pt>
                <c:pt idx="4875">
                  <c:v>4.875</c:v>
                </c:pt>
                <c:pt idx="4876">
                  <c:v>4.8760000000000003</c:v>
                </c:pt>
                <c:pt idx="4877">
                  <c:v>4.8769999999999998</c:v>
                </c:pt>
                <c:pt idx="4878">
                  <c:v>4.8780000000000001</c:v>
                </c:pt>
                <c:pt idx="4879">
                  <c:v>4.8789999999999996</c:v>
                </c:pt>
                <c:pt idx="4880">
                  <c:v>4.88</c:v>
                </c:pt>
                <c:pt idx="4881">
                  <c:v>4.8810000000000002</c:v>
                </c:pt>
                <c:pt idx="4882">
                  <c:v>4.8819999999999997</c:v>
                </c:pt>
                <c:pt idx="4883">
                  <c:v>4.883</c:v>
                </c:pt>
                <c:pt idx="4884">
                  <c:v>4.8840000000000003</c:v>
                </c:pt>
                <c:pt idx="4885">
                  <c:v>4.8849999999999998</c:v>
                </c:pt>
                <c:pt idx="4886">
                  <c:v>4.8860000000000001</c:v>
                </c:pt>
                <c:pt idx="4887">
                  <c:v>4.8869999999999996</c:v>
                </c:pt>
                <c:pt idx="4888">
                  <c:v>4.8879999999999999</c:v>
                </c:pt>
                <c:pt idx="4889">
                  <c:v>4.8890000000000002</c:v>
                </c:pt>
                <c:pt idx="4890">
                  <c:v>4.8899999999999997</c:v>
                </c:pt>
                <c:pt idx="4891">
                  <c:v>4.891</c:v>
                </c:pt>
                <c:pt idx="4892">
                  <c:v>4.8920000000000003</c:v>
                </c:pt>
                <c:pt idx="4893">
                  <c:v>4.8929999999999998</c:v>
                </c:pt>
                <c:pt idx="4894">
                  <c:v>4.8940000000000001</c:v>
                </c:pt>
                <c:pt idx="4895">
                  <c:v>4.8949999999999996</c:v>
                </c:pt>
                <c:pt idx="4896">
                  <c:v>4.8959999999999999</c:v>
                </c:pt>
                <c:pt idx="4897">
                  <c:v>4.8970000000000002</c:v>
                </c:pt>
                <c:pt idx="4898">
                  <c:v>4.8979999999999997</c:v>
                </c:pt>
                <c:pt idx="4899">
                  <c:v>4.899</c:v>
                </c:pt>
                <c:pt idx="4900">
                  <c:v>4.9000000000000004</c:v>
                </c:pt>
                <c:pt idx="4901">
                  <c:v>4.9009999999999998</c:v>
                </c:pt>
                <c:pt idx="4902">
                  <c:v>4.9020000000000001</c:v>
                </c:pt>
                <c:pt idx="4903">
                  <c:v>4.9029999999999996</c:v>
                </c:pt>
                <c:pt idx="4904">
                  <c:v>4.9039999999999999</c:v>
                </c:pt>
                <c:pt idx="4905">
                  <c:v>4.9050000000000002</c:v>
                </c:pt>
                <c:pt idx="4906">
                  <c:v>4.9059999999999997</c:v>
                </c:pt>
                <c:pt idx="4907">
                  <c:v>4.907</c:v>
                </c:pt>
                <c:pt idx="4908">
                  <c:v>4.9080000000000004</c:v>
                </c:pt>
                <c:pt idx="4909">
                  <c:v>4.9089999999999998</c:v>
                </c:pt>
                <c:pt idx="4910">
                  <c:v>4.91</c:v>
                </c:pt>
                <c:pt idx="4911">
                  <c:v>4.9109999999999996</c:v>
                </c:pt>
                <c:pt idx="4912">
                  <c:v>4.9119999999999999</c:v>
                </c:pt>
                <c:pt idx="4913">
                  <c:v>4.9130000000000003</c:v>
                </c:pt>
                <c:pt idx="4914">
                  <c:v>4.9139999999999997</c:v>
                </c:pt>
                <c:pt idx="4915">
                  <c:v>4.915</c:v>
                </c:pt>
                <c:pt idx="4916">
                  <c:v>4.9160000000000004</c:v>
                </c:pt>
                <c:pt idx="4917">
                  <c:v>4.9169999999999998</c:v>
                </c:pt>
                <c:pt idx="4918">
                  <c:v>4.9180000000000001</c:v>
                </c:pt>
                <c:pt idx="4919">
                  <c:v>4.9189999999999996</c:v>
                </c:pt>
                <c:pt idx="4920">
                  <c:v>4.92</c:v>
                </c:pt>
                <c:pt idx="4921">
                  <c:v>4.9210000000000003</c:v>
                </c:pt>
                <c:pt idx="4922">
                  <c:v>4.9219999999999997</c:v>
                </c:pt>
                <c:pt idx="4923">
                  <c:v>4.923</c:v>
                </c:pt>
                <c:pt idx="4924">
                  <c:v>4.9240000000000004</c:v>
                </c:pt>
                <c:pt idx="4925">
                  <c:v>4.9249999999999998</c:v>
                </c:pt>
                <c:pt idx="4926">
                  <c:v>4.9260000000000002</c:v>
                </c:pt>
                <c:pt idx="4927">
                  <c:v>4.9269999999999996</c:v>
                </c:pt>
                <c:pt idx="4928">
                  <c:v>4.9279999999999999</c:v>
                </c:pt>
                <c:pt idx="4929">
                  <c:v>4.9290000000000003</c:v>
                </c:pt>
                <c:pt idx="4930">
                  <c:v>4.93</c:v>
                </c:pt>
                <c:pt idx="4931">
                  <c:v>4.931</c:v>
                </c:pt>
                <c:pt idx="4932">
                  <c:v>4.9320000000000004</c:v>
                </c:pt>
                <c:pt idx="4933">
                  <c:v>4.9329999999999998</c:v>
                </c:pt>
                <c:pt idx="4934">
                  <c:v>4.9340000000000002</c:v>
                </c:pt>
                <c:pt idx="4935">
                  <c:v>4.9349999999999996</c:v>
                </c:pt>
                <c:pt idx="4936">
                  <c:v>4.9359999999999999</c:v>
                </c:pt>
                <c:pt idx="4937">
                  <c:v>4.9370000000000003</c:v>
                </c:pt>
                <c:pt idx="4938">
                  <c:v>4.9379999999999997</c:v>
                </c:pt>
                <c:pt idx="4939">
                  <c:v>4.9390000000000001</c:v>
                </c:pt>
                <c:pt idx="4940">
                  <c:v>4.9400000000000004</c:v>
                </c:pt>
                <c:pt idx="4941">
                  <c:v>4.9409999999999998</c:v>
                </c:pt>
                <c:pt idx="4942">
                  <c:v>4.9420000000000002</c:v>
                </c:pt>
                <c:pt idx="4943">
                  <c:v>4.9429999999999996</c:v>
                </c:pt>
                <c:pt idx="4944">
                  <c:v>4.944</c:v>
                </c:pt>
                <c:pt idx="4945">
                  <c:v>4.9450000000000003</c:v>
                </c:pt>
                <c:pt idx="4946">
                  <c:v>4.9459999999999997</c:v>
                </c:pt>
                <c:pt idx="4947">
                  <c:v>4.9470000000000001</c:v>
                </c:pt>
                <c:pt idx="4948">
                  <c:v>4.9480000000000004</c:v>
                </c:pt>
                <c:pt idx="4949">
                  <c:v>4.9489999999999998</c:v>
                </c:pt>
                <c:pt idx="4950">
                  <c:v>4.95</c:v>
                </c:pt>
                <c:pt idx="4951">
                  <c:v>4.9509999999999996</c:v>
                </c:pt>
                <c:pt idx="4952">
                  <c:v>4.952</c:v>
                </c:pt>
                <c:pt idx="4953">
                  <c:v>4.9530000000000003</c:v>
                </c:pt>
                <c:pt idx="4954">
                  <c:v>4.9539999999999997</c:v>
                </c:pt>
                <c:pt idx="4955">
                  <c:v>4.9550000000000001</c:v>
                </c:pt>
                <c:pt idx="4956">
                  <c:v>4.9560000000000004</c:v>
                </c:pt>
                <c:pt idx="4957">
                  <c:v>4.9569999999999999</c:v>
                </c:pt>
                <c:pt idx="4958">
                  <c:v>4.9580000000000002</c:v>
                </c:pt>
                <c:pt idx="4959">
                  <c:v>4.9589999999999996</c:v>
                </c:pt>
                <c:pt idx="4960">
                  <c:v>4.96</c:v>
                </c:pt>
                <c:pt idx="4961">
                  <c:v>4.9610000000000003</c:v>
                </c:pt>
                <c:pt idx="4962">
                  <c:v>4.9619999999999997</c:v>
                </c:pt>
                <c:pt idx="4963">
                  <c:v>4.9630000000000001</c:v>
                </c:pt>
                <c:pt idx="4964">
                  <c:v>4.9640000000000004</c:v>
                </c:pt>
                <c:pt idx="4965">
                  <c:v>4.9649999999999999</c:v>
                </c:pt>
                <c:pt idx="4966">
                  <c:v>4.9660000000000002</c:v>
                </c:pt>
                <c:pt idx="4967">
                  <c:v>4.9669999999999996</c:v>
                </c:pt>
                <c:pt idx="4968">
                  <c:v>4.968</c:v>
                </c:pt>
                <c:pt idx="4969">
                  <c:v>4.9690000000000003</c:v>
                </c:pt>
                <c:pt idx="4970">
                  <c:v>4.97</c:v>
                </c:pt>
                <c:pt idx="4971">
                  <c:v>4.9710000000000001</c:v>
                </c:pt>
                <c:pt idx="4972">
                  <c:v>4.9720000000000004</c:v>
                </c:pt>
                <c:pt idx="4973">
                  <c:v>4.9729999999999999</c:v>
                </c:pt>
                <c:pt idx="4974">
                  <c:v>4.9740000000000002</c:v>
                </c:pt>
                <c:pt idx="4975">
                  <c:v>4.9749999999999996</c:v>
                </c:pt>
                <c:pt idx="4976">
                  <c:v>4.976</c:v>
                </c:pt>
                <c:pt idx="4977">
                  <c:v>4.9770000000000003</c:v>
                </c:pt>
                <c:pt idx="4978">
                  <c:v>4.9779999999999998</c:v>
                </c:pt>
                <c:pt idx="4979">
                  <c:v>4.9790000000000001</c:v>
                </c:pt>
                <c:pt idx="4980">
                  <c:v>4.9800000000000004</c:v>
                </c:pt>
                <c:pt idx="4981">
                  <c:v>4.9809999999999999</c:v>
                </c:pt>
                <c:pt idx="4982">
                  <c:v>4.9820000000000002</c:v>
                </c:pt>
                <c:pt idx="4983">
                  <c:v>4.9829999999999997</c:v>
                </c:pt>
                <c:pt idx="4984">
                  <c:v>4.984</c:v>
                </c:pt>
                <c:pt idx="4985">
                  <c:v>4.9850000000000003</c:v>
                </c:pt>
                <c:pt idx="4986">
                  <c:v>4.9859999999999998</c:v>
                </c:pt>
                <c:pt idx="4987">
                  <c:v>4.9870000000000001</c:v>
                </c:pt>
                <c:pt idx="4988">
                  <c:v>4.9880000000000004</c:v>
                </c:pt>
                <c:pt idx="4989">
                  <c:v>4.9889999999999999</c:v>
                </c:pt>
                <c:pt idx="4990">
                  <c:v>4.99</c:v>
                </c:pt>
                <c:pt idx="4991">
                  <c:v>4.9909999999999997</c:v>
                </c:pt>
                <c:pt idx="4992">
                  <c:v>4.992</c:v>
                </c:pt>
                <c:pt idx="4993">
                  <c:v>4.9930000000000003</c:v>
                </c:pt>
                <c:pt idx="4994">
                  <c:v>4.9939999999999998</c:v>
                </c:pt>
                <c:pt idx="4995">
                  <c:v>4.9950000000000001</c:v>
                </c:pt>
                <c:pt idx="4996">
                  <c:v>4.9960000000000004</c:v>
                </c:pt>
                <c:pt idx="4997">
                  <c:v>4.9969999999999999</c:v>
                </c:pt>
                <c:pt idx="4998">
                  <c:v>4.9980000000000002</c:v>
                </c:pt>
                <c:pt idx="4999">
                  <c:v>4.9989999999999997</c:v>
                </c:pt>
              </c:numCache>
            </c:numRef>
          </c:xVal>
          <c:yVal>
            <c:numRef>
              <c:f>'4-Pin vs 3-Pin waveform'!$N$3:$N$5002</c:f>
              <c:numCache>
                <c:formatCode>General</c:formatCode>
                <c:ptCount val="5000"/>
                <c:pt idx="0">
                  <c:v>611.4</c:v>
                </c:pt>
                <c:pt idx="1">
                  <c:v>611.4</c:v>
                </c:pt>
                <c:pt idx="2">
                  <c:v>611.4</c:v>
                </c:pt>
                <c:pt idx="3">
                  <c:v>612.01</c:v>
                </c:pt>
                <c:pt idx="4">
                  <c:v>610.80999999999995</c:v>
                </c:pt>
                <c:pt idx="5">
                  <c:v>609.61</c:v>
                </c:pt>
                <c:pt idx="6">
                  <c:v>613.80999999999995</c:v>
                </c:pt>
                <c:pt idx="7">
                  <c:v>609.01</c:v>
                </c:pt>
                <c:pt idx="8">
                  <c:v>612.01</c:v>
                </c:pt>
                <c:pt idx="9">
                  <c:v>610.21</c:v>
                </c:pt>
                <c:pt idx="10">
                  <c:v>610.21</c:v>
                </c:pt>
                <c:pt idx="11">
                  <c:v>609.01</c:v>
                </c:pt>
                <c:pt idx="12">
                  <c:v>611.4</c:v>
                </c:pt>
                <c:pt idx="13">
                  <c:v>609.61</c:v>
                </c:pt>
                <c:pt idx="14">
                  <c:v>609.01</c:v>
                </c:pt>
                <c:pt idx="15">
                  <c:v>610.80999999999995</c:v>
                </c:pt>
                <c:pt idx="16">
                  <c:v>610.80999999999995</c:v>
                </c:pt>
                <c:pt idx="17">
                  <c:v>611.4</c:v>
                </c:pt>
                <c:pt idx="18">
                  <c:v>610.21</c:v>
                </c:pt>
                <c:pt idx="19">
                  <c:v>608.4</c:v>
                </c:pt>
                <c:pt idx="20">
                  <c:v>610.80999999999995</c:v>
                </c:pt>
                <c:pt idx="21">
                  <c:v>610.80999999999995</c:v>
                </c:pt>
                <c:pt idx="22">
                  <c:v>610.80999999999995</c:v>
                </c:pt>
                <c:pt idx="23">
                  <c:v>608.4</c:v>
                </c:pt>
                <c:pt idx="24">
                  <c:v>610.21</c:v>
                </c:pt>
                <c:pt idx="25">
                  <c:v>610.21</c:v>
                </c:pt>
                <c:pt idx="26">
                  <c:v>608.4</c:v>
                </c:pt>
                <c:pt idx="27">
                  <c:v>610.80999999999995</c:v>
                </c:pt>
                <c:pt idx="28">
                  <c:v>609.61</c:v>
                </c:pt>
                <c:pt idx="29">
                  <c:v>610.80999999999995</c:v>
                </c:pt>
                <c:pt idx="30">
                  <c:v>610.80999999999995</c:v>
                </c:pt>
                <c:pt idx="31">
                  <c:v>612.01</c:v>
                </c:pt>
                <c:pt idx="32">
                  <c:v>609.01</c:v>
                </c:pt>
                <c:pt idx="33">
                  <c:v>611.4</c:v>
                </c:pt>
                <c:pt idx="34">
                  <c:v>609.01</c:v>
                </c:pt>
                <c:pt idx="35">
                  <c:v>612.01</c:v>
                </c:pt>
                <c:pt idx="36">
                  <c:v>608.4</c:v>
                </c:pt>
                <c:pt idx="37">
                  <c:v>610.21</c:v>
                </c:pt>
                <c:pt idx="38">
                  <c:v>609.01</c:v>
                </c:pt>
                <c:pt idx="39">
                  <c:v>610.80999999999995</c:v>
                </c:pt>
                <c:pt idx="40">
                  <c:v>610.80999999999995</c:v>
                </c:pt>
                <c:pt idx="41">
                  <c:v>609.61</c:v>
                </c:pt>
                <c:pt idx="42">
                  <c:v>610.21</c:v>
                </c:pt>
                <c:pt idx="43">
                  <c:v>612.61</c:v>
                </c:pt>
                <c:pt idx="44">
                  <c:v>609.61</c:v>
                </c:pt>
                <c:pt idx="45">
                  <c:v>610.80999999999995</c:v>
                </c:pt>
                <c:pt idx="46">
                  <c:v>609.01</c:v>
                </c:pt>
                <c:pt idx="47">
                  <c:v>610.21</c:v>
                </c:pt>
                <c:pt idx="48">
                  <c:v>609.61</c:v>
                </c:pt>
                <c:pt idx="49">
                  <c:v>612.01</c:v>
                </c:pt>
                <c:pt idx="50">
                  <c:v>610.21</c:v>
                </c:pt>
                <c:pt idx="51">
                  <c:v>612.01</c:v>
                </c:pt>
                <c:pt idx="52">
                  <c:v>610.21</c:v>
                </c:pt>
                <c:pt idx="53">
                  <c:v>609.61</c:v>
                </c:pt>
                <c:pt idx="54">
                  <c:v>607.21</c:v>
                </c:pt>
                <c:pt idx="55">
                  <c:v>611.4</c:v>
                </c:pt>
                <c:pt idx="56">
                  <c:v>609.01</c:v>
                </c:pt>
                <c:pt idx="57">
                  <c:v>610.80999999999995</c:v>
                </c:pt>
                <c:pt idx="58">
                  <c:v>610.21</c:v>
                </c:pt>
                <c:pt idx="59">
                  <c:v>610.21</c:v>
                </c:pt>
                <c:pt idx="60">
                  <c:v>607.80999999999995</c:v>
                </c:pt>
                <c:pt idx="61">
                  <c:v>610.21</c:v>
                </c:pt>
                <c:pt idx="62">
                  <c:v>609.61</c:v>
                </c:pt>
                <c:pt idx="63">
                  <c:v>609.01</c:v>
                </c:pt>
                <c:pt idx="64">
                  <c:v>609.01</c:v>
                </c:pt>
                <c:pt idx="65">
                  <c:v>609.01</c:v>
                </c:pt>
                <c:pt idx="66">
                  <c:v>609.61</c:v>
                </c:pt>
                <c:pt idx="67">
                  <c:v>612.01</c:v>
                </c:pt>
                <c:pt idx="68">
                  <c:v>609.01</c:v>
                </c:pt>
                <c:pt idx="69">
                  <c:v>610.21</c:v>
                </c:pt>
                <c:pt idx="70">
                  <c:v>607.21</c:v>
                </c:pt>
                <c:pt idx="71">
                  <c:v>612.61</c:v>
                </c:pt>
                <c:pt idx="72">
                  <c:v>609.01</c:v>
                </c:pt>
                <c:pt idx="73">
                  <c:v>609.61</c:v>
                </c:pt>
                <c:pt idx="74">
                  <c:v>610.21</c:v>
                </c:pt>
                <c:pt idx="75">
                  <c:v>610.21</c:v>
                </c:pt>
                <c:pt idx="76">
                  <c:v>610.21</c:v>
                </c:pt>
                <c:pt idx="77">
                  <c:v>610.21</c:v>
                </c:pt>
                <c:pt idx="78">
                  <c:v>609.61</c:v>
                </c:pt>
                <c:pt idx="79">
                  <c:v>608.4</c:v>
                </c:pt>
                <c:pt idx="80">
                  <c:v>610.80999999999995</c:v>
                </c:pt>
                <c:pt idx="81">
                  <c:v>610.21</c:v>
                </c:pt>
                <c:pt idx="82">
                  <c:v>611.4</c:v>
                </c:pt>
                <c:pt idx="83">
                  <c:v>612.01</c:v>
                </c:pt>
                <c:pt idx="84">
                  <c:v>610.80999999999995</c:v>
                </c:pt>
                <c:pt idx="85">
                  <c:v>609.61</c:v>
                </c:pt>
                <c:pt idx="86">
                  <c:v>610.80999999999995</c:v>
                </c:pt>
                <c:pt idx="87">
                  <c:v>609.61</c:v>
                </c:pt>
                <c:pt idx="88">
                  <c:v>610.80999999999995</c:v>
                </c:pt>
                <c:pt idx="89">
                  <c:v>611.4</c:v>
                </c:pt>
                <c:pt idx="90">
                  <c:v>610.21</c:v>
                </c:pt>
                <c:pt idx="91">
                  <c:v>610.80999999999995</c:v>
                </c:pt>
                <c:pt idx="92">
                  <c:v>609.01</c:v>
                </c:pt>
                <c:pt idx="93">
                  <c:v>609.61</c:v>
                </c:pt>
                <c:pt idx="94">
                  <c:v>610.21</c:v>
                </c:pt>
                <c:pt idx="95">
                  <c:v>608.4</c:v>
                </c:pt>
                <c:pt idx="96">
                  <c:v>611.4</c:v>
                </c:pt>
                <c:pt idx="97">
                  <c:v>610.21</c:v>
                </c:pt>
                <c:pt idx="98">
                  <c:v>612.01</c:v>
                </c:pt>
                <c:pt idx="99">
                  <c:v>609.01</c:v>
                </c:pt>
                <c:pt idx="100">
                  <c:v>609.01</c:v>
                </c:pt>
                <c:pt idx="101">
                  <c:v>612.01</c:v>
                </c:pt>
                <c:pt idx="102">
                  <c:v>609.61</c:v>
                </c:pt>
                <c:pt idx="103">
                  <c:v>609.01</c:v>
                </c:pt>
                <c:pt idx="104">
                  <c:v>608.4</c:v>
                </c:pt>
                <c:pt idx="105">
                  <c:v>609.01</c:v>
                </c:pt>
                <c:pt idx="106">
                  <c:v>607.21</c:v>
                </c:pt>
                <c:pt idx="107">
                  <c:v>609.61</c:v>
                </c:pt>
                <c:pt idx="108">
                  <c:v>608.4</c:v>
                </c:pt>
                <c:pt idx="109">
                  <c:v>609.01</c:v>
                </c:pt>
                <c:pt idx="110">
                  <c:v>611.4</c:v>
                </c:pt>
                <c:pt idx="111">
                  <c:v>610.80999999999995</c:v>
                </c:pt>
                <c:pt idx="112">
                  <c:v>609.61</c:v>
                </c:pt>
                <c:pt idx="113">
                  <c:v>612.01</c:v>
                </c:pt>
                <c:pt idx="114">
                  <c:v>609.61</c:v>
                </c:pt>
                <c:pt idx="115">
                  <c:v>610.80999999999995</c:v>
                </c:pt>
                <c:pt idx="116">
                  <c:v>609.01</c:v>
                </c:pt>
                <c:pt idx="117">
                  <c:v>610.21</c:v>
                </c:pt>
                <c:pt idx="118">
                  <c:v>610.21</c:v>
                </c:pt>
                <c:pt idx="119">
                  <c:v>610.80999999999995</c:v>
                </c:pt>
                <c:pt idx="120">
                  <c:v>610.21</c:v>
                </c:pt>
                <c:pt idx="121">
                  <c:v>607.80999999999995</c:v>
                </c:pt>
                <c:pt idx="122">
                  <c:v>611.4</c:v>
                </c:pt>
                <c:pt idx="123">
                  <c:v>609.01</c:v>
                </c:pt>
                <c:pt idx="124">
                  <c:v>611.4</c:v>
                </c:pt>
                <c:pt idx="125">
                  <c:v>609.61</c:v>
                </c:pt>
                <c:pt idx="126">
                  <c:v>610.80999999999995</c:v>
                </c:pt>
                <c:pt idx="127">
                  <c:v>610.21</c:v>
                </c:pt>
                <c:pt idx="128">
                  <c:v>609.01</c:v>
                </c:pt>
                <c:pt idx="129">
                  <c:v>610.80999999999995</c:v>
                </c:pt>
                <c:pt idx="130">
                  <c:v>609.01</c:v>
                </c:pt>
                <c:pt idx="131">
                  <c:v>609.61</c:v>
                </c:pt>
                <c:pt idx="132">
                  <c:v>609.61</c:v>
                </c:pt>
                <c:pt idx="133">
                  <c:v>611.4</c:v>
                </c:pt>
                <c:pt idx="134">
                  <c:v>610.21</c:v>
                </c:pt>
                <c:pt idx="135">
                  <c:v>610.21</c:v>
                </c:pt>
                <c:pt idx="136">
                  <c:v>609.61</c:v>
                </c:pt>
                <c:pt idx="137">
                  <c:v>611.4</c:v>
                </c:pt>
                <c:pt idx="138">
                  <c:v>609.61</c:v>
                </c:pt>
                <c:pt idx="139">
                  <c:v>609.61</c:v>
                </c:pt>
                <c:pt idx="140">
                  <c:v>609.61</c:v>
                </c:pt>
                <c:pt idx="141">
                  <c:v>610.21</c:v>
                </c:pt>
                <c:pt idx="142">
                  <c:v>609.61</c:v>
                </c:pt>
                <c:pt idx="143">
                  <c:v>611.4</c:v>
                </c:pt>
                <c:pt idx="144">
                  <c:v>610.21</c:v>
                </c:pt>
                <c:pt idx="145">
                  <c:v>609.01</c:v>
                </c:pt>
                <c:pt idx="146">
                  <c:v>609.01</c:v>
                </c:pt>
                <c:pt idx="147">
                  <c:v>610.21</c:v>
                </c:pt>
                <c:pt idx="148">
                  <c:v>609.01</c:v>
                </c:pt>
                <c:pt idx="149">
                  <c:v>611.4</c:v>
                </c:pt>
                <c:pt idx="150">
                  <c:v>609.01</c:v>
                </c:pt>
                <c:pt idx="151">
                  <c:v>611.4</c:v>
                </c:pt>
                <c:pt idx="152">
                  <c:v>612.01</c:v>
                </c:pt>
                <c:pt idx="153">
                  <c:v>607.80999999999995</c:v>
                </c:pt>
                <c:pt idx="154">
                  <c:v>612.01</c:v>
                </c:pt>
                <c:pt idx="155">
                  <c:v>610.80999999999995</c:v>
                </c:pt>
                <c:pt idx="156">
                  <c:v>610.21</c:v>
                </c:pt>
                <c:pt idx="157">
                  <c:v>609.61</c:v>
                </c:pt>
                <c:pt idx="158">
                  <c:v>610.80999999999995</c:v>
                </c:pt>
                <c:pt idx="159">
                  <c:v>611.4</c:v>
                </c:pt>
                <c:pt idx="160">
                  <c:v>609.61</c:v>
                </c:pt>
                <c:pt idx="161">
                  <c:v>612.01</c:v>
                </c:pt>
                <c:pt idx="162">
                  <c:v>610.21</c:v>
                </c:pt>
                <c:pt idx="163">
                  <c:v>610.80999999999995</c:v>
                </c:pt>
                <c:pt idx="164">
                  <c:v>609.61</c:v>
                </c:pt>
                <c:pt idx="165">
                  <c:v>612.01</c:v>
                </c:pt>
                <c:pt idx="166">
                  <c:v>609.01</c:v>
                </c:pt>
                <c:pt idx="167">
                  <c:v>612.01</c:v>
                </c:pt>
                <c:pt idx="168">
                  <c:v>608.4</c:v>
                </c:pt>
                <c:pt idx="169">
                  <c:v>610.80999999999995</c:v>
                </c:pt>
                <c:pt idx="170">
                  <c:v>610.21</c:v>
                </c:pt>
                <c:pt idx="171">
                  <c:v>611.4</c:v>
                </c:pt>
                <c:pt idx="172">
                  <c:v>611.4</c:v>
                </c:pt>
                <c:pt idx="173">
                  <c:v>611.4</c:v>
                </c:pt>
                <c:pt idx="174">
                  <c:v>609.61</c:v>
                </c:pt>
                <c:pt idx="175">
                  <c:v>610.80999999999995</c:v>
                </c:pt>
                <c:pt idx="176">
                  <c:v>609.01</c:v>
                </c:pt>
                <c:pt idx="177">
                  <c:v>609.01</c:v>
                </c:pt>
                <c:pt idx="178">
                  <c:v>609.61</c:v>
                </c:pt>
                <c:pt idx="179">
                  <c:v>609.01</c:v>
                </c:pt>
                <c:pt idx="180">
                  <c:v>610.21</c:v>
                </c:pt>
                <c:pt idx="181">
                  <c:v>609.61</c:v>
                </c:pt>
                <c:pt idx="182">
                  <c:v>609.61</c:v>
                </c:pt>
                <c:pt idx="183">
                  <c:v>610.80999999999995</c:v>
                </c:pt>
                <c:pt idx="184">
                  <c:v>613.21</c:v>
                </c:pt>
                <c:pt idx="185">
                  <c:v>609.61</c:v>
                </c:pt>
                <c:pt idx="186">
                  <c:v>610.21</c:v>
                </c:pt>
                <c:pt idx="187">
                  <c:v>610.80999999999995</c:v>
                </c:pt>
                <c:pt idx="188">
                  <c:v>611.4</c:v>
                </c:pt>
                <c:pt idx="189">
                  <c:v>608.4</c:v>
                </c:pt>
                <c:pt idx="190">
                  <c:v>606.61</c:v>
                </c:pt>
                <c:pt idx="191">
                  <c:v>609.01</c:v>
                </c:pt>
                <c:pt idx="192">
                  <c:v>610.21</c:v>
                </c:pt>
                <c:pt idx="193">
                  <c:v>613.21</c:v>
                </c:pt>
                <c:pt idx="194">
                  <c:v>612.01</c:v>
                </c:pt>
                <c:pt idx="195">
                  <c:v>610.80999999999995</c:v>
                </c:pt>
                <c:pt idx="196">
                  <c:v>609.01</c:v>
                </c:pt>
                <c:pt idx="197">
                  <c:v>608.4</c:v>
                </c:pt>
                <c:pt idx="198">
                  <c:v>609.61</c:v>
                </c:pt>
                <c:pt idx="199">
                  <c:v>609.01</c:v>
                </c:pt>
                <c:pt idx="200">
                  <c:v>609.61</c:v>
                </c:pt>
                <c:pt idx="201">
                  <c:v>610.21</c:v>
                </c:pt>
                <c:pt idx="202">
                  <c:v>612.01</c:v>
                </c:pt>
                <c:pt idx="203">
                  <c:v>607.21</c:v>
                </c:pt>
                <c:pt idx="204">
                  <c:v>610.80999999999995</c:v>
                </c:pt>
                <c:pt idx="205">
                  <c:v>610.21</c:v>
                </c:pt>
                <c:pt idx="206">
                  <c:v>610.21</c:v>
                </c:pt>
                <c:pt idx="207">
                  <c:v>610.21</c:v>
                </c:pt>
                <c:pt idx="208">
                  <c:v>610.80999999999995</c:v>
                </c:pt>
                <c:pt idx="209">
                  <c:v>610.21</c:v>
                </c:pt>
                <c:pt idx="210">
                  <c:v>609.61</c:v>
                </c:pt>
                <c:pt idx="211">
                  <c:v>610.21</c:v>
                </c:pt>
                <c:pt idx="212">
                  <c:v>608.4</c:v>
                </c:pt>
                <c:pt idx="213">
                  <c:v>610.80999999999995</c:v>
                </c:pt>
                <c:pt idx="214">
                  <c:v>610.21</c:v>
                </c:pt>
                <c:pt idx="215">
                  <c:v>612.61</c:v>
                </c:pt>
                <c:pt idx="216">
                  <c:v>610.21</c:v>
                </c:pt>
                <c:pt idx="217">
                  <c:v>610.21</c:v>
                </c:pt>
                <c:pt idx="218">
                  <c:v>606.61</c:v>
                </c:pt>
                <c:pt idx="219">
                  <c:v>610.21</c:v>
                </c:pt>
                <c:pt idx="220">
                  <c:v>611.4</c:v>
                </c:pt>
                <c:pt idx="221">
                  <c:v>610.21</c:v>
                </c:pt>
                <c:pt idx="222">
                  <c:v>609.61</c:v>
                </c:pt>
                <c:pt idx="223">
                  <c:v>610.80999999999995</c:v>
                </c:pt>
                <c:pt idx="224">
                  <c:v>610.21</c:v>
                </c:pt>
                <c:pt idx="225">
                  <c:v>609.61</c:v>
                </c:pt>
                <c:pt idx="226">
                  <c:v>610.80999999999995</c:v>
                </c:pt>
                <c:pt idx="227">
                  <c:v>611.4</c:v>
                </c:pt>
                <c:pt idx="228">
                  <c:v>609.61</c:v>
                </c:pt>
                <c:pt idx="229">
                  <c:v>611.4</c:v>
                </c:pt>
                <c:pt idx="230">
                  <c:v>609.01</c:v>
                </c:pt>
                <c:pt idx="231">
                  <c:v>609.61</c:v>
                </c:pt>
                <c:pt idx="232">
                  <c:v>610.21</c:v>
                </c:pt>
                <c:pt idx="233">
                  <c:v>610.21</c:v>
                </c:pt>
                <c:pt idx="234">
                  <c:v>609.61</c:v>
                </c:pt>
                <c:pt idx="235">
                  <c:v>610.21</c:v>
                </c:pt>
                <c:pt idx="236">
                  <c:v>609.61</c:v>
                </c:pt>
                <c:pt idx="237">
                  <c:v>612.01</c:v>
                </c:pt>
                <c:pt idx="238">
                  <c:v>609.61</c:v>
                </c:pt>
                <c:pt idx="239">
                  <c:v>610.21</c:v>
                </c:pt>
                <c:pt idx="240">
                  <c:v>607.80999999999995</c:v>
                </c:pt>
                <c:pt idx="241">
                  <c:v>611.4</c:v>
                </c:pt>
                <c:pt idx="242">
                  <c:v>610.80999999999995</c:v>
                </c:pt>
                <c:pt idx="243">
                  <c:v>608.4</c:v>
                </c:pt>
                <c:pt idx="244">
                  <c:v>609.01</c:v>
                </c:pt>
                <c:pt idx="245">
                  <c:v>610.21</c:v>
                </c:pt>
                <c:pt idx="246">
                  <c:v>609.61</c:v>
                </c:pt>
                <c:pt idx="247">
                  <c:v>610.21</c:v>
                </c:pt>
                <c:pt idx="248">
                  <c:v>610.80999999999995</c:v>
                </c:pt>
                <c:pt idx="249">
                  <c:v>607.21</c:v>
                </c:pt>
                <c:pt idx="250">
                  <c:v>609.01</c:v>
                </c:pt>
                <c:pt idx="251">
                  <c:v>611.4</c:v>
                </c:pt>
                <c:pt idx="252">
                  <c:v>612.01</c:v>
                </c:pt>
                <c:pt idx="253">
                  <c:v>608.4</c:v>
                </c:pt>
                <c:pt idx="254">
                  <c:v>608.4</c:v>
                </c:pt>
                <c:pt idx="255">
                  <c:v>612.01</c:v>
                </c:pt>
                <c:pt idx="256">
                  <c:v>609.61</c:v>
                </c:pt>
                <c:pt idx="257">
                  <c:v>610.80999999999995</c:v>
                </c:pt>
                <c:pt idx="258">
                  <c:v>610.21</c:v>
                </c:pt>
                <c:pt idx="259">
                  <c:v>610.21</c:v>
                </c:pt>
                <c:pt idx="260">
                  <c:v>611.4</c:v>
                </c:pt>
                <c:pt idx="261">
                  <c:v>610.80999999999995</c:v>
                </c:pt>
                <c:pt idx="262">
                  <c:v>609.61</c:v>
                </c:pt>
                <c:pt idx="263">
                  <c:v>609.01</c:v>
                </c:pt>
                <c:pt idx="264">
                  <c:v>609.61</c:v>
                </c:pt>
                <c:pt idx="265">
                  <c:v>610.80999999999995</c:v>
                </c:pt>
                <c:pt idx="266">
                  <c:v>609.61</c:v>
                </c:pt>
                <c:pt idx="267">
                  <c:v>609.01</c:v>
                </c:pt>
                <c:pt idx="268">
                  <c:v>609.61</c:v>
                </c:pt>
                <c:pt idx="269">
                  <c:v>609.61</c:v>
                </c:pt>
                <c:pt idx="270">
                  <c:v>610.21</c:v>
                </c:pt>
                <c:pt idx="271">
                  <c:v>610.80999999999995</c:v>
                </c:pt>
                <c:pt idx="272">
                  <c:v>609.61</c:v>
                </c:pt>
                <c:pt idx="273">
                  <c:v>609.01</c:v>
                </c:pt>
                <c:pt idx="274">
                  <c:v>610.80999999999995</c:v>
                </c:pt>
                <c:pt idx="275">
                  <c:v>610.21</c:v>
                </c:pt>
                <c:pt idx="276">
                  <c:v>608.4</c:v>
                </c:pt>
                <c:pt idx="277">
                  <c:v>610.80999999999995</c:v>
                </c:pt>
                <c:pt idx="278">
                  <c:v>609.61</c:v>
                </c:pt>
                <c:pt idx="279">
                  <c:v>612.01</c:v>
                </c:pt>
                <c:pt idx="280">
                  <c:v>609.01</c:v>
                </c:pt>
                <c:pt idx="281">
                  <c:v>608.4</c:v>
                </c:pt>
                <c:pt idx="282">
                  <c:v>611.4</c:v>
                </c:pt>
                <c:pt idx="283">
                  <c:v>611.4</c:v>
                </c:pt>
                <c:pt idx="284">
                  <c:v>610.80999999999995</c:v>
                </c:pt>
                <c:pt idx="285">
                  <c:v>609.61</c:v>
                </c:pt>
                <c:pt idx="286">
                  <c:v>611.4</c:v>
                </c:pt>
                <c:pt idx="287">
                  <c:v>610.80999999999995</c:v>
                </c:pt>
                <c:pt idx="288">
                  <c:v>610.80999999999995</c:v>
                </c:pt>
                <c:pt idx="289">
                  <c:v>610.80999999999995</c:v>
                </c:pt>
                <c:pt idx="290">
                  <c:v>607.21</c:v>
                </c:pt>
                <c:pt idx="291">
                  <c:v>609.01</c:v>
                </c:pt>
                <c:pt idx="292">
                  <c:v>609.01</c:v>
                </c:pt>
                <c:pt idx="293">
                  <c:v>610.80999999999995</c:v>
                </c:pt>
                <c:pt idx="294">
                  <c:v>609.61</c:v>
                </c:pt>
                <c:pt idx="295">
                  <c:v>610.80999999999995</c:v>
                </c:pt>
                <c:pt idx="296">
                  <c:v>609.61</c:v>
                </c:pt>
                <c:pt idx="297">
                  <c:v>610.21</c:v>
                </c:pt>
                <c:pt idx="298">
                  <c:v>609.01</c:v>
                </c:pt>
                <c:pt idx="299">
                  <c:v>610.21</c:v>
                </c:pt>
                <c:pt idx="300">
                  <c:v>610.21</c:v>
                </c:pt>
                <c:pt idx="301">
                  <c:v>610.80999999999995</c:v>
                </c:pt>
                <c:pt idx="302">
                  <c:v>611.4</c:v>
                </c:pt>
                <c:pt idx="303">
                  <c:v>609.01</c:v>
                </c:pt>
                <c:pt idx="304">
                  <c:v>609.61</c:v>
                </c:pt>
                <c:pt idx="305">
                  <c:v>606.61</c:v>
                </c:pt>
                <c:pt idx="306">
                  <c:v>609.01</c:v>
                </c:pt>
                <c:pt idx="307">
                  <c:v>612.01</c:v>
                </c:pt>
                <c:pt idx="308">
                  <c:v>608.4</c:v>
                </c:pt>
                <c:pt idx="309">
                  <c:v>609.61</c:v>
                </c:pt>
                <c:pt idx="310">
                  <c:v>610.80999999999995</c:v>
                </c:pt>
                <c:pt idx="311">
                  <c:v>609.01</c:v>
                </c:pt>
                <c:pt idx="312">
                  <c:v>611.4</c:v>
                </c:pt>
                <c:pt idx="313">
                  <c:v>608.4</c:v>
                </c:pt>
                <c:pt idx="314">
                  <c:v>609.01</c:v>
                </c:pt>
                <c:pt idx="315">
                  <c:v>608.4</c:v>
                </c:pt>
                <c:pt idx="316">
                  <c:v>610.21</c:v>
                </c:pt>
                <c:pt idx="317">
                  <c:v>608.4</c:v>
                </c:pt>
                <c:pt idx="318">
                  <c:v>609.61</c:v>
                </c:pt>
                <c:pt idx="319">
                  <c:v>607.80999999999995</c:v>
                </c:pt>
                <c:pt idx="320">
                  <c:v>609.61</c:v>
                </c:pt>
                <c:pt idx="321">
                  <c:v>609.61</c:v>
                </c:pt>
                <c:pt idx="322">
                  <c:v>611.4</c:v>
                </c:pt>
                <c:pt idx="323">
                  <c:v>612.61</c:v>
                </c:pt>
                <c:pt idx="324">
                  <c:v>611.4</c:v>
                </c:pt>
                <c:pt idx="325">
                  <c:v>610.21</c:v>
                </c:pt>
                <c:pt idx="326">
                  <c:v>608.4</c:v>
                </c:pt>
                <c:pt idx="327">
                  <c:v>610.21</c:v>
                </c:pt>
                <c:pt idx="328">
                  <c:v>609.61</c:v>
                </c:pt>
                <c:pt idx="329">
                  <c:v>610.21</c:v>
                </c:pt>
                <c:pt idx="330">
                  <c:v>609.61</c:v>
                </c:pt>
                <c:pt idx="331">
                  <c:v>612.01</c:v>
                </c:pt>
                <c:pt idx="332">
                  <c:v>609.61</c:v>
                </c:pt>
                <c:pt idx="333">
                  <c:v>609.01</c:v>
                </c:pt>
                <c:pt idx="334">
                  <c:v>609.61</c:v>
                </c:pt>
                <c:pt idx="335">
                  <c:v>611.4</c:v>
                </c:pt>
                <c:pt idx="336">
                  <c:v>610.80999999999995</c:v>
                </c:pt>
                <c:pt idx="337">
                  <c:v>610.21</c:v>
                </c:pt>
                <c:pt idx="338">
                  <c:v>610.21</c:v>
                </c:pt>
                <c:pt idx="339">
                  <c:v>609.01</c:v>
                </c:pt>
                <c:pt idx="340">
                  <c:v>609.61</c:v>
                </c:pt>
                <c:pt idx="341">
                  <c:v>610.21</c:v>
                </c:pt>
                <c:pt idx="342">
                  <c:v>609.61</c:v>
                </c:pt>
                <c:pt idx="343">
                  <c:v>609.61</c:v>
                </c:pt>
                <c:pt idx="344">
                  <c:v>609.01</c:v>
                </c:pt>
                <c:pt idx="345">
                  <c:v>610.80999999999995</c:v>
                </c:pt>
                <c:pt idx="346">
                  <c:v>610.21</c:v>
                </c:pt>
                <c:pt idx="347">
                  <c:v>610.21</c:v>
                </c:pt>
                <c:pt idx="348">
                  <c:v>611.4</c:v>
                </c:pt>
                <c:pt idx="349">
                  <c:v>609.61</c:v>
                </c:pt>
                <c:pt idx="350">
                  <c:v>607.80999999999995</c:v>
                </c:pt>
                <c:pt idx="351">
                  <c:v>612.01</c:v>
                </c:pt>
                <c:pt idx="352">
                  <c:v>612.01</c:v>
                </c:pt>
                <c:pt idx="353">
                  <c:v>610.80999999999995</c:v>
                </c:pt>
                <c:pt idx="354">
                  <c:v>610.80999999999995</c:v>
                </c:pt>
                <c:pt idx="355">
                  <c:v>609.01</c:v>
                </c:pt>
                <c:pt idx="356">
                  <c:v>612.01</c:v>
                </c:pt>
                <c:pt idx="357">
                  <c:v>610.21</c:v>
                </c:pt>
                <c:pt idx="358">
                  <c:v>609.01</c:v>
                </c:pt>
                <c:pt idx="359">
                  <c:v>609.61</c:v>
                </c:pt>
                <c:pt idx="360">
                  <c:v>609.01</c:v>
                </c:pt>
                <c:pt idx="361">
                  <c:v>610.80999999999995</c:v>
                </c:pt>
                <c:pt idx="362">
                  <c:v>610.80999999999995</c:v>
                </c:pt>
                <c:pt idx="363">
                  <c:v>611.4</c:v>
                </c:pt>
                <c:pt idx="364">
                  <c:v>608.4</c:v>
                </c:pt>
                <c:pt idx="365">
                  <c:v>613.21</c:v>
                </c:pt>
                <c:pt idx="366">
                  <c:v>609.01</c:v>
                </c:pt>
                <c:pt idx="367">
                  <c:v>607.80999999999995</c:v>
                </c:pt>
                <c:pt idx="368">
                  <c:v>609.01</c:v>
                </c:pt>
                <c:pt idx="369">
                  <c:v>609.01</c:v>
                </c:pt>
                <c:pt idx="370">
                  <c:v>611.4</c:v>
                </c:pt>
                <c:pt idx="371">
                  <c:v>610.80999999999995</c:v>
                </c:pt>
                <c:pt idx="372">
                  <c:v>611.4</c:v>
                </c:pt>
                <c:pt idx="373">
                  <c:v>610.21</c:v>
                </c:pt>
                <c:pt idx="374">
                  <c:v>609.61</c:v>
                </c:pt>
                <c:pt idx="375">
                  <c:v>609.61</c:v>
                </c:pt>
                <c:pt idx="376">
                  <c:v>611.4</c:v>
                </c:pt>
                <c:pt idx="377">
                  <c:v>610.80999999999995</c:v>
                </c:pt>
                <c:pt idx="378">
                  <c:v>612.01</c:v>
                </c:pt>
                <c:pt idx="379">
                  <c:v>609.61</c:v>
                </c:pt>
                <c:pt idx="380">
                  <c:v>610.21</c:v>
                </c:pt>
                <c:pt idx="381">
                  <c:v>608.4</c:v>
                </c:pt>
                <c:pt idx="382">
                  <c:v>610.21</c:v>
                </c:pt>
                <c:pt idx="383">
                  <c:v>610.80999999999995</c:v>
                </c:pt>
                <c:pt idx="384">
                  <c:v>610.80999999999995</c:v>
                </c:pt>
                <c:pt idx="385">
                  <c:v>609.61</c:v>
                </c:pt>
                <c:pt idx="386">
                  <c:v>610.21</c:v>
                </c:pt>
                <c:pt idx="387">
                  <c:v>611.4</c:v>
                </c:pt>
                <c:pt idx="388">
                  <c:v>609.61</c:v>
                </c:pt>
                <c:pt idx="389">
                  <c:v>610.80999999999995</c:v>
                </c:pt>
                <c:pt idx="390">
                  <c:v>608.4</c:v>
                </c:pt>
                <c:pt idx="391">
                  <c:v>609.01</c:v>
                </c:pt>
                <c:pt idx="392">
                  <c:v>612.01</c:v>
                </c:pt>
                <c:pt idx="393">
                  <c:v>608.4</c:v>
                </c:pt>
                <c:pt idx="394">
                  <c:v>609.61</c:v>
                </c:pt>
                <c:pt idx="395">
                  <c:v>612.01</c:v>
                </c:pt>
                <c:pt idx="396">
                  <c:v>610.80999999999995</c:v>
                </c:pt>
                <c:pt idx="397">
                  <c:v>610.80999999999995</c:v>
                </c:pt>
                <c:pt idx="398">
                  <c:v>609.61</c:v>
                </c:pt>
                <c:pt idx="399">
                  <c:v>609.61</c:v>
                </c:pt>
                <c:pt idx="400">
                  <c:v>609.01</c:v>
                </c:pt>
                <c:pt idx="401">
                  <c:v>612.01</c:v>
                </c:pt>
                <c:pt idx="402">
                  <c:v>610.80999999999995</c:v>
                </c:pt>
                <c:pt idx="403">
                  <c:v>612.01</c:v>
                </c:pt>
                <c:pt idx="404">
                  <c:v>611.4</c:v>
                </c:pt>
                <c:pt idx="405">
                  <c:v>611.4</c:v>
                </c:pt>
                <c:pt idx="406">
                  <c:v>612.01</c:v>
                </c:pt>
                <c:pt idx="407">
                  <c:v>610.80999999999995</c:v>
                </c:pt>
                <c:pt idx="408">
                  <c:v>609.01</c:v>
                </c:pt>
                <c:pt idx="409">
                  <c:v>608.4</c:v>
                </c:pt>
                <c:pt idx="410">
                  <c:v>610.21</c:v>
                </c:pt>
                <c:pt idx="411">
                  <c:v>609.61</c:v>
                </c:pt>
                <c:pt idx="412">
                  <c:v>608.4</c:v>
                </c:pt>
                <c:pt idx="413">
                  <c:v>609.01</c:v>
                </c:pt>
                <c:pt idx="414">
                  <c:v>607.80999999999995</c:v>
                </c:pt>
                <c:pt idx="415">
                  <c:v>610.21</c:v>
                </c:pt>
                <c:pt idx="416">
                  <c:v>611.4</c:v>
                </c:pt>
                <c:pt idx="417">
                  <c:v>611.4</c:v>
                </c:pt>
                <c:pt idx="418">
                  <c:v>612.61</c:v>
                </c:pt>
                <c:pt idx="419">
                  <c:v>608.4</c:v>
                </c:pt>
                <c:pt idx="420">
                  <c:v>609.61</c:v>
                </c:pt>
                <c:pt idx="421">
                  <c:v>609.61</c:v>
                </c:pt>
                <c:pt idx="422">
                  <c:v>610.80999999999995</c:v>
                </c:pt>
                <c:pt idx="423">
                  <c:v>610.21</c:v>
                </c:pt>
                <c:pt idx="424">
                  <c:v>609.01</c:v>
                </c:pt>
                <c:pt idx="425">
                  <c:v>610.21</c:v>
                </c:pt>
                <c:pt idx="426">
                  <c:v>609.01</c:v>
                </c:pt>
                <c:pt idx="427">
                  <c:v>609.61</c:v>
                </c:pt>
                <c:pt idx="428">
                  <c:v>610.21</c:v>
                </c:pt>
                <c:pt idx="429">
                  <c:v>609.01</c:v>
                </c:pt>
                <c:pt idx="430">
                  <c:v>610.21</c:v>
                </c:pt>
                <c:pt idx="431">
                  <c:v>610.80999999999995</c:v>
                </c:pt>
                <c:pt idx="432">
                  <c:v>609.61</c:v>
                </c:pt>
                <c:pt idx="433">
                  <c:v>609.61</c:v>
                </c:pt>
                <c:pt idx="434">
                  <c:v>613.21</c:v>
                </c:pt>
                <c:pt idx="435">
                  <c:v>607.80999999999995</c:v>
                </c:pt>
                <c:pt idx="436">
                  <c:v>609.61</c:v>
                </c:pt>
                <c:pt idx="437">
                  <c:v>613.80999999999995</c:v>
                </c:pt>
                <c:pt idx="438">
                  <c:v>610.21</c:v>
                </c:pt>
                <c:pt idx="439">
                  <c:v>610.80999999999995</c:v>
                </c:pt>
                <c:pt idx="440">
                  <c:v>609.61</c:v>
                </c:pt>
                <c:pt idx="441">
                  <c:v>609.61</c:v>
                </c:pt>
                <c:pt idx="442">
                  <c:v>609.61</c:v>
                </c:pt>
                <c:pt idx="443">
                  <c:v>610.80999999999995</c:v>
                </c:pt>
                <c:pt idx="444">
                  <c:v>610.21</c:v>
                </c:pt>
                <c:pt idx="445">
                  <c:v>609.61</c:v>
                </c:pt>
                <c:pt idx="446">
                  <c:v>609.61</c:v>
                </c:pt>
                <c:pt idx="447">
                  <c:v>610.21</c:v>
                </c:pt>
                <c:pt idx="448">
                  <c:v>611.4</c:v>
                </c:pt>
                <c:pt idx="449">
                  <c:v>612.61</c:v>
                </c:pt>
                <c:pt idx="450">
                  <c:v>610.21</c:v>
                </c:pt>
                <c:pt idx="451">
                  <c:v>608.4</c:v>
                </c:pt>
                <c:pt idx="452">
                  <c:v>610.21</c:v>
                </c:pt>
                <c:pt idx="453">
                  <c:v>610.80999999999995</c:v>
                </c:pt>
                <c:pt idx="454">
                  <c:v>610.21</c:v>
                </c:pt>
                <c:pt idx="455">
                  <c:v>610.21</c:v>
                </c:pt>
                <c:pt idx="456">
                  <c:v>609.01</c:v>
                </c:pt>
                <c:pt idx="457">
                  <c:v>612.01</c:v>
                </c:pt>
                <c:pt idx="458">
                  <c:v>610.21</c:v>
                </c:pt>
                <c:pt idx="459">
                  <c:v>610.21</c:v>
                </c:pt>
                <c:pt idx="460">
                  <c:v>610.80999999999995</c:v>
                </c:pt>
                <c:pt idx="461">
                  <c:v>610.21</c:v>
                </c:pt>
                <c:pt idx="462">
                  <c:v>609.01</c:v>
                </c:pt>
                <c:pt idx="463">
                  <c:v>609.61</c:v>
                </c:pt>
                <c:pt idx="464">
                  <c:v>610.80999999999995</c:v>
                </c:pt>
                <c:pt idx="465">
                  <c:v>610.21</c:v>
                </c:pt>
                <c:pt idx="466">
                  <c:v>609.01</c:v>
                </c:pt>
                <c:pt idx="467">
                  <c:v>610.21</c:v>
                </c:pt>
                <c:pt idx="468">
                  <c:v>610.21</c:v>
                </c:pt>
                <c:pt idx="469">
                  <c:v>609.61</c:v>
                </c:pt>
                <c:pt idx="470">
                  <c:v>609.61</c:v>
                </c:pt>
                <c:pt idx="471">
                  <c:v>610.21</c:v>
                </c:pt>
                <c:pt idx="472">
                  <c:v>609.01</c:v>
                </c:pt>
                <c:pt idx="473">
                  <c:v>610.80999999999995</c:v>
                </c:pt>
                <c:pt idx="474">
                  <c:v>609.61</c:v>
                </c:pt>
                <c:pt idx="475">
                  <c:v>609.61</c:v>
                </c:pt>
                <c:pt idx="476">
                  <c:v>609.01</c:v>
                </c:pt>
                <c:pt idx="477">
                  <c:v>608.4</c:v>
                </c:pt>
                <c:pt idx="478">
                  <c:v>610.80999999999995</c:v>
                </c:pt>
                <c:pt idx="479">
                  <c:v>609.61</c:v>
                </c:pt>
                <c:pt idx="480">
                  <c:v>610.80999999999995</c:v>
                </c:pt>
                <c:pt idx="481">
                  <c:v>610.80999999999995</c:v>
                </c:pt>
                <c:pt idx="482">
                  <c:v>608.4</c:v>
                </c:pt>
                <c:pt idx="483">
                  <c:v>609.01</c:v>
                </c:pt>
                <c:pt idx="484">
                  <c:v>607.80999999999995</c:v>
                </c:pt>
                <c:pt idx="485">
                  <c:v>610.21</c:v>
                </c:pt>
                <c:pt idx="486">
                  <c:v>610.21</c:v>
                </c:pt>
                <c:pt idx="487">
                  <c:v>609.61</c:v>
                </c:pt>
                <c:pt idx="488">
                  <c:v>609.61</c:v>
                </c:pt>
                <c:pt idx="489">
                  <c:v>610.80999999999995</c:v>
                </c:pt>
                <c:pt idx="490">
                  <c:v>609.61</c:v>
                </c:pt>
                <c:pt idx="491">
                  <c:v>610.80999999999995</c:v>
                </c:pt>
                <c:pt idx="492">
                  <c:v>609.61</c:v>
                </c:pt>
                <c:pt idx="493">
                  <c:v>610.21</c:v>
                </c:pt>
                <c:pt idx="494">
                  <c:v>612.61</c:v>
                </c:pt>
                <c:pt idx="495">
                  <c:v>611.4</c:v>
                </c:pt>
                <c:pt idx="496">
                  <c:v>611.4</c:v>
                </c:pt>
                <c:pt idx="497">
                  <c:v>609.01</c:v>
                </c:pt>
                <c:pt idx="498">
                  <c:v>610.21</c:v>
                </c:pt>
                <c:pt idx="499">
                  <c:v>610.80999999999995</c:v>
                </c:pt>
                <c:pt idx="500">
                  <c:v>611.4</c:v>
                </c:pt>
                <c:pt idx="501">
                  <c:v>610.21</c:v>
                </c:pt>
                <c:pt idx="502">
                  <c:v>610.21</c:v>
                </c:pt>
                <c:pt idx="503">
                  <c:v>610.80999999999995</c:v>
                </c:pt>
                <c:pt idx="504">
                  <c:v>611.4</c:v>
                </c:pt>
                <c:pt idx="505">
                  <c:v>610.21</c:v>
                </c:pt>
                <c:pt idx="506">
                  <c:v>609.61</c:v>
                </c:pt>
                <c:pt idx="507">
                  <c:v>610.21</c:v>
                </c:pt>
                <c:pt idx="508">
                  <c:v>608.4</c:v>
                </c:pt>
                <c:pt idx="509">
                  <c:v>611.4</c:v>
                </c:pt>
                <c:pt idx="510">
                  <c:v>610.21</c:v>
                </c:pt>
                <c:pt idx="511">
                  <c:v>611.4</c:v>
                </c:pt>
                <c:pt idx="512">
                  <c:v>610.80999999999995</c:v>
                </c:pt>
                <c:pt idx="513">
                  <c:v>612.01</c:v>
                </c:pt>
                <c:pt idx="514">
                  <c:v>609.61</c:v>
                </c:pt>
                <c:pt idx="515">
                  <c:v>610.21</c:v>
                </c:pt>
                <c:pt idx="516">
                  <c:v>609.61</c:v>
                </c:pt>
                <c:pt idx="517">
                  <c:v>609.61</c:v>
                </c:pt>
                <c:pt idx="518">
                  <c:v>610.21</c:v>
                </c:pt>
                <c:pt idx="519">
                  <c:v>610.21</c:v>
                </c:pt>
                <c:pt idx="520">
                  <c:v>610.21</c:v>
                </c:pt>
                <c:pt idx="521">
                  <c:v>611.4</c:v>
                </c:pt>
                <c:pt idx="522">
                  <c:v>611.4</c:v>
                </c:pt>
                <c:pt idx="523">
                  <c:v>609.61</c:v>
                </c:pt>
                <c:pt idx="524">
                  <c:v>609.01</c:v>
                </c:pt>
                <c:pt idx="525">
                  <c:v>607.80999999999995</c:v>
                </c:pt>
                <c:pt idx="526">
                  <c:v>612.01</c:v>
                </c:pt>
                <c:pt idx="527">
                  <c:v>609.01</c:v>
                </c:pt>
                <c:pt idx="528">
                  <c:v>607.80999999999995</c:v>
                </c:pt>
                <c:pt idx="529">
                  <c:v>607.21</c:v>
                </c:pt>
                <c:pt idx="530">
                  <c:v>608.4</c:v>
                </c:pt>
                <c:pt idx="531">
                  <c:v>607.80999999999995</c:v>
                </c:pt>
                <c:pt idx="532">
                  <c:v>605.4</c:v>
                </c:pt>
                <c:pt idx="533">
                  <c:v>602.4</c:v>
                </c:pt>
                <c:pt idx="534">
                  <c:v>599.4</c:v>
                </c:pt>
                <c:pt idx="535">
                  <c:v>597.01</c:v>
                </c:pt>
                <c:pt idx="536">
                  <c:v>593.4</c:v>
                </c:pt>
                <c:pt idx="537">
                  <c:v>588.61</c:v>
                </c:pt>
                <c:pt idx="538">
                  <c:v>583.21</c:v>
                </c:pt>
                <c:pt idx="539">
                  <c:v>580.21</c:v>
                </c:pt>
                <c:pt idx="540">
                  <c:v>576.01</c:v>
                </c:pt>
                <c:pt idx="541">
                  <c:v>573.61</c:v>
                </c:pt>
                <c:pt idx="542">
                  <c:v>568.80999999999995</c:v>
                </c:pt>
                <c:pt idx="543">
                  <c:v>568.21</c:v>
                </c:pt>
                <c:pt idx="544">
                  <c:v>567.01</c:v>
                </c:pt>
                <c:pt idx="545">
                  <c:v>565.80999999999995</c:v>
                </c:pt>
                <c:pt idx="546">
                  <c:v>561.61</c:v>
                </c:pt>
                <c:pt idx="547">
                  <c:v>562.80999999999995</c:v>
                </c:pt>
                <c:pt idx="548">
                  <c:v>562.80999999999995</c:v>
                </c:pt>
                <c:pt idx="549">
                  <c:v>561.01</c:v>
                </c:pt>
                <c:pt idx="550">
                  <c:v>558.01</c:v>
                </c:pt>
                <c:pt idx="551">
                  <c:v>558.61</c:v>
                </c:pt>
                <c:pt idx="552">
                  <c:v>555.61</c:v>
                </c:pt>
                <c:pt idx="553">
                  <c:v>556.80999999999995</c:v>
                </c:pt>
                <c:pt idx="554">
                  <c:v>555.01</c:v>
                </c:pt>
                <c:pt idx="555">
                  <c:v>555.01</c:v>
                </c:pt>
                <c:pt idx="556">
                  <c:v>555.01</c:v>
                </c:pt>
                <c:pt idx="557">
                  <c:v>555.01</c:v>
                </c:pt>
                <c:pt idx="558">
                  <c:v>555.01</c:v>
                </c:pt>
                <c:pt idx="559">
                  <c:v>554.4</c:v>
                </c:pt>
                <c:pt idx="560">
                  <c:v>553.80999999999995</c:v>
                </c:pt>
                <c:pt idx="561">
                  <c:v>550.80999999999995</c:v>
                </c:pt>
                <c:pt idx="562">
                  <c:v>553.21</c:v>
                </c:pt>
                <c:pt idx="563">
                  <c:v>552.01</c:v>
                </c:pt>
                <c:pt idx="564">
                  <c:v>551.4</c:v>
                </c:pt>
                <c:pt idx="565">
                  <c:v>550.21</c:v>
                </c:pt>
                <c:pt idx="566">
                  <c:v>551.4</c:v>
                </c:pt>
                <c:pt idx="567">
                  <c:v>549.01</c:v>
                </c:pt>
                <c:pt idx="568">
                  <c:v>549.61</c:v>
                </c:pt>
                <c:pt idx="569">
                  <c:v>549.01</c:v>
                </c:pt>
                <c:pt idx="570">
                  <c:v>547.21</c:v>
                </c:pt>
                <c:pt idx="571">
                  <c:v>545.4</c:v>
                </c:pt>
                <c:pt idx="572">
                  <c:v>546.01</c:v>
                </c:pt>
                <c:pt idx="573">
                  <c:v>544.80999999999995</c:v>
                </c:pt>
                <c:pt idx="574">
                  <c:v>547.80999999999995</c:v>
                </c:pt>
                <c:pt idx="575">
                  <c:v>547.21</c:v>
                </c:pt>
                <c:pt idx="576">
                  <c:v>547.21</c:v>
                </c:pt>
                <c:pt idx="577">
                  <c:v>546.61</c:v>
                </c:pt>
                <c:pt idx="578">
                  <c:v>544.21</c:v>
                </c:pt>
                <c:pt idx="579">
                  <c:v>547.80999999999995</c:v>
                </c:pt>
                <c:pt idx="580">
                  <c:v>546.61</c:v>
                </c:pt>
                <c:pt idx="581">
                  <c:v>548.4</c:v>
                </c:pt>
                <c:pt idx="582">
                  <c:v>547.80999999999995</c:v>
                </c:pt>
                <c:pt idx="583">
                  <c:v>547.21</c:v>
                </c:pt>
                <c:pt idx="584">
                  <c:v>550.21</c:v>
                </c:pt>
                <c:pt idx="585">
                  <c:v>547.21</c:v>
                </c:pt>
                <c:pt idx="586">
                  <c:v>550.80999999999995</c:v>
                </c:pt>
                <c:pt idx="587">
                  <c:v>549.01</c:v>
                </c:pt>
                <c:pt idx="588">
                  <c:v>550.80999999999995</c:v>
                </c:pt>
                <c:pt idx="589">
                  <c:v>552.01</c:v>
                </c:pt>
                <c:pt idx="590">
                  <c:v>552.01</c:v>
                </c:pt>
                <c:pt idx="591">
                  <c:v>552.61</c:v>
                </c:pt>
                <c:pt idx="592">
                  <c:v>553.21</c:v>
                </c:pt>
                <c:pt idx="593">
                  <c:v>551.4</c:v>
                </c:pt>
                <c:pt idx="594">
                  <c:v>552.61</c:v>
                </c:pt>
                <c:pt idx="595">
                  <c:v>550.80999999999995</c:v>
                </c:pt>
                <c:pt idx="596">
                  <c:v>553.80999999999995</c:v>
                </c:pt>
                <c:pt idx="597">
                  <c:v>555.01</c:v>
                </c:pt>
                <c:pt idx="598">
                  <c:v>555.01</c:v>
                </c:pt>
                <c:pt idx="599">
                  <c:v>553.80999999999995</c:v>
                </c:pt>
                <c:pt idx="600">
                  <c:v>556.21</c:v>
                </c:pt>
                <c:pt idx="601">
                  <c:v>554.4</c:v>
                </c:pt>
                <c:pt idx="602">
                  <c:v>554.4</c:v>
                </c:pt>
                <c:pt idx="603">
                  <c:v>555.01</c:v>
                </c:pt>
                <c:pt idx="604">
                  <c:v>555.61</c:v>
                </c:pt>
                <c:pt idx="605">
                  <c:v>553.80999999999995</c:v>
                </c:pt>
                <c:pt idx="606">
                  <c:v>555.61</c:v>
                </c:pt>
                <c:pt idx="607">
                  <c:v>555.61</c:v>
                </c:pt>
                <c:pt idx="608">
                  <c:v>555.01</c:v>
                </c:pt>
                <c:pt idx="609">
                  <c:v>557.4</c:v>
                </c:pt>
                <c:pt idx="610">
                  <c:v>557.4</c:v>
                </c:pt>
                <c:pt idx="611">
                  <c:v>559.80999999999995</c:v>
                </c:pt>
                <c:pt idx="612">
                  <c:v>555.61</c:v>
                </c:pt>
                <c:pt idx="613">
                  <c:v>556.80999999999995</c:v>
                </c:pt>
                <c:pt idx="614">
                  <c:v>556.21</c:v>
                </c:pt>
                <c:pt idx="615">
                  <c:v>556.80999999999995</c:v>
                </c:pt>
                <c:pt idx="616">
                  <c:v>557.4</c:v>
                </c:pt>
                <c:pt idx="617">
                  <c:v>556.21</c:v>
                </c:pt>
                <c:pt idx="618">
                  <c:v>556.80999999999995</c:v>
                </c:pt>
                <c:pt idx="619">
                  <c:v>558.61</c:v>
                </c:pt>
                <c:pt idx="620">
                  <c:v>556.80999999999995</c:v>
                </c:pt>
                <c:pt idx="621">
                  <c:v>560.4</c:v>
                </c:pt>
                <c:pt idx="622">
                  <c:v>555.61</c:v>
                </c:pt>
                <c:pt idx="623">
                  <c:v>555.61</c:v>
                </c:pt>
                <c:pt idx="624">
                  <c:v>558.61</c:v>
                </c:pt>
                <c:pt idx="625">
                  <c:v>556.80999999999995</c:v>
                </c:pt>
                <c:pt idx="626">
                  <c:v>556.21</c:v>
                </c:pt>
                <c:pt idx="627">
                  <c:v>556.80999999999995</c:v>
                </c:pt>
                <c:pt idx="628">
                  <c:v>557.4</c:v>
                </c:pt>
                <c:pt idx="629">
                  <c:v>556.21</c:v>
                </c:pt>
                <c:pt idx="630">
                  <c:v>556.21</c:v>
                </c:pt>
                <c:pt idx="631">
                  <c:v>553.80999999999995</c:v>
                </c:pt>
                <c:pt idx="632">
                  <c:v>553.80999999999995</c:v>
                </c:pt>
                <c:pt idx="633">
                  <c:v>555.01</c:v>
                </c:pt>
                <c:pt idx="634">
                  <c:v>552.61</c:v>
                </c:pt>
                <c:pt idx="635">
                  <c:v>550.21</c:v>
                </c:pt>
                <c:pt idx="636">
                  <c:v>551.4</c:v>
                </c:pt>
                <c:pt idx="637">
                  <c:v>552.61</c:v>
                </c:pt>
                <c:pt idx="638">
                  <c:v>546.61</c:v>
                </c:pt>
                <c:pt idx="639">
                  <c:v>545.4</c:v>
                </c:pt>
                <c:pt idx="640">
                  <c:v>546.61</c:v>
                </c:pt>
                <c:pt idx="641">
                  <c:v>545.4</c:v>
                </c:pt>
                <c:pt idx="642">
                  <c:v>540.61</c:v>
                </c:pt>
                <c:pt idx="643">
                  <c:v>540.61</c:v>
                </c:pt>
                <c:pt idx="644">
                  <c:v>538.80999999999995</c:v>
                </c:pt>
                <c:pt idx="645">
                  <c:v>536.4</c:v>
                </c:pt>
                <c:pt idx="646">
                  <c:v>534.01</c:v>
                </c:pt>
                <c:pt idx="647">
                  <c:v>530.4</c:v>
                </c:pt>
                <c:pt idx="648">
                  <c:v>528.01</c:v>
                </c:pt>
                <c:pt idx="649">
                  <c:v>526.80999999999995</c:v>
                </c:pt>
                <c:pt idx="650">
                  <c:v>522.61</c:v>
                </c:pt>
                <c:pt idx="651">
                  <c:v>521.4</c:v>
                </c:pt>
                <c:pt idx="652">
                  <c:v>519.01</c:v>
                </c:pt>
                <c:pt idx="653">
                  <c:v>512.4</c:v>
                </c:pt>
                <c:pt idx="654">
                  <c:v>511.81</c:v>
                </c:pt>
                <c:pt idx="655">
                  <c:v>506.4</c:v>
                </c:pt>
                <c:pt idx="656">
                  <c:v>502.81</c:v>
                </c:pt>
                <c:pt idx="657">
                  <c:v>500.4</c:v>
                </c:pt>
                <c:pt idx="658">
                  <c:v>498.01</c:v>
                </c:pt>
                <c:pt idx="659">
                  <c:v>493.21</c:v>
                </c:pt>
                <c:pt idx="660">
                  <c:v>490.21</c:v>
                </c:pt>
                <c:pt idx="661">
                  <c:v>486.61</c:v>
                </c:pt>
                <c:pt idx="662">
                  <c:v>483.01</c:v>
                </c:pt>
                <c:pt idx="663">
                  <c:v>478.81</c:v>
                </c:pt>
                <c:pt idx="664">
                  <c:v>472.21</c:v>
                </c:pt>
                <c:pt idx="665">
                  <c:v>469.81</c:v>
                </c:pt>
                <c:pt idx="666">
                  <c:v>466.21</c:v>
                </c:pt>
                <c:pt idx="667">
                  <c:v>461.4</c:v>
                </c:pt>
                <c:pt idx="668">
                  <c:v>460.81</c:v>
                </c:pt>
                <c:pt idx="669">
                  <c:v>453.01</c:v>
                </c:pt>
                <c:pt idx="670">
                  <c:v>451.21</c:v>
                </c:pt>
                <c:pt idx="671">
                  <c:v>446.4</c:v>
                </c:pt>
                <c:pt idx="672">
                  <c:v>443.4</c:v>
                </c:pt>
                <c:pt idx="673">
                  <c:v>438.61</c:v>
                </c:pt>
                <c:pt idx="674">
                  <c:v>433.81</c:v>
                </c:pt>
                <c:pt idx="675">
                  <c:v>426.61</c:v>
                </c:pt>
                <c:pt idx="676">
                  <c:v>424.81</c:v>
                </c:pt>
                <c:pt idx="677">
                  <c:v>420.01</c:v>
                </c:pt>
                <c:pt idx="678">
                  <c:v>412.81</c:v>
                </c:pt>
                <c:pt idx="679">
                  <c:v>410.4</c:v>
                </c:pt>
                <c:pt idx="680">
                  <c:v>406.81</c:v>
                </c:pt>
                <c:pt idx="681">
                  <c:v>401.4</c:v>
                </c:pt>
                <c:pt idx="682">
                  <c:v>396.61</c:v>
                </c:pt>
                <c:pt idx="683">
                  <c:v>393.61</c:v>
                </c:pt>
                <c:pt idx="684">
                  <c:v>387.01</c:v>
                </c:pt>
                <c:pt idx="685">
                  <c:v>380.4</c:v>
                </c:pt>
                <c:pt idx="686">
                  <c:v>380.4</c:v>
                </c:pt>
                <c:pt idx="687">
                  <c:v>375.01</c:v>
                </c:pt>
                <c:pt idx="688">
                  <c:v>371.4</c:v>
                </c:pt>
                <c:pt idx="689">
                  <c:v>364.21</c:v>
                </c:pt>
                <c:pt idx="690">
                  <c:v>360.01</c:v>
                </c:pt>
                <c:pt idx="691">
                  <c:v>355.21</c:v>
                </c:pt>
                <c:pt idx="692">
                  <c:v>347.4</c:v>
                </c:pt>
                <c:pt idx="693">
                  <c:v>342.01</c:v>
                </c:pt>
                <c:pt idx="694">
                  <c:v>339.61</c:v>
                </c:pt>
                <c:pt idx="695">
                  <c:v>331.21</c:v>
                </c:pt>
                <c:pt idx="696">
                  <c:v>327.61</c:v>
                </c:pt>
                <c:pt idx="697">
                  <c:v>322.81</c:v>
                </c:pt>
                <c:pt idx="698">
                  <c:v>317.39999999999998</c:v>
                </c:pt>
                <c:pt idx="699">
                  <c:v>312.61</c:v>
                </c:pt>
                <c:pt idx="700">
                  <c:v>307.20999999999998</c:v>
                </c:pt>
                <c:pt idx="701">
                  <c:v>299.39999999999998</c:v>
                </c:pt>
                <c:pt idx="702">
                  <c:v>295.20999999999998</c:v>
                </c:pt>
                <c:pt idx="703">
                  <c:v>289.81</c:v>
                </c:pt>
                <c:pt idx="704">
                  <c:v>283.81</c:v>
                </c:pt>
                <c:pt idx="705">
                  <c:v>276.61</c:v>
                </c:pt>
                <c:pt idx="706">
                  <c:v>271.81</c:v>
                </c:pt>
                <c:pt idx="707">
                  <c:v>264.01</c:v>
                </c:pt>
                <c:pt idx="708">
                  <c:v>258.61</c:v>
                </c:pt>
                <c:pt idx="709">
                  <c:v>253.21</c:v>
                </c:pt>
                <c:pt idx="710">
                  <c:v>246.61</c:v>
                </c:pt>
                <c:pt idx="711">
                  <c:v>242.4</c:v>
                </c:pt>
                <c:pt idx="712">
                  <c:v>232.81</c:v>
                </c:pt>
                <c:pt idx="713">
                  <c:v>228.61</c:v>
                </c:pt>
                <c:pt idx="714">
                  <c:v>222.61</c:v>
                </c:pt>
                <c:pt idx="715">
                  <c:v>217.81</c:v>
                </c:pt>
                <c:pt idx="716">
                  <c:v>207.61</c:v>
                </c:pt>
                <c:pt idx="717">
                  <c:v>205.21</c:v>
                </c:pt>
                <c:pt idx="718">
                  <c:v>198.61</c:v>
                </c:pt>
                <c:pt idx="719">
                  <c:v>192.01</c:v>
                </c:pt>
                <c:pt idx="720">
                  <c:v>187.21</c:v>
                </c:pt>
                <c:pt idx="721">
                  <c:v>181.81</c:v>
                </c:pt>
                <c:pt idx="722">
                  <c:v>174.01</c:v>
                </c:pt>
                <c:pt idx="723">
                  <c:v>170.4</c:v>
                </c:pt>
                <c:pt idx="724">
                  <c:v>163.81</c:v>
                </c:pt>
                <c:pt idx="725">
                  <c:v>157.21</c:v>
                </c:pt>
                <c:pt idx="726">
                  <c:v>154.21</c:v>
                </c:pt>
                <c:pt idx="727">
                  <c:v>149.4</c:v>
                </c:pt>
                <c:pt idx="728">
                  <c:v>142.81</c:v>
                </c:pt>
                <c:pt idx="729">
                  <c:v>135.61000000000001</c:v>
                </c:pt>
                <c:pt idx="730">
                  <c:v>132.01</c:v>
                </c:pt>
                <c:pt idx="731">
                  <c:v>126.61</c:v>
                </c:pt>
                <c:pt idx="732">
                  <c:v>123.01</c:v>
                </c:pt>
                <c:pt idx="733">
                  <c:v>120.01</c:v>
                </c:pt>
                <c:pt idx="734">
                  <c:v>116.4</c:v>
                </c:pt>
                <c:pt idx="735">
                  <c:v>113.4</c:v>
                </c:pt>
                <c:pt idx="736">
                  <c:v>106.81</c:v>
                </c:pt>
                <c:pt idx="737">
                  <c:v>105.61</c:v>
                </c:pt>
                <c:pt idx="738">
                  <c:v>103.21</c:v>
                </c:pt>
                <c:pt idx="739">
                  <c:v>97.81</c:v>
                </c:pt>
                <c:pt idx="740">
                  <c:v>96.01</c:v>
                </c:pt>
                <c:pt idx="741">
                  <c:v>94.21</c:v>
                </c:pt>
                <c:pt idx="742">
                  <c:v>90.01</c:v>
                </c:pt>
                <c:pt idx="743">
                  <c:v>88.81</c:v>
                </c:pt>
                <c:pt idx="744">
                  <c:v>84.01</c:v>
                </c:pt>
                <c:pt idx="745">
                  <c:v>81.61</c:v>
                </c:pt>
                <c:pt idx="746">
                  <c:v>79.81</c:v>
                </c:pt>
                <c:pt idx="747">
                  <c:v>79.81</c:v>
                </c:pt>
                <c:pt idx="748">
                  <c:v>72.61</c:v>
                </c:pt>
                <c:pt idx="749">
                  <c:v>73.209999999999994</c:v>
                </c:pt>
                <c:pt idx="750">
                  <c:v>72.010000000000005</c:v>
                </c:pt>
                <c:pt idx="751">
                  <c:v>67.209999999999994</c:v>
                </c:pt>
                <c:pt idx="752">
                  <c:v>66.61</c:v>
                </c:pt>
                <c:pt idx="753">
                  <c:v>64.209999999999994</c:v>
                </c:pt>
                <c:pt idx="754">
                  <c:v>64.8</c:v>
                </c:pt>
                <c:pt idx="755">
                  <c:v>61.8</c:v>
                </c:pt>
                <c:pt idx="756">
                  <c:v>61.8</c:v>
                </c:pt>
                <c:pt idx="757">
                  <c:v>61.21</c:v>
                </c:pt>
                <c:pt idx="758">
                  <c:v>58.21</c:v>
                </c:pt>
                <c:pt idx="759">
                  <c:v>57.61</c:v>
                </c:pt>
                <c:pt idx="760">
                  <c:v>54.61</c:v>
                </c:pt>
                <c:pt idx="761">
                  <c:v>54.61</c:v>
                </c:pt>
                <c:pt idx="762">
                  <c:v>54.61</c:v>
                </c:pt>
                <c:pt idx="763">
                  <c:v>52.8</c:v>
                </c:pt>
                <c:pt idx="764">
                  <c:v>53.4</c:v>
                </c:pt>
                <c:pt idx="765">
                  <c:v>52.21</c:v>
                </c:pt>
                <c:pt idx="766">
                  <c:v>48.61</c:v>
                </c:pt>
                <c:pt idx="767">
                  <c:v>48.61</c:v>
                </c:pt>
                <c:pt idx="768">
                  <c:v>45.61</c:v>
                </c:pt>
                <c:pt idx="769">
                  <c:v>46.21</c:v>
                </c:pt>
                <c:pt idx="770">
                  <c:v>43.8</c:v>
                </c:pt>
                <c:pt idx="771">
                  <c:v>43.8</c:v>
                </c:pt>
                <c:pt idx="772">
                  <c:v>43.21</c:v>
                </c:pt>
                <c:pt idx="773">
                  <c:v>43.21</c:v>
                </c:pt>
                <c:pt idx="774">
                  <c:v>43.8</c:v>
                </c:pt>
                <c:pt idx="775">
                  <c:v>39.61</c:v>
                </c:pt>
                <c:pt idx="776">
                  <c:v>40.21</c:v>
                </c:pt>
                <c:pt idx="777">
                  <c:v>39.01</c:v>
                </c:pt>
                <c:pt idx="778">
                  <c:v>39.61</c:v>
                </c:pt>
                <c:pt idx="779">
                  <c:v>38.4</c:v>
                </c:pt>
                <c:pt idx="780">
                  <c:v>37.21</c:v>
                </c:pt>
                <c:pt idx="781">
                  <c:v>36.01</c:v>
                </c:pt>
                <c:pt idx="782">
                  <c:v>36.01</c:v>
                </c:pt>
                <c:pt idx="783">
                  <c:v>34.21</c:v>
                </c:pt>
                <c:pt idx="784">
                  <c:v>35.4</c:v>
                </c:pt>
                <c:pt idx="785">
                  <c:v>34.799999999999997</c:v>
                </c:pt>
                <c:pt idx="786">
                  <c:v>36.01</c:v>
                </c:pt>
                <c:pt idx="787">
                  <c:v>31.8</c:v>
                </c:pt>
                <c:pt idx="788">
                  <c:v>29.4</c:v>
                </c:pt>
                <c:pt idx="789">
                  <c:v>32.4</c:v>
                </c:pt>
                <c:pt idx="790">
                  <c:v>31.8</c:v>
                </c:pt>
                <c:pt idx="791">
                  <c:v>30.61</c:v>
                </c:pt>
                <c:pt idx="792">
                  <c:v>28.8</c:v>
                </c:pt>
                <c:pt idx="793">
                  <c:v>29.4</c:v>
                </c:pt>
                <c:pt idx="794">
                  <c:v>28.21</c:v>
                </c:pt>
                <c:pt idx="795">
                  <c:v>29.4</c:v>
                </c:pt>
                <c:pt idx="796">
                  <c:v>30.01</c:v>
                </c:pt>
                <c:pt idx="797">
                  <c:v>27.61</c:v>
                </c:pt>
                <c:pt idx="798">
                  <c:v>28.21</c:v>
                </c:pt>
                <c:pt idx="799">
                  <c:v>27.61</c:v>
                </c:pt>
                <c:pt idx="800">
                  <c:v>25.8</c:v>
                </c:pt>
                <c:pt idx="801">
                  <c:v>24.61</c:v>
                </c:pt>
                <c:pt idx="802">
                  <c:v>25.8</c:v>
                </c:pt>
                <c:pt idx="803">
                  <c:v>24.61</c:v>
                </c:pt>
                <c:pt idx="804">
                  <c:v>24.01</c:v>
                </c:pt>
                <c:pt idx="805">
                  <c:v>22.8</c:v>
                </c:pt>
                <c:pt idx="806">
                  <c:v>23.4</c:v>
                </c:pt>
                <c:pt idx="807">
                  <c:v>25.21</c:v>
                </c:pt>
                <c:pt idx="808">
                  <c:v>22.21</c:v>
                </c:pt>
                <c:pt idx="809">
                  <c:v>20.399999999999999</c:v>
                </c:pt>
                <c:pt idx="810">
                  <c:v>22.8</c:v>
                </c:pt>
                <c:pt idx="811">
                  <c:v>21.01</c:v>
                </c:pt>
                <c:pt idx="812">
                  <c:v>21.01</c:v>
                </c:pt>
                <c:pt idx="813">
                  <c:v>22.8</c:v>
                </c:pt>
                <c:pt idx="814">
                  <c:v>21.01</c:v>
                </c:pt>
                <c:pt idx="815">
                  <c:v>19.8</c:v>
                </c:pt>
                <c:pt idx="816">
                  <c:v>19.8</c:v>
                </c:pt>
                <c:pt idx="817">
                  <c:v>18.010000000000002</c:v>
                </c:pt>
                <c:pt idx="818">
                  <c:v>19.21</c:v>
                </c:pt>
                <c:pt idx="819">
                  <c:v>17.399999999999999</c:v>
                </c:pt>
                <c:pt idx="820">
                  <c:v>18.61</c:v>
                </c:pt>
                <c:pt idx="821">
                  <c:v>16.21</c:v>
                </c:pt>
                <c:pt idx="822">
                  <c:v>15.01</c:v>
                </c:pt>
                <c:pt idx="823">
                  <c:v>15.61</c:v>
                </c:pt>
                <c:pt idx="824">
                  <c:v>15.61</c:v>
                </c:pt>
                <c:pt idx="825">
                  <c:v>15.01</c:v>
                </c:pt>
                <c:pt idx="826">
                  <c:v>16.21</c:v>
                </c:pt>
                <c:pt idx="827">
                  <c:v>17.399999999999999</c:v>
                </c:pt>
                <c:pt idx="828">
                  <c:v>13.8</c:v>
                </c:pt>
                <c:pt idx="829">
                  <c:v>14.4</c:v>
                </c:pt>
                <c:pt idx="830">
                  <c:v>13.8</c:v>
                </c:pt>
                <c:pt idx="831">
                  <c:v>13.21</c:v>
                </c:pt>
                <c:pt idx="832">
                  <c:v>13.21</c:v>
                </c:pt>
                <c:pt idx="833">
                  <c:v>13.21</c:v>
                </c:pt>
                <c:pt idx="834">
                  <c:v>13.21</c:v>
                </c:pt>
                <c:pt idx="835">
                  <c:v>12.61</c:v>
                </c:pt>
                <c:pt idx="836">
                  <c:v>14.4</c:v>
                </c:pt>
                <c:pt idx="837">
                  <c:v>14.4</c:v>
                </c:pt>
                <c:pt idx="838">
                  <c:v>12.61</c:v>
                </c:pt>
                <c:pt idx="839">
                  <c:v>14.4</c:v>
                </c:pt>
                <c:pt idx="840">
                  <c:v>12.01</c:v>
                </c:pt>
                <c:pt idx="841">
                  <c:v>12.01</c:v>
                </c:pt>
                <c:pt idx="842">
                  <c:v>13.8</c:v>
                </c:pt>
                <c:pt idx="843">
                  <c:v>12.61</c:v>
                </c:pt>
                <c:pt idx="844">
                  <c:v>12.01</c:v>
                </c:pt>
                <c:pt idx="845">
                  <c:v>12.01</c:v>
                </c:pt>
                <c:pt idx="846">
                  <c:v>12.01</c:v>
                </c:pt>
                <c:pt idx="847">
                  <c:v>12.01</c:v>
                </c:pt>
                <c:pt idx="848">
                  <c:v>10.210000000000001</c:v>
                </c:pt>
                <c:pt idx="849">
                  <c:v>11.4</c:v>
                </c:pt>
                <c:pt idx="850">
                  <c:v>10.8</c:v>
                </c:pt>
                <c:pt idx="851">
                  <c:v>8.4</c:v>
                </c:pt>
                <c:pt idx="852">
                  <c:v>9.61</c:v>
                </c:pt>
                <c:pt idx="853">
                  <c:v>10.210000000000001</c:v>
                </c:pt>
                <c:pt idx="854">
                  <c:v>7.8</c:v>
                </c:pt>
                <c:pt idx="855">
                  <c:v>10.8</c:v>
                </c:pt>
                <c:pt idx="856">
                  <c:v>10.210000000000001</c:v>
                </c:pt>
                <c:pt idx="857">
                  <c:v>9.01</c:v>
                </c:pt>
                <c:pt idx="858">
                  <c:v>9.61</c:v>
                </c:pt>
                <c:pt idx="859">
                  <c:v>7.8</c:v>
                </c:pt>
                <c:pt idx="860">
                  <c:v>10.8</c:v>
                </c:pt>
                <c:pt idx="861">
                  <c:v>8.4</c:v>
                </c:pt>
                <c:pt idx="862">
                  <c:v>10.210000000000001</c:v>
                </c:pt>
                <c:pt idx="863">
                  <c:v>10.8</c:v>
                </c:pt>
                <c:pt idx="864">
                  <c:v>9.61</c:v>
                </c:pt>
                <c:pt idx="865">
                  <c:v>10.210000000000001</c:v>
                </c:pt>
                <c:pt idx="866">
                  <c:v>9.01</c:v>
                </c:pt>
                <c:pt idx="867">
                  <c:v>7.8</c:v>
                </c:pt>
                <c:pt idx="868">
                  <c:v>8.4</c:v>
                </c:pt>
                <c:pt idx="869">
                  <c:v>9.61</c:v>
                </c:pt>
                <c:pt idx="870">
                  <c:v>8.4</c:v>
                </c:pt>
                <c:pt idx="871">
                  <c:v>9.61</c:v>
                </c:pt>
                <c:pt idx="872">
                  <c:v>9.61</c:v>
                </c:pt>
                <c:pt idx="873">
                  <c:v>9.01</c:v>
                </c:pt>
                <c:pt idx="874">
                  <c:v>7.21</c:v>
                </c:pt>
                <c:pt idx="875">
                  <c:v>9.01</c:v>
                </c:pt>
                <c:pt idx="876">
                  <c:v>7.8</c:v>
                </c:pt>
                <c:pt idx="877">
                  <c:v>7.8</c:v>
                </c:pt>
                <c:pt idx="878">
                  <c:v>8.4</c:v>
                </c:pt>
                <c:pt idx="879">
                  <c:v>7.21</c:v>
                </c:pt>
                <c:pt idx="880">
                  <c:v>7.21</c:v>
                </c:pt>
                <c:pt idx="881">
                  <c:v>6.61</c:v>
                </c:pt>
                <c:pt idx="882">
                  <c:v>6.61</c:v>
                </c:pt>
                <c:pt idx="883">
                  <c:v>6.01</c:v>
                </c:pt>
                <c:pt idx="884">
                  <c:v>8.4</c:v>
                </c:pt>
                <c:pt idx="885">
                  <c:v>7.21</c:v>
                </c:pt>
                <c:pt idx="886">
                  <c:v>5.4</c:v>
                </c:pt>
                <c:pt idx="887">
                  <c:v>6.01</c:v>
                </c:pt>
                <c:pt idx="888">
                  <c:v>5.4</c:v>
                </c:pt>
                <c:pt idx="889">
                  <c:v>6.01</c:v>
                </c:pt>
                <c:pt idx="890">
                  <c:v>6.01</c:v>
                </c:pt>
                <c:pt idx="891">
                  <c:v>5.4</c:v>
                </c:pt>
                <c:pt idx="892">
                  <c:v>6.61</c:v>
                </c:pt>
                <c:pt idx="893">
                  <c:v>6.01</c:v>
                </c:pt>
                <c:pt idx="894">
                  <c:v>4.8</c:v>
                </c:pt>
                <c:pt idx="895">
                  <c:v>5.4</c:v>
                </c:pt>
                <c:pt idx="896">
                  <c:v>6.01</c:v>
                </c:pt>
                <c:pt idx="897">
                  <c:v>5.4</c:v>
                </c:pt>
                <c:pt idx="898">
                  <c:v>6.01</c:v>
                </c:pt>
                <c:pt idx="899">
                  <c:v>7.21</c:v>
                </c:pt>
                <c:pt idx="900">
                  <c:v>6.61</c:v>
                </c:pt>
                <c:pt idx="901">
                  <c:v>4.8</c:v>
                </c:pt>
                <c:pt idx="902">
                  <c:v>6.01</c:v>
                </c:pt>
                <c:pt idx="903">
                  <c:v>6.01</c:v>
                </c:pt>
                <c:pt idx="904">
                  <c:v>6.61</c:v>
                </c:pt>
                <c:pt idx="905">
                  <c:v>4.8</c:v>
                </c:pt>
                <c:pt idx="906">
                  <c:v>4.21</c:v>
                </c:pt>
                <c:pt idx="907">
                  <c:v>6.01</c:v>
                </c:pt>
                <c:pt idx="908">
                  <c:v>3.61</c:v>
                </c:pt>
                <c:pt idx="909">
                  <c:v>7.21</c:v>
                </c:pt>
                <c:pt idx="910">
                  <c:v>6.61</c:v>
                </c:pt>
                <c:pt idx="911">
                  <c:v>5.4</c:v>
                </c:pt>
                <c:pt idx="912">
                  <c:v>5.4</c:v>
                </c:pt>
                <c:pt idx="913">
                  <c:v>4.8</c:v>
                </c:pt>
                <c:pt idx="914">
                  <c:v>6.61</c:v>
                </c:pt>
                <c:pt idx="915">
                  <c:v>3.61</c:v>
                </c:pt>
                <c:pt idx="916">
                  <c:v>4.8</c:v>
                </c:pt>
                <c:pt idx="917">
                  <c:v>3.01</c:v>
                </c:pt>
                <c:pt idx="918">
                  <c:v>4.21</c:v>
                </c:pt>
                <c:pt idx="919">
                  <c:v>6.61</c:v>
                </c:pt>
                <c:pt idx="920">
                  <c:v>4.8</c:v>
                </c:pt>
                <c:pt idx="921">
                  <c:v>6.61</c:v>
                </c:pt>
                <c:pt idx="922">
                  <c:v>4.8</c:v>
                </c:pt>
                <c:pt idx="923">
                  <c:v>3.01</c:v>
                </c:pt>
                <c:pt idx="924">
                  <c:v>5.4</c:v>
                </c:pt>
                <c:pt idx="925">
                  <c:v>4.8</c:v>
                </c:pt>
                <c:pt idx="926">
                  <c:v>5.4</c:v>
                </c:pt>
                <c:pt idx="927">
                  <c:v>4.8</c:v>
                </c:pt>
                <c:pt idx="928">
                  <c:v>3.61</c:v>
                </c:pt>
                <c:pt idx="929">
                  <c:v>1.8</c:v>
                </c:pt>
                <c:pt idx="930">
                  <c:v>3.61</c:v>
                </c:pt>
                <c:pt idx="931">
                  <c:v>2.4</c:v>
                </c:pt>
                <c:pt idx="932">
                  <c:v>4.21</c:v>
                </c:pt>
                <c:pt idx="933">
                  <c:v>5.4</c:v>
                </c:pt>
                <c:pt idx="934">
                  <c:v>4.8</c:v>
                </c:pt>
                <c:pt idx="935">
                  <c:v>4.21</c:v>
                </c:pt>
                <c:pt idx="936">
                  <c:v>3.61</c:v>
                </c:pt>
                <c:pt idx="937">
                  <c:v>3.01</c:v>
                </c:pt>
                <c:pt idx="938">
                  <c:v>3.01</c:v>
                </c:pt>
                <c:pt idx="939">
                  <c:v>5.4</c:v>
                </c:pt>
                <c:pt idx="940">
                  <c:v>3.61</c:v>
                </c:pt>
                <c:pt idx="941">
                  <c:v>1.21</c:v>
                </c:pt>
                <c:pt idx="942">
                  <c:v>4.21</c:v>
                </c:pt>
                <c:pt idx="943">
                  <c:v>2.4</c:v>
                </c:pt>
                <c:pt idx="944">
                  <c:v>3.01</c:v>
                </c:pt>
                <c:pt idx="945">
                  <c:v>5.4</c:v>
                </c:pt>
                <c:pt idx="946">
                  <c:v>2.4</c:v>
                </c:pt>
                <c:pt idx="947">
                  <c:v>4.21</c:v>
                </c:pt>
                <c:pt idx="948">
                  <c:v>4.21</c:v>
                </c:pt>
                <c:pt idx="949">
                  <c:v>1.8</c:v>
                </c:pt>
                <c:pt idx="950">
                  <c:v>1.21</c:v>
                </c:pt>
                <c:pt idx="951">
                  <c:v>3.01</c:v>
                </c:pt>
                <c:pt idx="952">
                  <c:v>4.8</c:v>
                </c:pt>
                <c:pt idx="953">
                  <c:v>2.4</c:v>
                </c:pt>
                <c:pt idx="954">
                  <c:v>3.01</c:v>
                </c:pt>
                <c:pt idx="955">
                  <c:v>4.21</c:v>
                </c:pt>
                <c:pt idx="956">
                  <c:v>3.01</c:v>
                </c:pt>
                <c:pt idx="957">
                  <c:v>1.8</c:v>
                </c:pt>
                <c:pt idx="958">
                  <c:v>3.01</c:v>
                </c:pt>
                <c:pt idx="959">
                  <c:v>4.21</c:v>
                </c:pt>
                <c:pt idx="960">
                  <c:v>2.4</c:v>
                </c:pt>
                <c:pt idx="961">
                  <c:v>3.61</c:v>
                </c:pt>
                <c:pt idx="962">
                  <c:v>2.4</c:v>
                </c:pt>
                <c:pt idx="963">
                  <c:v>0.61</c:v>
                </c:pt>
                <c:pt idx="964">
                  <c:v>2.4</c:v>
                </c:pt>
                <c:pt idx="965">
                  <c:v>3.61</c:v>
                </c:pt>
                <c:pt idx="966">
                  <c:v>-0.6</c:v>
                </c:pt>
                <c:pt idx="967">
                  <c:v>2.4</c:v>
                </c:pt>
                <c:pt idx="968">
                  <c:v>3.61</c:v>
                </c:pt>
                <c:pt idx="969">
                  <c:v>2.4</c:v>
                </c:pt>
                <c:pt idx="970">
                  <c:v>1.8</c:v>
                </c:pt>
                <c:pt idx="971">
                  <c:v>3.01</c:v>
                </c:pt>
                <c:pt idx="972">
                  <c:v>2.4</c:v>
                </c:pt>
                <c:pt idx="973">
                  <c:v>2.4</c:v>
                </c:pt>
                <c:pt idx="974">
                  <c:v>3.01</c:v>
                </c:pt>
                <c:pt idx="975">
                  <c:v>1.8</c:v>
                </c:pt>
                <c:pt idx="976">
                  <c:v>1.21</c:v>
                </c:pt>
                <c:pt idx="977">
                  <c:v>4.21</c:v>
                </c:pt>
                <c:pt idx="978">
                  <c:v>3.01</c:v>
                </c:pt>
                <c:pt idx="979">
                  <c:v>3.01</c:v>
                </c:pt>
                <c:pt idx="980">
                  <c:v>2.4</c:v>
                </c:pt>
                <c:pt idx="981">
                  <c:v>1.8</c:v>
                </c:pt>
                <c:pt idx="982">
                  <c:v>4.21</c:v>
                </c:pt>
                <c:pt idx="983">
                  <c:v>1.8</c:v>
                </c:pt>
                <c:pt idx="984">
                  <c:v>1.21</c:v>
                </c:pt>
                <c:pt idx="985">
                  <c:v>1.8</c:v>
                </c:pt>
                <c:pt idx="986">
                  <c:v>0.61</c:v>
                </c:pt>
                <c:pt idx="987">
                  <c:v>2.4</c:v>
                </c:pt>
                <c:pt idx="988">
                  <c:v>2.4</c:v>
                </c:pt>
                <c:pt idx="989">
                  <c:v>0.61</c:v>
                </c:pt>
                <c:pt idx="990">
                  <c:v>0.61</c:v>
                </c:pt>
                <c:pt idx="991">
                  <c:v>3.61</c:v>
                </c:pt>
                <c:pt idx="992">
                  <c:v>1.21</c:v>
                </c:pt>
                <c:pt idx="993">
                  <c:v>0.61</c:v>
                </c:pt>
                <c:pt idx="994">
                  <c:v>3.61</c:v>
                </c:pt>
                <c:pt idx="995">
                  <c:v>0.61</c:v>
                </c:pt>
                <c:pt idx="996">
                  <c:v>0.61</c:v>
                </c:pt>
                <c:pt idx="997">
                  <c:v>-0.6</c:v>
                </c:pt>
                <c:pt idx="998">
                  <c:v>1.21</c:v>
                </c:pt>
                <c:pt idx="999">
                  <c:v>3.01</c:v>
                </c:pt>
                <c:pt idx="1000">
                  <c:v>1.8</c:v>
                </c:pt>
                <c:pt idx="1001">
                  <c:v>1.8</c:v>
                </c:pt>
                <c:pt idx="1002">
                  <c:v>1.21</c:v>
                </c:pt>
                <c:pt idx="1003">
                  <c:v>3.61</c:v>
                </c:pt>
                <c:pt idx="1004">
                  <c:v>2.4</c:v>
                </c:pt>
                <c:pt idx="1005">
                  <c:v>0.61</c:v>
                </c:pt>
                <c:pt idx="1006">
                  <c:v>3.01</c:v>
                </c:pt>
                <c:pt idx="1007">
                  <c:v>0.61</c:v>
                </c:pt>
                <c:pt idx="1008">
                  <c:v>0.61</c:v>
                </c:pt>
                <c:pt idx="1009">
                  <c:v>1.21</c:v>
                </c:pt>
                <c:pt idx="1010">
                  <c:v>3.01</c:v>
                </c:pt>
                <c:pt idx="1011">
                  <c:v>1.21</c:v>
                </c:pt>
                <c:pt idx="1012">
                  <c:v>2.4</c:v>
                </c:pt>
                <c:pt idx="1013">
                  <c:v>1.8</c:v>
                </c:pt>
                <c:pt idx="1014">
                  <c:v>1.8</c:v>
                </c:pt>
                <c:pt idx="1015">
                  <c:v>2.4</c:v>
                </c:pt>
                <c:pt idx="1016">
                  <c:v>-1.79</c:v>
                </c:pt>
                <c:pt idx="1017">
                  <c:v>2.4</c:v>
                </c:pt>
                <c:pt idx="1018">
                  <c:v>1.8</c:v>
                </c:pt>
                <c:pt idx="1019">
                  <c:v>1.8</c:v>
                </c:pt>
                <c:pt idx="1020">
                  <c:v>1.21</c:v>
                </c:pt>
                <c:pt idx="1021">
                  <c:v>1.21</c:v>
                </c:pt>
                <c:pt idx="1022">
                  <c:v>0.01</c:v>
                </c:pt>
                <c:pt idx="1023">
                  <c:v>1.8</c:v>
                </c:pt>
                <c:pt idx="1024">
                  <c:v>0.61</c:v>
                </c:pt>
                <c:pt idx="1025">
                  <c:v>0.01</c:v>
                </c:pt>
                <c:pt idx="1026">
                  <c:v>1.21</c:v>
                </c:pt>
                <c:pt idx="1027">
                  <c:v>1.21</c:v>
                </c:pt>
                <c:pt idx="1028">
                  <c:v>1.21</c:v>
                </c:pt>
                <c:pt idx="1029">
                  <c:v>1.8</c:v>
                </c:pt>
                <c:pt idx="1030">
                  <c:v>2.4</c:v>
                </c:pt>
                <c:pt idx="1031">
                  <c:v>4.21</c:v>
                </c:pt>
                <c:pt idx="1032">
                  <c:v>1.8</c:v>
                </c:pt>
                <c:pt idx="1033">
                  <c:v>0.01</c:v>
                </c:pt>
                <c:pt idx="1034">
                  <c:v>0.01</c:v>
                </c:pt>
                <c:pt idx="1035">
                  <c:v>3.01</c:v>
                </c:pt>
                <c:pt idx="1036">
                  <c:v>1.21</c:v>
                </c:pt>
                <c:pt idx="1037">
                  <c:v>1.8</c:v>
                </c:pt>
                <c:pt idx="1038">
                  <c:v>1.8</c:v>
                </c:pt>
                <c:pt idx="1039">
                  <c:v>1.21</c:v>
                </c:pt>
                <c:pt idx="1040">
                  <c:v>2.4</c:v>
                </c:pt>
                <c:pt idx="1041">
                  <c:v>3.01</c:v>
                </c:pt>
                <c:pt idx="1042">
                  <c:v>1.21</c:v>
                </c:pt>
                <c:pt idx="1043">
                  <c:v>2.4</c:v>
                </c:pt>
                <c:pt idx="1044">
                  <c:v>0.61</c:v>
                </c:pt>
                <c:pt idx="1045">
                  <c:v>-1.2</c:v>
                </c:pt>
                <c:pt idx="1046">
                  <c:v>0.61</c:v>
                </c:pt>
                <c:pt idx="1047">
                  <c:v>0.01</c:v>
                </c:pt>
                <c:pt idx="1048">
                  <c:v>0.61</c:v>
                </c:pt>
                <c:pt idx="1049">
                  <c:v>3.01</c:v>
                </c:pt>
                <c:pt idx="1050">
                  <c:v>1.21</c:v>
                </c:pt>
                <c:pt idx="1051">
                  <c:v>-1.2</c:v>
                </c:pt>
                <c:pt idx="1052">
                  <c:v>-1.2</c:v>
                </c:pt>
                <c:pt idx="1053">
                  <c:v>0.61</c:v>
                </c:pt>
                <c:pt idx="1054">
                  <c:v>3.01</c:v>
                </c:pt>
                <c:pt idx="1055">
                  <c:v>0.61</c:v>
                </c:pt>
                <c:pt idx="1056">
                  <c:v>1.8</c:v>
                </c:pt>
                <c:pt idx="1057">
                  <c:v>1.21</c:v>
                </c:pt>
                <c:pt idx="1058">
                  <c:v>0.01</c:v>
                </c:pt>
                <c:pt idx="1059">
                  <c:v>1.21</c:v>
                </c:pt>
                <c:pt idx="1060">
                  <c:v>-1.2</c:v>
                </c:pt>
                <c:pt idx="1061">
                  <c:v>1.21</c:v>
                </c:pt>
                <c:pt idx="1062">
                  <c:v>0.61</c:v>
                </c:pt>
                <c:pt idx="1063">
                  <c:v>0.61</c:v>
                </c:pt>
                <c:pt idx="1064">
                  <c:v>-1.2</c:v>
                </c:pt>
                <c:pt idx="1065">
                  <c:v>1.8</c:v>
                </c:pt>
                <c:pt idx="1066">
                  <c:v>2.4</c:v>
                </c:pt>
                <c:pt idx="1067">
                  <c:v>-0.6</c:v>
                </c:pt>
                <c:pt idx="1068">
                  <c:v>0.61</c:v>
                </c:pt>
                <c:pt idx="1069">
                  <c:v>2.4</c:v>
                </c:pt>
                <c:pt idx="1070">
                  <c:v>1.8</c:v>
                </c:pt>
                <c:pt idx="1071">
                  <c:v>0.61</c:v>
                </c:pt>
                <c:pt idx="1072">
                  <c:v>-2.39</c:v>
                </c:pt>
                <c:pt idx="1073">
                  <c:v>0.01</c:v>
                </c:pt>
                <c:pt idx="1074">
                  <c:v>-1.2</c:v>
                </c:pt>
                <c:pt idx="1075">
                  <c:v>-2.39</c:v>
                </c:pt>
                <c:pt idx="1076">
                  <c:v>1.21</c:v>
                </c:pt>
                <c:pt idx="1077">
                  <c:v>3.61</c:v>
                </c:pt>
                <c:pt idx="1078">
                  <c:v>-0.6</c:v>
                </c:pt>
                <c:pt idx="1079">
                  <c:v>3.61</c:v>
                </c:pt>
                <c:pt idx="1080">
                  <c:v>0.61</c:v>
                </c:pt>
                <c:pt idx="1081">
                  <c:v>-1.2</c:v>
                </c:pt>
                <c:pt idx="1082">
                  <c:v>1.8</c:v>
                </c:pt>
                <c:pt idx="1083">
                  <c:v>0.01</c:v>
                </c:pt>
                <c:pt idx="1084">
                  <c:v>-0.6</c:v>
                </c:pt>
                <c:pt idx="1085">
                  <c:v>-2.39</c:v>
                </c:pt>
                <c:pt idx="1086">
                  <c:v>0.01</c:v>
                </c:pt>
                <c:pt idx="1087">
                  <c:v>-0.6</c:v>
                </c:pt>
                <c:pt idx="1088">
                  <c:v>0.61</c:v>
                </c:pt>
                <c:pt idx="1089">
                  <c:v>1.21</c:v>
                </c:pt>
                <c:pt idx="1090">
                  <c:v>0.61</c:v>
                </c:pt>
                <c:pt idx="1091">
                  <c:v>-1.2</c:v>
                </c:pt>
                <c:pt idx="1092">
                  <c:v>1.21</c:v>
                </c:pt>
                <c:pt idx="1093">
                  <c:v>0.61</c:v>
                </c:pt>
                <c:pt idx="1094">
                  <c:v>-1.79</c:v>
                </c:pt>
                <c:pt idx="1095">
                  <c:v>1.21</c:v>
                </c:pt>
                <c:pt idx="1096">
                  <c:v>1.21</c:v>
                </c:pt>
                <c:pt idx="1097">
                  <c:v>0.01</c:v>
                </c:pt>
                <c:pt idx="1098">
                  <c:v>0.01</c:v>
                </c:pt>
                <c:pt idx="1099">
                  <c:v>-1.2</c:v>
                </c:pt>
                <c:pt idx="1100">
                  <c:v>0.01</c:v>
                </c:pt>
                <c:pt idx="1101">
                  <c:v>-0.6</c:v>
                </c:pt>
                <c:pt idx="1102">
                  <c:v>-1.2</c:v>
                </c:pt>
                <c:pt idx="1103">
                  <c:v>-1.79</c:v>
                </c:pt>
                <c:pt idx="1104">
                  <c:v>-1.2</c:v>
                </c:pt>
                <c:pt idx="1105">
                  <c:v>1.21</c:v>
                </c:pt>
                <c:pt idx="1106">
                  <c:v>0.01</c:v>
                </c:pt>
                <c:pt idx="1107">
                  <c:v>-0.6</c:v>
                </c:pt>
                <c:pt idx="1108">
                  <c:v>1.8</c:v>
                </c:pt>
                <c:pt idx="1109">
                  <c:v>-1.79</c:v>
                </c:pt>
                <c:pt idx="1110">
                  <c:v>-0.6</c:v>
                </c:pt>
                <c:pt idx="1111">
                  <c:v>-0.6</c:v>
                </c:pt>
                <c:pt idx="1112">
                  <c:v>-0.6</c:v>
                </c:pt>
                <c:pt idx="1113">
                  <c:v>-0.6</c:v>
                </c:pt>
                <c:pt idx="1114">
                  <c:v>-1.79</c:v>
                </c:pt>
                <c:pt idx="1115">
                  <c:v>-0.6</c:v>
                </c:pt>
                <c:pt idx="1116">
                  <c:v>-1.2</c:v>
                </c:pt>
                <c:pt idx="1117">
                  <c:v>0.01</c:v>
                </c:pt>
                <c:pt idx="1118">
                  <c:v>-0.6</c:v>
                </c:pt>
                <c:pt idx="1119">
                  <c:v>-0.6</c:v>
                </c:pt>
                <c:pt idx="1120">
                  <c:v>0.61</c:v>
                </c:pt>
                <c:pt idx="1121">
                  <c:v>-1.2</c:v>
                </c:pt>
                <c:pt idx="1122">
                  <c:v>1.21</c:v>
                </c:pt>
                <c:pt idx="1123">
                  <c:v>-0.6</c:v>
                </c:pt>
                <c:pt idx="1124">
                  <c:v>0.61</c:v>
                </c:pt>
                <c:pt idx="1125">
                  <c:v>-1.79</c:v>
                </c:pt>
                <c:pt idx="1126">
                  <c:v>0.01</c:v>
                </c:pt>
                <c:pt idx="1127">
                  <c:v>0.61</c:v>
                </c:pt>
                <c:pt idx="1128">
                  <c:v>1.21</c:v>
                </c:pt>
                <c:pt idx="1129">
                  <c:v>0.61</c:v>
                </c:pt>
                <c:pt idx="1130">
                  <c:v>-0.6</c:v>
                </c:pt>
                <c:pt idx="1131">
                  <c:v>-1.79</c:v>
                </c:pt>
                <c:pt idx="1132">
                  <c:v>1.8</c:v>
                </c:pt>
                <c:pt idx="1133">
                  <c:v>1.21</c:v>
                </c:pt>
                <c:pt idx="1134">
                  <c:v>-1.79</c:v>
                </c:pt>
                <c:pt idx="1135">
                  <c:v>1.21</c:v>
                </c:pt>
                <c:pt idx="1136">
                  <c:v>0.01</c:v>
                </c:pt>
                <c:pt idx="1137">
                  <c:v>-1.2</c:v>
                </c:pt>
                <c:pt idx="1138">
                  <c:v>-0.6</c:v>
                </c:pt>
                <c:pt idx="1139">
                  <c:v>2.4</c:v>
                </c:pt>
                <c:pt idx="1140">
                  <c:v>0.61</c:v>
                </c:pt>
                <c:pt idx="1141">
                  <c:v>-0.6</c:v>
                </c:pt>
                <c:pt idx="1142">
                  <c:v>0.61</c:v>
                </c:pt>
                <c:pt idx="1143">
                  <c:v>0.61</c:v>
                </c:pt>
                <c:pt idx="1144">
                  <c:v>0.61</c:v>
                </c:pt>
                <c:pt idx="1145">
                  <c:v>0.01</c:v>
                </c:pt>
                <c:pt idx="1146">
                  <c:v>-1.2</c:v>
                </c:pt>
                <c:pt idx="1147">
                  <c:v>0.01</c:v>
                </c:pt>
                <c:pt idx="1148">
                  <c:v>1.21</c:v>
                </c:pt>
                <c:pt idx="1149">
                  <c:v>1.21</c:v>
                </c:pt>
                <c:pt idx="1150">
                  <c:v>0.61</c:v>
                </c:pt>
                <c:pt idx="1151">
                  <c:v>3.01</c:v>
                </c:pt>
                <c:pt idx="1152">
                  <c:v>-0.6</c:v>
                </c:pt>
                <c:pt idx="1153">
                  <c:v>-0.6</c:v>
                </c:pt>
                <c:pt idx="1154">
                  <c:v>-1.79</c:v>
                </c:pt>
                <c:pt idx="1155">
                  <c:v>0.01</c:v>
                </c:pt>
                <c:pt idx="1156">
                  <c:v>-1.2</c:v>
                </c:pt>
                <c:pt idx="1157">
                  <c:v>-4.2</c:v>
                </c:pt>
                <c:pt idx="1158">
                  <c:v>-2.39</c:v>
                </c:pt>
                <c:pt idx="1159">
                  <c:v>0.01</c:v>
                </c:pt>
                <c:pt idx="1160">
                  <c:v>-0.6</c:v>
                </c:pt>
                <c:pt idx="1161">
                  <c:v>-0.6</c:v>
                </c:pt>
                <c:pt idx="1162">
                  <c:v>-2.39</c:v>
                </c:pt>
                <c:pt idx="1163">
                  <c:v>-1.79</c:v>
                </c:pt>
                <c:pt idx="1164">
                  <c:v>0.01</c:v>
                </c:pt>
                <c:pt idx="1165">
                  <c:v>0.61</c:v>
                </c:pt>
                <c:pt idx="1166">
                  <c:v>-1.2</c:v>
                </c:pt>
                <c:pt idx="1167">
                  <c:v>-1.2</c:v>
                </c:pt>
                <c:pt idx="1168">
                  <c:v>-1.2</c:v>
                </c:pt>
                <c:pt idx="1169">
                  <c:v>-0.6</c:v>
                </c:pt>
                <c:pt idx="1170">
                  <c:v>-1.2</c:v>
                </c:pt>
                <c:pt idx="1171">
                  <c:v>-0.6</c:v>
                </c:pt>
                <c:pt idx="1172">
                  <c:v>3.01</c:v>
                </c:pt>
                <c:pt idx="1173">
                  <c:v>-1.79</c:v>
                </c:pt>
                <c:pt idx="1174">
                  <c:v>-1.2</c:v>
                </c:pt>
                <c:pt idx="1175">
                  <c:v>-1.79</c:v>
                </c:pt>
                <c:pt idx="1176">
                  <c:v>-0.6</c:v>
                </c:pt>
                <c:pt idx="1177">
                  <c:v>0.61</c:v>
                </c:pt>
                <c:pt idx="1178">
                  <c:v>0.01</c:v>
                </c:pt>
                <c:pt idx="1179">
                  <c:v>-1.2</c:v>
                </c:pt>
                <c:pt idx="1180">
                  <c:v>0.01</c:v>
                </c:pt>
                <c:pt idx="1181">
                  <c:v>-0.6</c:v>
                </c:pt>
                <c:pt idx="1182">
                  <c:v>0.01</c:v>
                </c:pt>
                <c:pt idx="1183">
                  <c:v>-1.2</c:v>
                </c:pt>
                <c:pt idx="1184">
                  <c:v>-1.2</c:v>
                </c:pt>
                <c:pt idx="1185">
                  <c:v>0.01</c:v>
                </c:pt>
                <c:pt idx="1186">
                  <c:v>0.01</c:v>
                </c:pt>
                <c:pt idx="1187">
                  <c:v>-1.79</c:v>
                </c:pt>
                <c:pt idx="1188">
                  <c:v>-1.79</c:v>
                </c:pt>
                <c:pt idx="1189">
                  <c:v>-2.39</c:v>
                </c:pt>
                <c:pt idx="1190">
                  <c:v>-2.39</c:v>
                </c:pt>
                <c:pt idx="1191">
                  <c:v>-2.39</c:v>
                </c:pt>
                <c:pt idx="1192">
                  <c:v>-0.6</c:v>
                </c:pt>
                <c:pt idx="1193">
                  <c:v>-0.6</c:v>
                </c:pt>
                <c:pt idx="1194">
                  <c:v>-1.2</c:v>
                </c:pt>
                <c:pt idx="1195">
                  <c:v>0.01</c:v>
                </c:pt>
                <c:pt idx="1196">
                  <c:v>1.21</c:v>
                </c:pt>
                <c:pt idx="1197">
                  <c:v>-0.6</c:v>
                </c:pt>
                <c:pt idx="1198">
                  <c:v>-1.79</c:v>
                </c:pt>
                <c:pt idx="1199">
                  <c:v>0.01</c:v>
                </c:pt>
                <c:pt idx="1200">
                  <c:v>0.01</c:v>
                </c:pt>
                <c:pt idx="1201">
                  <c:v>1.8</c:v>
                </c:pt>
                <c:pt idx="1202">
                  <c:v>-1.79</c:v>
                </c:pt>
                <c:pt idx="1203">
                  <c:v>1.21</c:v>
                </c:pt>
                <c:pt idx="1204">
                  <c:v>-1.79</c:v>
                </c:pt>
                <c:pt idx="1205">
                  <c:v>-0.6</c:v>
                </c:pt>
                <c:pt idx="1206">
                  <c:v>1.21</c:v>
                </c:pt>
                <c:pt idx="1207">
                  <c:v>0.61</c:v>
                </c:pt>
                <c:pt idx="1208">
                  <c:v>0.61</c:v>
                </c:pt>
                <c:pt idx="1209">
                  <c:v>0.01</c:v>
                </c:pt>
                <c:pt idx="1210">
                  <c:v>0.61</c:v>
                </c:pt>
                <c:pt idx="1211">
                  <c:v>0.01</c:v>
                </c:pt>
                <c:pt idx="1212">
                  <c:v>-2.39</c:v>
                </c:pt>
                <c:pt idx="1213">
                  <c:v>-0.6</c:v>
                </c:pt>
                <c:pt idx="1214">
                  <c:v>1.21</c:v>
                </c:pt>
                <c:pt idx="1215">
                  <c:v>-2.39</c:v>
                </c:pt>
                <c:pt idx="1216">
                  <c:v>-0.6</c:v>
                </c:pt>
                <c:pt idx="1217">
                  <c:v>1.8</c:v>
                </c:pt>
                <c:pt idx="1218">
                  <c:v>0.01</c:v>
                </c:pt>
                <c:pt idx="1219">
                  <c:v>0.01</c:v>
                </c:pt>
                <c:pt idx="1220">
                  <c:v>-0.6</c:v>
                </c:pt>
                <c:pt idx="1221">
                  <c:v>-0.6</c:v>
                </c:pt>
                <c:pt idx="1222">
                  <c:v>-0.6</c:v>
                </c:pt>
                <c:pt idx="1223">
                  <c:v>-1.2</c:v>
                </c:pt>
                <c:pt idx="1224">
                  <c:v>-0.6</c:v>
                </c:pt>
                <c:pt idx="1225">
                  <c:v>1.8</c:v>
                </c:pt>
                <c:pt idx="1226">
                  <c:v>-0.6</c:v>
                </c:pt>
                <c:pt idx="1227">
                  <c:v>-1.2</c:v>
                </c:pt>
                <c:pt idx="1228">
                  <c:v>0.01</c:v>
                </c:pt>
                <c:pt idx="1229">
                  <c:v>-2.99</c:v>
                </c:pt>
                <c:pt idx="1230">
                  <c:v>-1.2</c:v>
                </c:pt>
                <c:pt idx="1231">
                  <c:v>-3.6</c:v>
                </c:pt>
                <c:pt idx="1232">
                  <c:v>-1.79</c:v>
                </c:pt>
                <c:pt idx="1233">
                  <c:v>0.01</c:v>
                </c:pt>
                <c:pt idx="1234">
                  <c:v>-0.6</c:v>
                </c:pt>
                <c:pt idx="1235">
                  <c:v>-0.6</c:v>
                </c:pt>
                <c:pt idx="1236">
                  <c:v>2.4</c:v>
                </c:pt>
                <c:pt idx="1237">
                  <c:v>-0.6</c:v>
                </c:pt>
                <c:pt idx="1238">
                  <c:v>0.61</c:v>
                </c:pt>
                <c:pt idx="1239">
                  <c:v>-0.6</c:v>
                </c:pt>
                <c:pt idx="1240">
                  <c:v>-1.2</c:v>
                </c:pt>
                <c:pt idx="1241">
                  <c:v>0.01</c:v>
                </c:pt>
                <c:pt idx="1242">
                  <c:v>-0.6</c:v>
                </c:pt>
                <c:pt idx="1243">
                  <c:v>-1.2</c:v>
                </c:pt>
                <c:pt idx="1244">
                  <c:v>0.01</c:v>
                </c:pt>
                <c:pt idx="1245">
                  <c:v>-2.39</c:v>
                </c:pt>
                <c:pt idx="1246">
                  <c:v>-2.39</c:v>
                </c:pt>
                <c:pt idx="1247">
                  <c:v>0.01</c:v>
                </c:pt>
                <c:pt idx="1248">
                  <c:v>1.8</c:v>
                </c:pt>
                <c:pt idx="1249">
                  <c:v>0.01</c:v>
                </c:pt>
                <c:pt idx="1250">
                  <c:v>0.01</c:v>
                </c:pt>
                <c:pt idx="1251">
                  <c:v>2.4</c:v>
                </c:pt>
                <c:pt idx="1252">
                  <c:v>-1.2</c:v>
                </c:pt>
                <c:pt idx="1253">
                  <c:v>-0.6</c:v>
                </c:pt>
                <c:pt idx="1254">
                  <c:v>-2.39</c:v>
                </c:pt>
                <c:pt idx="1255">
                  <c:v>1.8</c:v>
                </c:pt>
                <c:pt idx="1256">
                  <c:v>0.01</c:v>
                </c:pt>
                <c:pt idx="1257">
                  <c:v>-1.79</c:v>
                </c:pt>
                <c:pt idx="1258">
                  <c:v>-2.39</c:v>
                </c:pt>
                <c:pt idx="1259">
                  <c:v>1.21</c:v>
                </c:pt>
                <c:pt idx="1260">
                  <c:v>-0.6</c:v>
                </c:pt>
                <c:pt idx="1261">
                  <c:v>0.01</c:v>
                </c:pt>
                <c:pt idx="1262">
                  <c:v>-2.39</c:v>
                </c:pt>
                <c:pt idx="1263">
                  <c:v>-1.79</c:v>
                </c:pt>
                <c:pt idx="1264">
                  <c:v>1.8</c:v>
                </c:pt>
                <c:pt idx="1265">
                  <c:v>-2.39</c:v>
                </c:pt>
                <c:pt idx="1266">
                  <c:v>-1.2</c:v>
                </c:pt>
                <c:pt idx="1267">
                  <c:v>0.01</c:v>
                </c:pt>
                <c:pt idx="1268">
                  <c:v>-0.6</c:v>
                </c:pt>
                <c:pt idx="1269">
                  <c:v>0.61</c:v>
                </c:pt>
                <c:pt idx="1270">
                  <c:v>-0.6</c:v>
                </c:pt>
                <c:pt idx="1271">
                  <c:v>-1.79</c:v>
                </c:pt>
                <c:pt idx="1272">
                  <c:v>-1.79</c:v>
                </c:pt>
                <c:pt idx="1273">
                  <c:v>-1.79</c:v>
                </c:pt>
                <c:pt idx="1274">
                  <c:v>0.61</c:v>
                </c:pt>
                <c:pt idx="1275">
                  <c:v>0.01</c:v>
                </c:pt>
                <c:pt idx="1276">
                  <c:v>-1.79</c:v>
                </c:pt>
                <c:pt idx="1277">
                  <c:v>-1.2</c:v>
                </c:pt>
                <c:pt idx="1278">
                  <c:v>0.01</c:v>
                </c:pt>
                <c:pt idx="1279">
                  <c:v>0.61</c:v>
                </c:pt>
                <c:pt idx="1280">
                  <c:v>-0.6</c:v>
                </c:pt>
                <c:pt idx="1281">
                  <c:v>-1.2</c:v>
                </c:pt>
                <c:pt idx="1282">
                  <c:v>-1.2</c:v>
                </c:pt>
                <c:pt idx="1283">
                  <c:v>0.61</c:v>
                </c:pt>
                <c:pt idx="1284">
                  <c:v>-1.79</c:v>
                </c:pt>
                <c:pt idx="1285">
                  <c:v>1.21</c:v>
                </c:pt>
                <c:pt idx="1286">
                  <c:v>-1.79</c:v>
                </c:pt>
                <c:pt idx="1287">
                  <c:v>0.61</c:v>
                </c:pt>
                <c:pt idx="1288">
                  <c:v>1.21</c:v>
                </c:pt>
                <c:pt idx="1289">
                  <c:v>0.01</c:v>
                </c:pt>
                <c:pt idx="1290">
                  <c:v>-0.6</c:v>
                </c:pt>
                <c:pt idx="1291">
                  <c:v>-2.39</c:v>
                </c:pt>
                <c:pt idx="1292">
                  <c:v>-1.79</c:v>
                </c:pt>
                <c:pt idx="1293">
                  <c:v>0.61</c:v>
                </c:pt>
                <c:pt idx="1294">
                  <c:v>1.21</c:v>
                </c:pt>
                <c:pt idx="1295">
                  <c:v>-1.2</c:v>
                </c:pt>
                <c:pt idx="1296">
                  <c:v>0.01</c:v>
                </c:pt>
                <c:pt idx="1297">
                  <c:v>1.8</c:v>
                </c:pt>
                <c:pt idx="1298">
                  <c:v>0.01</c:v>
                </c:pt>
                <c:pt idx="1299">
                  <c:v>-0.6</c:v>
                </c:pt>
                <c:pt idx="1300">
                  <c:v>0.61</c:v>
                </c:pt>
                <c:pt idx="1301">
                  <c:v>-0.6</c:v>
                </c:pt>
                <c:pt idx="1302">
                  <c:v>-1.2</c:v>
                </c:pt>
                <c:pt idx="1303">
                  <c:v>-0.6</c:v>
                </c:pt>
                <c:pt idx="1304">
                  <c:v>0.61</c:v>
                </c:pt>
                <c:pt idx="1305">
                  <c:v>-1.2</c:v>
                </c:pt>
                <c:pt idx="1306">
                  <c:v>-1.2</c:v>
                </c:pt>
                <c:pt idx="1307">
                  <c:v>0.61</c:v>
                </c:pt>
                <c:pt idx="1308">
                  <c:v>-0.6</c:v>
                </c:pt>
                <c:pt idx="1309">
                  <c:v>0.01</c:v>
                </c:pt>
                <c:pt idx="1310">
                  <c:v>-2.39</c:v>
                </c:pt>
                <c:pt idx="1311">
                  <c:v>0.01</c:v>
                </c:pt>
                <c:pt idx="1312">
                  <c:v>1.8</c:v>
                </c:pt>
                <c:pt idx="1313">
                  <c:v>-1.79</c:v>
                </c:pt>
                <c:pt idx="1314">
                  <c:v>-1.2</c:v>
                </c:pt>
                <c:pt idx="1315">
                  <c:v>-0.6</c:v>
                </c:pt>
                <c:pt idx="1316">
                  <c:v>1.21</c:v>
                </c:pt>
                <c:pt idx="1317">
                  <c:v>-0.6</c:v>
                </c:pt>
                <c:pt idx="1318">
                  <c:v>1.21</c:v>
                </c:pt>
                <c:pt idx="1319">
                  <c:v>-1.79</c:v>
                </c:pt>
                <c:pt idx="1320">
                  <c:v>0.61</c:v>
                </c:pt>
                <c:pt idx="1321">
                  <c:v>0.01</c:v>
                </c:pt>
                <c:pt idx="1322">
                  <c:v>-1.2</c:v>
                </c:pt>
                <c:pt idx="1323">
                  <c:v>0.01</c:v>
                </c:pt>
                <c:pt idx="1324">
                  <c:v>-1.79</c:v>
                </c:pt>
                <c:pt idx="1325">
                  <c:v>-2.99</c:v>
                </c:pt>
                <c:pt idx="1326">
                  <c:v>-1.2</c:v>
                </c:pt>
                <c:pt idx="1327">
                  <c:v>1.21</c:v>
                </c:pt>
                <c:pt idx="1328">
                  <c:v>1.21</c:v>
                </c:pt>
                <c:pt idx="1329">
                  <c:v>-2.39</c:v>
                </c:pt>
                <c:pt idx="1330">
                  <c:v>-2.39</c:v>
                </c:pt>
                <c:pt idx="1331">
                  <c:v>0.01</c:v>
                </c:pt>
                <c:pt idx="1332">
                  <c:v>-1.79</c:v>
                </c:pt>
                <c:pt idx="1333">
                  <c:v>-1.2</c:v>
                </c:pt>
                <c:pt idx="1334">
                  <c:v>0.61</c:v>
                </c:pt>
                <c:pt idx="1335">
                  <c:v>-2.39</c:v>
                </c:pt>
                <c:pt idx="1336">
                  <c:v>0.01</c:v>
                </c:pt>
                <c:pt idx="1337">
                  <c:v>1.21</c:v>
                </c:pt>
                <c:pt idx="1338">
                  <c:v>2.4</c:v>
                </c:pt>
                <c:pt idx="1339">
                  <c:v>1.21</c:v>
                </c:pt>
                <c:pt idx="1340">
                  <c:v>-0.6</c:v>
                </c:pt>
                <c:pt idx="1341">
                  <c:v>0.01</c:v>
                </c:pt>
                <c:pt idx="1342">
                  <c:v>0.01</c:v>
                </c:pt>
                <c:pt idx="1343">
                  <c:v>-1.79</c:v>
                </c:pt>
                <c:pt idx="1344">
                  <c:v>-1.2</c:v>
                </c:pt>
                <c:pt idx="1345">
                  <c:v>1.21</c:v>
                </c:pt>
                <c:pt idx="1346">
                  <c:v>0.01</c:v>
                </c:pt>
                <c:pt idx="1347">
                  <c:v>-0.6</c:v>
                </c:pt>
                <c:pt idx="1348">
                  <c:v>-0.6</c:v>
                </c:pt>
                <c:pt idx="1349">
                  <c:v>0.01</c:v>
                </c:pt>
                <c:pt idx="1350">
                  <c:v>-0.6</c:v>
                </c:pt>
                <c:pt idx="1351">
                  <c:v>1.8</c:v>
                </c:pt>
                <c:pt idx="1352">
                  <c:v>1.8</c:v>
                </c:pt>
                <c:pt idx="1353">
                  <c:v>-1.2</c:v>
                </c:pt>
                <c:pt idx="1354">
                  <c:v>0.61</c:v>
                </c:pt>
                <c:pt idx="1355">
                  <c:v>-1.79</c:v>
                </c:pt>
                <c:pt idx="1356">
                  <c:v>0.61</c:v>
                </c:pt>
                <c:pt idx="1357">
                  <c:v>-0.6</c:v>
                </c:pt>
                <c:pt idx="1358">
                  <c:v>-1.2</c:v>
                </c:pt>
                <c:pt idx="1359">
                  <c:v>-0.6</c:v>
                </c:pt>
                <c:pt idx="1360">
                  <c:v>-0.6</c:v>
                </c:pt>
                <c:pt idx="1361">
                  <c:v>-1.79</c:v>
                </c:pt>
                <c:pt idx="1362">
                  <c:v>0.01</c:v>
                </c:pt>
                <c:pt idx="1363">
                  <c:v>-2.39</c:v>
                </c:pt>
                <c:pt idx="1364">
                  <c:v>-2.99</c:v>
                </c:pt>
                <c:pt idx="1365">
                  <c:v>0.61</c:v>
                </c:pt>
                <c:pt idx="1366">
                  <c:v>-1.2</c:v>
                </c:pt>
                <c:pt idx="1367">
                  <c:v>1.21</c:v>
                </c:pt>
                <c:pt idx="1368">
                  <c:v>-2.99</c:v>
                </c:pt>
                <c:pt idx="1369">
                  <c:v>-1.2</c:v>
                </c:pt>
                <c:pt idx="1370">
                  <c:v>1.21</c:v>
                </c:pt>
                <c:pt idx="1371">
                  <c:v>-0.6</c:v>
                </c:pt>
                <c:pt idx="1372">
                  <c:v>-1.79</c:v>
                </c:pt>
                <c:pt idx="1373">
                  <c:v>-0.6</c:v>
                </c:pt>
                <c:pt idx="1374">
                  <c:v>0.61</c:v>
                </c:pt>
                <c:pt idx="1375">
                  <c:v>0.61</c:v>
                </c:pt>
                <c:pt idx="1376">
                  <c:v>-0.6</c:v>
                </c:pt>
                <c:pt idx="1377">
                  <c:v>0.01</c:v>
                </c:pt>
                <c:pt idx="1378">
                  <c:v>0.61</c:v>
                </c:pt>
                <c:pt idx="1379">
                  <c:v>-2.39</c:v>
                </c:pt>
                <c:pt idx="1380">
                  <c:v>0.61</c:v>
                </c:pt>
                <c:pt idx="1381">
                  <c:v>-1.2</c:v>
                </c:pt>
                <c:pt idx="1382">
                  <c:v>0.61</c:v>
                </c:pt>
                <c:pt idx="1383">
                  <c:v>0.01</c:v>
                </c:pt>
                <c:pt idx="1384">
                  <c:v>-1.79</c:v>
                </c:pt>
                <c:pt idx="1385">
                  <c:v>0.01</c:v>
                </c:pt>
                <c:pt idx="1386">
                  <c:v>0.01</c:v>
                </c:pt>
                <c:pt idx="1387">
                  <c:v>1.8</c:v>
                </c:pt>
                <c:pt idx="1388">
                  <c:v>1.8</c:v>
                </c:pt>
                <c:pt idx="1389">
                  <c:v>0.01</c:v>
                </c:pt>
                <c:pt idx="1390">
                  <c:v>1.21</c:v>
                </c:pt>
                <c:pt idx="1391">
                  <c:v>0.01</c:v>
                </c:pt>
                <c:pt idx="1392">
                  <c:v>3.01</c:v>
                </c:pt>
                <c:pt idx="1393">
                  <c:v>-0.6</c:v>
                </c:pt>
                <c:pt idx="1394">
                  <c:v>0.61</c:v>
                </c:pt>
                <c:pt idx="1395">
                  <c:v>-0.6</c:v>
                </c:pt>
                <c:pt idx="1396">
                  <c:v>-0.6</c:v>
                </c:pt>
                <c:pt idx="1397">
                  <c:v>-1.79</c:v>
                </c:pt>
                <c:pt idx="1398">
                  <c:v>-1.79</c:v>
                </c:pt>
                <c:pt idx="1399">
                  <c:v>1.21</c:v>
                </c:pt>
                <c:pt idx="1400">
                  <c:v>-1.79</c:v>
                </c:pt>
                <c:pt idx="1401">
                  <c:v>0.01</c:v>
                </c:pt>
                <c:pt idx="1402">
                  <c:v>-0.6</c:v>
                </c:pt>
                <c:pt idx="1403">
                  <c:v>1.21</c:v>
                </c:pt>
                <c:pt idx="1404">
                  <c:v>0.01</c:v>
                </c:pt>
                <c:pt idx="1405">
                  <c:v>-2.39</c:v>
                </c:pt>
                <c:pt idx="1406">
                  <c:v>-2.39</c:v>
                </c:pt>
                <c:pt idx="1407">
                  <c:v>-0.6</c:v>
                </c:pt>
                <c:pt idx="1408">
                  <c:v>-2.99</c:v>
                </c:pt>
                <c:pt idx="1409">
                  <c:v>-1.79</c:v>
                </c:pt>
                <c:pt idx="1410">
                  <c:v>0.01</c:v>
                </c:pt>
                <c:pt idx="1411">
                  <c:v>1.21</c:v>
                </c:pt>
                <c:pt idx="1412">
                  <c:v>0.01</c:v>
                </c:pt>
                <c:pt idx="1413">
                  <c:v>0.01</c:v>
                </c:pt>
                <c:pt idx="1414">
                  <c:v>0.61</c:v>
                </c:pt>
                <c:pt idx="1415">
                  <c:v>-0.6</c:v>
                </c:pt>
                <c:pt idx="1416">
                  <c:v>0.01</c:v>
                </c:pt>
                <c:pt idx="1417">
                  <c:v>-1.2</c:v>
                </c:pt>
                <c:pt idx="1418">
                  <c:v>-0.6</c:v>
                </c:pt>
                <c:pt idx="1419">
                  <c:v>1.21</c:v>
                </c:pt>
                <c:pt idx="1420">
                  <c:v>1.21</c:v>
                </c:pt>
                <c:pt idx="1421">
                  <c:v>-1.79</c:v>
                </c:pt>
                <c:pt idx="1422">
                  <c:v>-1.79</c:v>
                </c:pt>
                <c:pt idx="1423">
                  <c:v>0.61</c:v>
                </c:pt>
                <c:pt idx="1424">
                  <c:v>-0.6</c:v>
                </c:pt>
                <c:pt idx="1425">
                  <c:v>0.61</c:v>
                </c:pt>
                <c:pt idx="1426">
                  <c:v>-1.79</c:v>
                </c:pt>
                <c:pt idx="1427">
                  <c:v>-1.79</c:v>
                </c:pt>
                <c:pt idx="1428">
                  <c:v>-0.6</c:v>
                </c:pt>
                <c:pt idx="1429">
                  <c:v>0.61</c:v>
                </c:pt>
                <c:pt idx="1430">
                  <c:v>0.01</c:v>
                </c:pt>
                <c:pt idx="1431">
                  <c:v>-1.2</c:v>
                </c:pt>
                <c:pt idx="1432">
                  <c:v>-1.2</c:v>
                </c:pt>
                <c:pt idx="1433">
                  <c:v>0.61</c:v>
                </c:pt>
                <c:pt idx="1434">
                  <c:v>-2.39</c:v>
                </c:pt>
                <c:pt idx="1435">
                  <c:v>-0.6</c:v>
                </c:pt>
                <c:pt idx="1436">
                  <c:v>1.8</c:v>
                </c:pt>
                <c:pt idx="1437">
                  <c:v>0.01</c:v>
                </c:pt>
                <c:pt idx="1438">
                  <c:v>0.61</c:v>
                </c:pt>
                <c:pt idx="1439">
                  <c:v>1.21</c:v>
                </c:pt>
                <c:pt idx="1440">
                  <c:v>-1.2</c:v>
                </c:pt>
                <c:pt idx="1441">
                  <c:v>0.01</c:v>
                </c:pt>
                <c:pt idx="1442">
                  <c:v>0.01</c:v>
                </c:pt>
                <c:pt idx="1443">
                  <c:v>0.61</c:v>
                </c:pt>
                <c:pt idx="1444">
                  <c:v>1.8</c:v>
                </c:pt>
                <c:pt idx="1445">
                  <c:v>1.21</c:v>
                </c:pt>
                <c:pt idx="1446">
                  <c:v>-1.79</c:v>
                </c:pt>
                <c:pt idx="1447">
                  <c:v>0.01</c:v>
                </c:pt>
                <c:pt idx="1448">
                  <c:v>0.01</c:v>
                </c:pt>
                <c:pt idx="1449">
                  <c:v>0.61</c:v>
                </c:pt>
                <c:pt idx="1450">
                  <c:v>0.01</c:v>
                </c:pt>
                <c:pt idx="1451">
                  <c:v>-1.2</c:v>
                </c:pt>
                <c:pt idx="1452">
                  <c:v>2.4</c:v>
                </c:pt>
                <c:pt idx="1453">
                  <c:v>-1.2</c:v>
                </c:pt>
                <c:pt idx="1454">
                  <c:v>0.01</c:v>
                </c:pt>
                <c:pt idx="1455">
                  <c:v>-0.6</c:v>
                </c:pt>
                <c:pt idx="1456">
                  <c:v>-1.79</c:v>
                </c:pt>
                <c:pt idx="1457">
                  <c:v>-1.2</c:v>
                </c:pt>
                <c:pt idx="1458">
                  <c:v>0.01</c:v>
                </c:pt>
                <c:pt idx="1459">
                  <c:v>-1.2</c:v>
                </c:pt>
                <c:pt idx="1460">
                  <c:v>1.8</c:v>
                </c:pt>
                <c:pt idx="1461">
                  <c:v>0.01</c:v>
                </c:pt>
                <c:pt idx="1462">
                  <c:v>-1.2</c:v>
                </c:pt>
                <c:pt idx="1463">
                  <c:v>0.61</c:v>
                </c:pt>
                <c:pt idx="1464">
                  <c:v>1.21</c:v>
                </c:pt>
                <c:pt idx="1465">
                  <c:v>1.8</c:v>
                </c:pt>
                <c:pt idx="1466">
                  <c:v>0.01</c:v>
                </c:pt>
                <c:pt idx="1467">
                  <c:v>-1.2</c:v>
                </c:pt>
                <c:pt idx="1468">
                  <c:v>-1.2</c:v>
                </c:pt>
                <c:pt idx="1469">
                  <c:v>-1.79</c:v>
                </c:pt>
                <c:pt idx="1470">
                  <c:v>1.21</c:v>
                </c:pt>
                <c:pt idx="1471">
                  <c:v>-0.6</c:v>
                </c:pt>
                <c:pt idx="1472">
                  <c:v>3.61</c:v>
                </c:pt>
                <c:pt idx="1473">
                  <c:v>0.01</c:v>
                </c:pt>
                <c:pt idx="1474">
                  <c:v>-2.99</c:v>
                </c:pt>
                <c:pt idx="1475">
                  <c:v>0.01</c:v>
                </c:pt>
                <c:pt idx="1476">
                  <c:v>0.61</c:v>
                </c:pt>
                <c:pt idx="1477">
                  <c:v>1.21</c:v>
                </c:pt>
                <c:pt idx="1478">
                  <c:v>0.01</c:v>
                </c:pt>
                <c:pt idx="1479">
                  <c:v>-1.79</c:v>
                </c:pt>
                <c:pt idx="1480">
                  <c:v>-2.39</c:v>
                </c:pt>
                <c:pt idx="1481">
                  <c:v>0.01</c:v>
                </c:pt>
                <c:pt idx="1482">
                  <c:v>-0.6</c:v>
                </c:pt>
                <c:pt idx="1483">
                  <c:v>0.61</c:v>
                </c:pt>
                <c:pt idx="1484">
                  <c:v>0.01</c:v>
                </c:pt>
                <c:pt idx="1485">
                  <c:v>0.01</c:v>
                </c:pt>
                <c:pt idx="1486">
                  <c:v>1.8</c:v>
                </c:pt>
                <c:pt idx="1487">
                  <c:v>0.61</c:v>
                </c:pt>
                <c:pt idx="1488">
                  <c:v>-1.2</c:v>
                </c:pt>
                <c:pt idx="1489">
                  <c:v>2.4</c:v>
                </c:pt>
                <c:pt idx="1490">
                  <c:v>0.01</c:v>
                </c:pt>
                <c:pt idx="1491">
                  <c:v>-2.39</c:v>
                </c:pt>
                <c:pt idx="1492">
                  <c:v>-0.6</c:v>
                </c:pt>
                <c:pt idx="1493">
                  <c:v>2.4</c:v>
                </c:pt>
                <c:pt idx="1494">
                  <c:v>-1.79</c:v>
                </c:pt>
                <c:pt idx="1495">
                  <c:v>0.61</c:v>
                </c:pt>
                <c:pt idx="1496">
                  <c:v>-2.39</c:v>
                </c:pt>
                <c:pt idx="1497">
                  <c:v>-2.39</c:v>
                </c:pt>
                <c:pt idx="1498">
                  <c:v>1.21</c:v>
                </c:pt>
                <c:pt idx="1499">
                  <c:v>0.01</c:v>
                </c:pt>
                <c:pt idx="1500">
                  <c:v>-0.6</c:v>
                </c:pt>
                <c:pt idx="1501">
                  <c:v>0.01</c:v>
                </c:pt>
                <c:pt idx="1502">
                  <c:v>1.21</c:v>
                </c:pt>
                <c:pt idx="1503">
                  <c:v>0.01</c:v>
                </c:pt>
                <c:pt idx="1504">
                  <c:v>-1.2</c:v>
                </c:pt>
                <c:pt idx="1505">
                  <c:v>1.8</c:v>
                </c:pt>
                <c:pt idx="1506">
                  <c:v>1.21</c:v>
                </c:pt>
                <c:pt idx="1507">
                  <c:v>-0.6</c:v>
                </c:pt>
                <c:pt idx="1508">
                  <c:v>-3.6</c:v>
                </c:pt>
                <c:pt idx="1509">
                  <c:v>-1.2</c:v>
                </c:pt>
                <c:pt idx="1510">
                  <c:v>1.8</c:v>
                </c:pt>
                <c:pt idx="1511">
                  <c:v>0.61</c:v>
                </c:pt>
                <c:pt idx="1512">
                  <c:v>-1.79</c:v>
                </c:pt>
                <c:pt idx="1513">
                  <c:v>0.61</c:v>
                </c:pt>
                <c:pt idx="1514">
                  <c:v>1.8</c:v>
                </c:pt>
                <c:pt idx="1515">
                  <c:v>0.01</c:v>
                </c:pt>
                <c:pt idx="1516">
                  <c:v>0.61</c:v>
                </c:pt>
                <c:pt idx="1517">
                  <c:v>0.01</c:v>
                </c:pt>
                <c:pt idx="1518">
                  <c:v>1.21</c:v>
                </c:pt>
                <c:pt idx="1519">
                  <c:v>-0.6</c:v>
                </c:pt>
                <c:pt idx="1520">
                  <c:v>-0.6</c:v>
                </c:pt>
                <c:pt idx="1521">
                  <c:v>1.8</c:v>
                </c:pt>
                <c:pt idx="1522">
                  <c:v>-1.79</c:v>
                </c:pt>
                <c:pt idx="1523">
                  <c:v>-0.6</c:v>
                </c:pt>
                <c:pt idx="1524">
                  <c:v>0.61</c:v>
                </c:pt>
                <c:pt idx="1525">
                  <c:v>1.8</c:v>
                </c:pt>
                <c:pt idx="1526">
                  <c:v>1.21</c:v>
                </c:pt>
                <c:pt idx="1527">
                  <c:v>0.61</c:v>
                </c:pt>
                <c:pt idx="1528">
                  <c:v>-1.79</c:v>
                </c:pt>
                <c:pt idx="1529">
                  <c:v>0.01</c:v>
                </c:pt>
                <c:pt idx="1530">
                  <c:v>1.8</c:v>
                </c:pt>
                <c:pt idx="1531">
                  <c:v>0.61</c:v>
                </c:pt>
                <c:pt idx="1532">
                  <c:v>-0.6</c:v>
                </c:pt>
                <c:pt idx="1533">
                  <c:v>0.01</c:v>
                </c:pt>
                <c:pt idx="1534">
                  <c:v>0.61</c:v>
                </c:pt>
                <c:pt idx="1535">
                  <c:v>0.61</c:v>
                </c:pt>
                <c:pt idx="1536">
                  <c:v>1.8</c:v>
                </c:pt>
                <c:pt idx="1537">
                  <c:v>0.61</c:v>
                </c:pt>
                <c:pt idx="1538">
                  <c:v>-0.6</c:v>
                </c:pt>
                <c:pt idx="1539">
                  <c:v>0.61</c:v>
                </c:pt>
                <c:pt idx="1540">
                  <c:v>1.8</c:v>
                </c:pt>
                <c:pt idx="1541">
                  <c:v>-0.6</c:v>
                </c:pt>
                <c:pt idx="1542">
                  <c:v>-0.6</c:v>
                </c:pt>
                <c:pt idx="1543">
                  <c:v>0.01</c:v>
                </c:pt>
                <c:pt idx="1544">
                  <c:v>0.61</c:v>
                </c:pt>
                <c:pt idx="1545">
                  <c:v>-0.6</c:v>
                </c:pt>
                <c:pt idx="1546">
                  <c:v>0.61</c:v>
                </c:pt>
                <c:pt idx="1547">
                  <c:v>1.8</c:v>
                </c:pt>
                <c:pt idx="1548">
                  <c:v>0.01</c:v>
                </c:pt>
                <c:pt idx="1549">
                  <c:v>0.61</c:v>
                </c:pt>
                <c:pt idx="1550">
                  <c:v>0.01</c:v>
                </c:pt>
                <c:pt idx="1551">
                  <c:v>0.01</c:v>
                </c:pt>
                <c:pt idx="1552">
                  <c:v>-1.2</c:v>
                </c:pt>
                <c:pt idx="1553">
                  <c:v>0.01</c:v>
                </c:pt>
                <c:pt idx="1554">
                  <c:v>0.61</c:v>
                </c:pt>
                <c:pt idx="1555">
                  <c:v>-0.6</c:v>
                </c:pt>
                <c:pt idx="1556">
                  <c:v>0.01</c:v>
                </c:pt>
                <c:pt idx="1557">
                  <c:v>-1.2</c:v>
                </c:pt>
                <c:pt idx="1558">
                  <c:v>0.61</c:v>
                </c:pt>
                <c:pt idx="1559">
                  <c:v>-2.39</c:v>
                </c:pt>
                <c:pt idx="1560">
                  <c:v>0.01</c:v>
                </c:pt>
                <c:pt idx="1561">
                  <c:v>-0.6</c:v>
                </c:pt>
                <c:pt idx="1562">
                  <c:v>0.01</c:v>
                </c:pt>
                <c:pt idx="1563">
                  <c:v>0.61</c:v>
                </c:pt>
                <c:pt idx="1564">
                  <c:v>0.61</c:v>
                </c:pt>
                <c:pt idx="1565">
                  <c:v>0.01</c:v>
                </c:pt>
                <c:pt idx="1566">
                  <c:v>-1.79</c:v>
                </c:pt>
                <c:pt idx="1567">
                  <c:v>-0.6</c:v>
                </c:pt>
                <c:pt idx="1568">
                  <c:v>0.01</c:v>
                </c:pt>
                <c:pt idx="1569">
                  <c:v>0.01</c:v>
                </c:pt>
                <c:pt idx="1570">
                  <c:v>-0.6</c:v>
                </c:pt>
                <c:pt idx="1571">
                  <c:v>0.01</c:v>
                </c:pt>
                <c:pt idx="1572">
                  <c:v>1.21</c:v>
                </c:pt>
                <c:pt idx="1573">
                  <c:v>-0.6</c:v>
                </c:pt>
                <c:pt idx="1574">
                  <c:v>0.61</c:v>
                </c:pt>
                <c:pt idx="1575">
                  <c:v>-2.99</c:v>
                </c:pt>
                <c:pt idx="1576">
                  <c:v>-0.6</c:v>
                </c:pt>
                <c:pt idx="1577">
                  <c:v>0.01</c:v>
                </c:pt>
                <c:pt idx="1578">
                  <c:v>-0.6</c:v>
                </c:pt>
                <c:pt idx="1579">
                  <c:v>-2.39</c:v>
                </c:pt>
                <c:pt idx="1580">
                  <c:v>0.01</c:v>
                </c:pt>
                <c:pt idx="1581">
                  <c:v>-1.2</c:v>
                </c:pt>
                <c:pt idx="1582">
                  <c:v>-1.2</c:v>
                </c:pt>
                <c:pt idx="1583">
                  <c:v>0.01</c:v>
                </c:pt>
                <c:pt idx="1584">
                  <c:v>0.61</c:v>
                </c:pt>
                <c:pt idx="1585">
                  <c:v>1.21</c:v>
                </c:pt>
                <c:pt idx="1586">
                  <c:v>0.01</c:v>
                </c:pt>
                <c:pt idx="1587">
                  <c:v>0.61</c:v>
                </c:pt>
                <c:pt idx="1588">
                  <c:v>1.8</c:v>
                </c:pt>
                <c:pt idx="1589">
                  <c:v>1.21</c:v>
                </c:pt>
                <c:pt idx="1590">
                  <c:v>-1.2</c:v>
                </c:pt>
                <c:pt idx="1591">
                  <c:v>0.61</c:v>
                </c:pt>
                <c:pt idx="1592">
                  <c:v>0.01</c:v>
                </c:pt>
                <c:pt idx="1593">
                  <c:v>-1.2</c:v>
                </c:pt>
                <c:pt idx="1594">
                  <c:v>-0.6</c:v>
                </c:pt>
                <c:pt idx="1595">
                  <c:v>3.61</c:v>
                </c:pt>
                <c:pt idx="1596">
                  <c:v>0.01</c:v>
                </c:pt>
                <c:pt idx="1597">
                  <c:v>0.01</c:v>
                </c:pt>
                <c:pt idx="1598">
                  <c:v>0.61</c:v>
                </c:pt>
                <c:pt idx="1599">
                  <c:v>-1.2</c:v>
                </c:pt>
                <c:pt idx="1600">
                  <c:v>0.01</c:v>
                </c:pt>
                <c:pt idx="1601">
                  <c:v>0.01</c:v>
                </c:pt>
                <c:pt idx="1602">
                  <c:v>-1.79</c:v>
                </c:pt>
                <c:pt idx="1603">
                  <c:v>-0.6</c:v>
                </c:pt>
                <c:pt idx="1604">
                  <c:v>-0.6</c:v>
                </c:pt>
                <c:pt idx="1605">
                  <c:v>0.61</c:v>
                </c:pt>
                <c:pt idx="1606">
                  <c:v>-1.79</c:v>
                </c:pt>
                <c:pt idx="1607">
                  <c:v>-0.6</c:v>
                </c:pt>
                <c:pt idx="1608">
                  <c:v>0.01</c:v>
                </c:pt>
                <c:pt idx="1609">
                  <c:v>1.8</c:v>
                </c:pt>
                <c:pt idx="1610">
                  <c:v>2.4</c:v>
                </c:pt>
                <c:pt idx="1611">
                  <c:v>0.01</c:v>
                </c:pt>
                <c:pt idx="1612">
                  <c:v>0.01</c:v>
                </c:pt>
                <c:pt idx="1613">
                  <c:v>0.61</c:v>
                </c:pt>
                <c:pt idx="1614">
                  <c:v>0.01</c:v>
                </c:pt>
                <c:pt idx="1615">
                  <c:v>-1.2</c:v>
                </c:pt>
                <c:pt idx="1616">
                  <c:v>0.61</c:v>
                </c:pt>
                <c:pt idx="1617">
                  <c:v>1.21</c:v>
                </c:pt>
                <c:pt idx="1618">
                  <c:v>0.61</c:v>
                </c:pt>
                <c:pt idx="1619">
                  <c:v>0.01</c:v>
                </c:pt>
                <c:pt idx="1620">
                  <c:v>3.01</c:v>
                </c:pt>
                <c:pt idx="1621">
                  <c:v>0.01</c:v>
                </c:pt>
                <c:pt idx="1622">
                  <c:v>0.01</c:v>
                </c:pt>
                <c:pt idx="1623">
                  <c:v>-1.79</c:v>
                </c:pt>
                <c:pt idx="1624">
                  <c:v>-0.6</c:v>
                </c:pt>
                <c:pt idx="1625">
                  <c:v>2.4</c:v>
                </c:pt>
                <c:pt idx="1626">
                  <c:v>0.01</c:v>
                </c:pt>
                <c:pt idx="1627">
                  <c:v>-1.79</c:v>
                </c:pt>
                <c:pt idx="1628">
                  <c:v>0.01</c:v>
                </c:pt>
                <c:pt idx="1629">
                  <c:v>0.01</c:v>
                </c:pt>
                <c:pt idx="1630">
                  <c:v>2.4</c:v>
                </c:pt>
                <c:pt idx="1631">
                  <c:v>-0.6</c:v>
                </c:pt>
                <c:pt idx="1632">
                  <c:v>0.01</c:v>
                </c:pt>
                <c:pt idx="1633">
                  <c:v>0.01</c:v>
                </c:pt>
                <c:pt idx="1634">
                  <c:v>0.61</c:v>
                </c:pt>
                <c:pt idx="1635">
                  <c:v>1.21</c:v>
                </c:pt>
                <c:pt idx="1636">
                  <c:v>2.4</c:v>
                </c:pt>
                <c:pt idx="1637">
                  <c:v>1.21</c:v>
                </c:pt>
                <c:pt idx="1638">
                  <c:v>0.61</c:v>
                </c:pt>
                <c:pt idx="1639">
                  <c:v>3.01</c:v>
                </c:pt>
                <c:pt idx="1640">
                  <c:v>0.01</c:v>
                </c:pt>
                <c:pt idx="1641">
                  <c:v>0.01</c:v>
                </c:pt>
                <c:pt idx="1642">
                  <c:v>0.61</c:v>
                </c:pt>
                <c:pt idx="1643">
                  <c:v>0.61</c:v>
                </c:pt>
                <c:pt idx="1644">
                  <c:v>0.01</c:v>
                </c:pt>
                <c:pt idx="1645">
                  <c:v>0.01</c:v>
                </c:pt>
                <c:pt idx="1646">
                  <c:v>1.8</c:v>
                </c:pt>
                <c:pt idx="1647">
                  <c:v>0.01</c:v>
                </c:pt>
                <c:pt idx="1648">
                  <c:v>-2.99</c:v>
                </c:pt>
                <c:pt idx="1649">
                  <c:v>1.21</c:v>
                </c:pt>
                <c:pt idx="1650">
                  <c:v>-0.6</c:v>
                </c:pt>
                <c:pt idx="1651">
                  <c:v>0.01</c:v>
                </c:pt>
                <c:pt idx="1652">
                  <c:v>-1.2</c:v>
                </c:pt>
                <c:pt idx="1653">
                  <c:v>-0.6</c:v>
                </c:pt>
                <c:pt idx="1654">
                  <c:v>1.21</c:v>
                </c:pt>
                <c:pt idx="1655">
                  <c:v>1.21</c:v>
                </c:pt>
                <c:pt idx="1656">
                  <c:v>0.61</c:v>
                </c:pt>
                <c:pt idx="1657">
                  <c:v>-0.6</c:v>
                </c:pt>
                <c:pt idx="1658">
                  <c:v>1.8</c:v>
                </c:pt>
                <c:pt idx="1659">
                  <c:v>1.21</c:v>
                </c:pt>
                <c:pt idx="1660">
                  <c:v>1.21</c:v>
                </c:pt>
                <c:pt idx="1661">
                  <c:v>-1.79</c:v>
                </c:pt>
                <c:pt idx="1662">
                  <c:v>-2.39</c:v>
                </c:pt>
                <c:pt idx="1663">
                  <c:v>1.8</c:v>
                </c:pt>
                <c:pt idx="1664">
                  <c:v>1.8</c:v>
                </c:pt>
                <c:pt idx="1665">
                  <c:v>0.01</c:v>
                </c:pt>
                <c:pt idx="1666">
                  <c:v>2.4</c:v>
                </c:pt>
                <c:pt idx="1667">
                  <c:v>1.21</c:v>
                </c:pt>
                <c:pt idx="1668">
                  <c:v>-0.6</c:v>
                </c:pt>
                <c:pt idx="1669">
                  <c:v>0.01</c:v>
                </c:pt>
                <c:pt idx="1670">
                  <c:v>0.01</c:v>
                </c:pt>
                <c:pt idx="1671">
                  <c:v>0.61</c:v>
                </c:pt>
                <c:pt idx="1672">
                  <c:v>1.8</c:v>
                </c:pt>
                <c:pt idx="1673">
                  <c:v>0.61</c:v>
                </c:pt>
                <c:pt idx="1674">
                  <c:v>1.21</c:v>
                </c:pt>
                <c:pt idx="1675">
                  <c:v>0.01</c:v>
                </c:pt>
                <c:pt idx="1676">
                  <c:v>0.61</c:v>
                </c:pt>
                <c:pt idx="1677">
                  <c:v>0.61</c:v>
                </c:pt>
                <c:pt idx="1678">
                  <c:v>1.8</c:v>
                </c:pt>
                <c:pt idx="1679">
                  <c:v>-0.6</c:v>
                </c:pt>
                <c:pt idx="1680">
                  <c:v>0.01</c:v>
                </c:pt>
                <c:pt idx="1681">
                  <c:v>0.61</c:v>
                </c:pt>
                <c:pt idx="1682">
                  <c:v>1.21</c:v>
                </c:pt>
                <c:pt idx="1683">
                  <c:v>1.21</c:v>
                </c:pt>
                <c:pt idx="1684">
                  <c:v>1.21</c:v>
                </c:pt>
                <c:pt idx="1685">
                  <c:v>0.01</c:v>
                </c:pt>
                <c:pt idx="1686">
                  <c:v>-0.6</c:v>
                </c:pt>
                <c:pt idx="1687">
                  <c:v>1.21</c:v>
                </c:pt>
                <c:pt idx="1688">
                  <c:v>1.21</c:v>
                </c:pt>
                <c:pt idx="1689">
                  <c:v>-0.6</c:v>
                </c:pt>
                <c:pt idx="1690">
                  <c:v>1.21</c:v>
                </c:pt>
                <c:pt idx="1691">
                  <c:v>3.01</c:v>
                </c:pt>
                <c:pt idx="1692">
                  <c:v>2.4</c:v>
                </c:pt>
                <c:pt idx="1693">
                  <c:v>1.21</c:v>
                </c:pt>
                <c:pt idx="1694">
                  <c:v>0.61</c:v>
                </c:pt>
                <c:pt idx="1695">
                  <c:v>0.61</c:v>
                </c:pt>
                <c:pt idx="1696">
                  <c:v>-1.2</c:v>
                </c:pt>
                <c:pt idx="1697">
                  <c:v>3.01</c:v>
                </c:pt>
                <c:pt idx="1698">
                  <c:v>2.4</c:v>
                </c:pt>
                <c:pt idx="1699">
                  <c:v>0.01</c:v>
                </c:pt>
                <c:pt idx="1700">
                  <c:v>0.61</c:v>
                </c:pt>
                <c:pt idx="1701">
                  <c:v>1.8</c:v>
                </c:pt>
                <c:pt idx="1702">
                  <c:v>-0.6</c:v>
                </c:pt>
                <c:pt idx="1703">
                  <c:v>1.21</c:v>
                </c:pt>
                <c:pt idx="1704">
                  <c:v>1.21</c:v>
                </c:pt>
                <c:pt idx="1705">
                  <c:v>0.01</c:v>
                </c:pt>
                <c:pt idx="1706">
                  <c:v>0.01</c:v>
                </c:pt>
                <c:pt idx="1707">
                  <c:v>1.8</c:v>
                </c:pt>
                <c:pt idx="1708">
                  <c:v>0.61</c:v>
                </c:pt>
                <c:pt idx="1709">
                  <c:v>1.8</c:v>
                </c:pt>
                <c:pt idx="1710">
                  <c:v>2.4</c:v>
                </c:pt>
                <c:pt idx="1711">
                  <c:v>1.21</c:v>
                </c:pt>
                <c:pt idx="1712">
                  <c:v>0.61</c:v>
                </c:pt>
                <c:pt idx="1713">
                  <c:v>0.01</c:v>
                </c:pt>
                <c:pt idx="1714">
                  <c:v>0.61</c:v>
                </c:pt>
                <c:pt idx="1715">
                  <c:v>1.21</c:v>
                </c:pt>
                <c:pt idx="1716">
                  <c:v>-1.2</c:v>
                </c:pt>
                <c:pt idx="1717">
                  <c:v>1.8</c:v>
                </c:pt>
                <c:pt idx="1718">
                  <c:v>-1.2</c:v>
                </c:pt>
                <c:pt idx="1719">
                  <c:v>-1.79</c:v>
                </c:pt>
                <c:pt idx="1720">
                  <c:v>0.61</c:v>
                </c:pt>
                <c:pt idx="1721">
                  <c:v>1.21</c:v>
                </c:pt>
                <c:pt idx="1722">
                  <c:v>-1.2</c:v>
                </c:pt>
                <c:pt idx="1723">
                  <c:v>1.21</c:v>
                </c:pt>
                <c:pt idx="1724">
                  <c:v>1.8</c:v>
                </c:pt>
                <c:pt idx="1725">
                  <c:v>2.4</c:v>
                </c:pt>
                <c:pt idx="1726">
                  <c:v>1.21</c:v>
                </c:pt>
                <c:pt idx="1727">
                  <c:v>-1.2</c:v>
                </c:pt>
                <c:pt idx="1728">
                  <c:v>0.01</c:v>
                </c:pt>
                <c:pt idx="1729">
                  <c:v>1.21</c:v>
                </c:pt>
                <c:pt idx="1730">
                  <c:v>1.8</c:v>
                </c:pt>
                <c:pt idx="1731">
                  <c:v>2.4</c:v>
                </c:pt>
                <c:pt idx="1732">
                  <c:v>2.4</c:v>
                </c:pt>
                <c:pt idx="1733">
                  <c:v>-0.6</c:v>
                </c:pt>
                <c:pt idx="1734">
                  <c:v>-1.2</c:v>
                </c:pt>
                <c:pt idx="1735">
                  <c:v>1.21</c:v>
                </c:pt>
                <c:pt idx="1736">
                  <c:v>1.21</c:v>
                </c:pt>
                <c:pt idx="1737">
                  <c:v>1.21</c:v>
                </c:pt>
                <c:pt idx="1738">
                  <c:v>1.8</c:v>
                </c:pt>
                <c:pt idx="1739">
                  <c:v>-0.6</c:v>
                </c:pt>
                <c:pt idx="1740">
                  <c:v>-0.6</c:v>
                </c:pt>
                <c:pt idx="1741">
                  <c:v>0.01</c:v>
                </c:pt>
                <c:pt idx="1742">
                  <c:v>-0.6</c:v>
                </c:pt>
                <c:pt idx="1743">
                  <c:v>0.01</c:v>
                </c:pt>
                <c:pt idx="1744">
                  <c:v>-0.6</c:v>
                </c:pt>
                <c:pt idx="1745">
                  <c:v>1.21</c:v>
                </c:pt>
                <c:pt idx="1746">
                  <c:v>2.4</c:v>
                </c:pt>
                <c:pt idx="1747">
                  <c:v>-1.79</c:v>
                </c:pt>
                <c:pt idx="1748">
                  <c:v>0.61</c:v>
                </c:pt>
                <c:pt idx="1749">
                  <c:v>-1.2</c:v>
                </c:pt>
                <c:pt idx="1750">
                  <c:v>0.61</c:v>
                </c:pt>
                <c:pt idx="1751">
                  <c:v>0.61</c:v>
                </c:pt>
                <c:pt idx="1752">
                  <c:v>1.8</c:v>
                </c:pt>
                <c:pt idx="1753">
                  <c:v>1.21</c:v>
                </c:pt>
                <c:pt idx="1754">
                  <c:v>0.01</c:v>
                </c:pt>
                <c:pt idx="1755">
                  <c:v>1.8</c:v>
                </c:pt>
                <c:pt idx="1756">
                  <c:v>0.61</c:v>
                </c:pt>
                <c:pt idx="1757">
                  <c:v>3.01</c:v>
                </c:pt>
                <c:pt idx="1758">
                  <c:v>-0.6</c:v>
                </c:pt>
                <c:pt idx="1759">
                  <c:v>1.8</c:v>
                </c:pt>
                <c:pt idx="1760">
                  <c:v>1.8</c:v>
                </c:pt>
                <c:pt idx="1761">
                  <c:v>0.61</c:v>
                </c:pt>
                <c:pt idx="1762">
                  <c:v>0.61</c:v>
                </c:pt>
                <c:pt idx="1763">
                  <c:v>2.4</c:v>
                </c:pt>
                <c:pt idx="1764">
                  <c:v>1.21</c:v>
                </c:pt>
                <c:pt idx="1765">
                  <c:v>0.01</c:v>
                </c:pt>
                <c:pt idx="1766">
                  <c:v>0.61</c:v>
                </c:pt>
                <c:pt idx="1767">
                  <c:v>0.61</c:v>
                </c:pt>
                <c:pt idx="1768">
                  <c:v>-1.2</c:v>
                </c:pt>
                <c:pt idx="1769">
                  <c:v>2.4</c:v>
                </c:pt>
                <c:pt idx="1770">
                  <c:v>-1.2</c:v>
                </c:pt>
                <c:pt idx="1771">
                  <c:v>1.21</c:v>
                </c:pt>
                <c:pt idx="1772">
                  <c:v>0.61</c:v>
                </c:pt>
                <c:pt idx="1773">
                  <c:v>-1.2</c:v>
                </c:pt>
                <c:pt idx="1774">
                  <c:v>0.61</c:v>
                </c:pt>
                <c:pt idx="1775">
                  <c:v>1.21</c:v>
                </c:pt>
                <c:pt idx="1776">
                  <c:v>0.01</c:v>
                </c:pt>
                <c:pt idx="1777">
                  <c:v>2.4</c:v>
                </c:pt>
                <c:pt idx="1778">
                  <c:v>1.21</c:v>
                </c:pt>
                <c:pt idx="1779">
                  <c:v>1.21</c:v>
                </c:pt>
                <c:pt idx="1780">
                  <c:v>1.21</c:v>
                </c:pt>
                <c:pt idx="1781">
                  <c:v>1.8</c:v>
                </c:pt>
                <c:pt idx="1782">
                  <c:v>1.8</c:v>
                </c:pt>
                <c:pt idx="1783">
                  <c:v>0.61</c:v>
                </c:pt>
                <c:pt idx="1784">
                  <c:v>1.21</c:v>
                </c:pt>
                <c:pt idx="1785">
                  <c:v>2.4</c:v>
                </c:pt>
                <c:pt idx="1786">
                  <c:v>1.21</c:v>
                </c:pt>
                <c:pt idx="1787">
                  <c:v>1.21</c:v>
                </c:pt>
                <c:pt idx="1788">
                  <c:v>1.8</c:v>
                </c:pt>
                <c:pt idx="1789">
                  <c:v>2.4</c:v>
                </c:pt>
                <c:pt idx="1790">
                  <c:v>1.8</c:v>
                </c:pt>
                <c:pt idx="1791">
                  <c:v>0.61</c:v>
                </c:pt>
                <c:pt idx="1792">
                  <c:v>2.4</c:v>
                </c:pt>
                <c:pt idx="1793">
                  <c:v>1.21</c:v>
                </c:pt>
                <c:pt idx="1794">
                  <c:v>3.01</c:v>
                </c:pt>
                <c:pt idx="1795">
                  <c:v>1.21</c:v>
                </c:pt>
                <c:pt idx="1796">
                  <c:v>1.8</c:v>
                </c:pt>
                <c:pt idx="1797">
                  <c:v>1.21</c:v>
                </c:pt>
                <c:pt idx="1798">
                  <c:v>0.61</c:v>
                </c:pt>
                <c:pt idx="1799">
                  <c:v>1.8</c:v>
                </c:pt>
                <c:pt idx="1800">
                  <c:v>1.21</c:v>
                </c:pt>
                <c:pt idx="1801">
                  <c:v>1.8</c:v>
                </c:pt>
                <c:pt idx="1802">
                  <c:v>-1.2</c:v>
                </c:pt>
                <c:pt idx="1803">
                  <c:v>2.4</c:v>
                </c:pt>
                <c:pt idx="1804">
                  <c:v>3.01</c:v>
                </c:pt>
                <c:pt idx="1805">
                  <c:v>1.8</c:v>
                </c:pt>
                <c:pt idx="1806">
                  <c:v>-1.2</c:v>
                </c:pt>
                <c:pt idx="1807">
                  <c:v>3.61</c:v>
                </c:pt>
                <c:pt idx="1808">
                  <c:v>3.61</c:v>
                </c:pt>
                <c:pt idx="1809">
                  <c:v>0.01</c:v>
                </c:pt>
                <c:pt idx="1810">
                  <c:v>-1.2</c:v>
                </c:pt>
                <c:pt idx="1811">
                  <c:v>0.61</c:v>
                </c:pt>
                <c:pt idx="1812">
                  <c:v>1.21</c:v>
                </c:pt>
                <c:pt idx="1813">
                  <c:v>0.01</c:v>
                </c:pt>
                <c:pt idx="1814">
                  <c:v>-0.6</c:v>
                </c:pt>
                <c:pt idx="1815">
                  <c:v>3.01</c:v>
                </c:pt>
                <c:pt idx="1816">
                  <c:v>0.01</c:v>
                </c:pt>
                <c:pt idx="1817">
                  <c:v>1.21</c:v>
                </c:pt>
                <c:pt idx="1818">
                  <c:v>1.8</c:v>
                </c:pt>
                <c:pt idx="1819">
                  <c:v>0.01</c:v>
                </c:pt>
                <c:pt idx="1820">
                  <c:v>1.8</c:v>
                </c:pt>
                <c:pt idx="1821">
                  <c:v>0.01</c:v>
                </c:pt>
                <c:pt idx="1822">
                  <c:v>0.61</c:v>
                </c:pt>
                <c:pt idx="1823">
                  <c:v>0.01</c:v>
                </c:pt>
                <c:pt idx="1824">
                  <c:v>3.01</c:v>
                </c:pt>
                <c:pt idx="1825">
                  <c:v>0.61</c:v>
                </c:pt>
                <c:pt idx="1826">
                  <c:v>1.21</c:v>
                </c:pt>
                <c:pt idx="1827">
                  <c:v>3.01</c:v>
                </c:pt>
                <c:pt idx="1828">
                  <c:v>0.01</c:v>
                </c:pt>
                <c:pt idx="1829">
                  <c:v>0.01</c:v>
                </c:pt>
                <c:pt idx="1830">
                  <c:v>0.61</c:v>
                </c:pt>
                <c:pt idx="1831">
                  <c:v>0.61</c:v>
                </c:pt>
                <c:pt idx="1832">
                  <c:v>0.01</c:v>
                </c:pt>
                <c:pt idx="1833">
                  <c:v>1.21</c:v>
                </c:pt>
                <c:pt idx="1834">
                  <c:v>1.8</c:v>
                </c:pt>
                <c:pt idx="1835">
                  <c:v>3.01</c:v>
                </c:pt>
                <c:pt idx="1836">
                  <c:v>0.61</c:v>
                </c:pt>
                <c:pt idx="1837">
                  <c:v>1.21</c:v>
                </c:pt>
                <c:pt idx="1838">
                  <c:v>0.61</c:v>
                </c:pt>
                <c:pt idx="1839">
                  <c:v>2.4</c:v>
                </c:pt>
                <c:pt idx="1840">
                  <c:v>3.61</c:v>
                </c:pt>
                <c:pt idx="1841">
                  <c:v>2.4</c:v>
                </c:pt>
                <c:pt idx="1842">
                  <c:v>0.01</c:v>
                </c:pt>
                <c:pt idx="1843">
                  <c:v>-0.6</c:v>
                </c:pt>
                <c:pt idx="1844">
                  <c:v>0.61</c:v>
                </c:pt>
                <c:pt idx="1845">
                  <c:v>0.01</c:v>
                </c:pt>
                <c:pt idx="1846">
                  <c:v>2.4</c:v>
                </c:pt>
                <c:pt idx="1847">
                  <c:v>1.21</c:v>
                </c:pt>
                <c:pt idx="1848">
                  <c:v>2.4</c:v>
                </c:pt>
                <c:pt idx="1849">
                  <c:v>-0.6</c:v>
                </c:pt>
                <c:pt idx="1850">
                  <c:v>1.8</c:v>
                </c:pt>
                <c:pt idx="1851">
                  <c:v>-0.6</c:v>
                </c:pt>
                <c:pt idx="1852">
                  <c:v>1.8</c:v>
                </c:pt>
                <c:pt idx="1853">
                  <c:v>2.4</c:v>
                </c:pt>
                <c:pt idx="1854">
                  <c:v>1.21</c:v>
                </c:pt>
                <c:pt idx="1855">
                  <c:v>0.61</c:v>
                </c:pt>
                <c:pt idx="1856">
                  <c:v>3.01</c:v>
                </c:pt>
                <c:pt idx="1857">
                  <c:v>2.4</c:v>
                </c:pt>
                <c:pt idx="1858">
                  <c:v>0.61</c:v>
                </c:pt>
                <c:pt idx="1859">
                  <c:v>2.4</c:v>
                </c:pt>
                <c:pt idx="1860">
                  <c:v>0.01</c:v>
                </c:pt>
                <c:pt idx="1861">
                  <c:v>1.8</c:v>
                </c:pt>
                <c:pt idx="1862">
                  <c:v>0.61</c:v>
                </c:pt>
                <c:pt idx="1863">
                  <c:v>1.21</c:v>
                </c:pt>
                <c:pt idx="1864">
                  <c:v>3.61</c:v>
                </c:pt>
                <c:pt idx="1865">
                  <c:v>3.01</c:v>
                </c:pt>
                <c:pt idx="1866">
                  <c:v>1.8</c:v>
                </c:pt>
                <c:pt idx="1867">
                  <c:v>1.21</c:v>
                </c:pt>
                <c:pt idx="1868">
                  <c:v>2.4</c:v>
                </c:pt>
                <c:pt idx="1869">
                  <c:v>1.21</c:v>
                </c:pt>
                <c:pt idx="1870">
                  <c:v>1.21</c:v>
                </c:pt>
                <c:pt idx="1871">
                  <c:v>0.01</c:v>
                </c:pt>
                <c:pt idx="1872">
                  <c:v>1.8</c:v>
                </c:pt>
                <c:pt idx="1873">
                  <c:v>0.61</c:v>
                </c:pt>
                <c:pt idx="1874">
                  <c:v>0.61</c:v>
                </c:pt>
                <c:pt idx="1875">
                  <c:v>3.01</c:v>
                </c:pt>
                <c:pt idx="1876">
                  <c:v>3.01</c:v>
                </c:pt>
                <c:pt idx="1877">
                  <c:v>1.21</c:v>
                </c:pt>
                <c:pt idx="1878">
                  <c:v>0.01</c:v>
                </c:pt>
                <c:pt idx="1879">
                  <c:v>1.21</c:v>
                </c:pt>
                <c:pt idx="1880">
                  <c:v>0.61</c:v>
                </c:pt>
                <c:pt idx="1881">
                  <c:v>1.21</c:v>
                </c:pt>
                <c:pt idx="1882">
                  <c:v>2.4</c:v>
                </c:pt>
                <c:pt idx="1883">
                  <c:v>3.01</c:v>
                </c:pt>
                <c:pt idx="1884">
                  <c:v>1.8</c:v>
                </c:pt>
                <c:pt idx="1885">
                  <c:v>0.01</c:v>
                </c:pt>
                <c:pt idx="1886">
                  <c:v>3.61</c:v>
                </c:pt>
                <c:pt idx="1887">
                  <c:v>0.01</c:v>
                </c:pt>
                <c:pt idx="1888">
                  <c:v>1.8</c:v>
                </c:pt>
                <c:pt idx="1889">
                  <c:v>1.21</c:v>
                </c:pt>
                <c:pt idx="1890">
                  <c:v>3.01</c:v>
                </c:pt>
                <c:pt idx="1891">
                  <c:v>2.4</c:v>
                </c:pt>
                <c:pt idx="1892">
                  <c:v>0.61</c:v>
                </c:pt>
                <c:pt idx="1893">
                  <c:v>1.8</c:v>
                </c:pt>
                <c:pt idx="1894">
                  <c:v>0.01</c:v>
                </c:pt>
                <c:pt idx="1895">
                  <c:v>3.01</c:v>
                </c:pt>
                <c:pt idx="1896">
                  <c:v>1.8</c:v>
                </c:pt>
                <c:pt idx="1897">
                  <c:v>0.61</c:v>
                </c:pt>
                <c:pt idx="1898">
                  <c:v>3.01</c:v>
                </c:pt>
                <c:pt idx="1899">
                  <c:v>1.21</c:v>
                </c:pt>
                <c:pt idx="1900">
                  <c:v>0.01</c:v>
                </c:pt>
                <c:pt idx="1901">
                  <c:v>-0.6</c:v>
                </c:pt>
                <c:pt idx="1902">
                  <c:v>1.21</c:v>
                </c:pt>
                <c:pt idx="1903">
                  <c:v>3.01</c:v>
                </c:pt>
                <c:pt idx="1904">
                  <c:v>1.21</c:v>
                </c:pt>
                <c:pt idx="1905">
                  <c:v>0.61</c:v>
                </c:pt>
                <c:pt idx="1906">
                  <c:v>1.8</c:v>
                </c:pt>
                <c:pt idx="1907">
                  <c:v>1.21</c:v>
                </c:pt>
                <c:pt idx="1908">
                  <c:v>1.8</c:v>
                </c:pt>
                <c:pt idx="1909">
                  <c:v>1.8</c:v>
                </c:pt>
                <c:pt idx="1910">
                  <c:v>1.8</c:v>
                </c:pt>
                <c:pt idx="1911">
                  <c:v>1.8</c:v>
                </c:pt>
                <c:pt idx="1912">
                  <c:v>0.01</c:v>
                </c:pt>
                <c:pt idx="1913">
                  <c:v>3.01</c:v>
                </c:pt>
                <c:pt idx="1914">
                  <c:v>0.01</c:v>
                </c:pt>
                <c:pt idx="1915">
                  <c:v>0.61</c:v>
                </c:pt>
                <c:pt idx="1916">
                  <c:v>3.01</c:v>
                </c:pt>
                <c:pt idx="1917">
                  <c:v>0.61</c:v>
                </c:pt>
                <c:pt idx="1918">
                  <c:v>1.21</c:v>
                </c:pt>
                <c:pt idx="1919">
                  <c:v>0.01</c:v>
                </c:pt>
                <c:pt idx="1920">
                  <c:v>1.8</c:v>
                </c:pt>
                <c:pt idx="1921">
                  <c:v>0.61</c:v>
                </c:pt>
                <c:pt idx="1922">
                  <c:v>0.61</c:v>
                </c:pt>
                <c:pt idx="1923">
                  <c:v>1.8</c:v>
                </c:pt>
                <c:pt idx="1924">
                  <c:v>2.4</c:v>
                </c:pt>
                <c:pt idx="1925">
                  <c:v>1.8</c:v>
                </c:pt>
                <c:pt idx="1926">
                  <c:v>1.21</c:v>
                </c:pt>
                <c:pt idx="1927">
                  <c:v>0.01</c:v>
                </c:pt>
                <c:pt idx="1928">
                  <c:v>1.21</c:v>
                </c:pt>
                <c:pt idx="1929">
                  <c:v>3.61</c:v>
                </c:pt>
                <c:pt idx="1930">
                  <c:v>-1.79</c:v>
                </c:pt>
                <c:pt idx="1931">
                  <c:v>0.01</c:v>
                </c:pt>
                <c:pt idx="1932">
                  <c:v>0.01</c:v>
                </c:pt>
                <c:pt idx="1933">
                  <c:v>0.01</c:v>
                </c:pt>
                <c:pt idx="1934">
                  <c:v>2.4</c:v>
                </c:pt>
                <c:pt idx="1935">
                  <c:v>1.21</c:v>
                </c:pt>
                <c:pt idx="1936">
                  <c:v>2.4</c:v>
                </c:pt>
                <c:pt idx="1937">
                  <c:v>1.21</c:v>
                </c:pt>
                <c:pt idx="1938">
                  <c:v>-0.6</c:v>
                </c:pt>
                <c:pt idx="1939">
                  <c:v>0.01</c:v>
                </c:pt>
                <c:pt idx="1940">
                  <c:v>-0.6</c:v>
                </c:pt>
                <c:pt idx="1941">
                  <c:v>0.61</c:v>
                </c:pt>
                <c:pt idx="1942">
                  <c:v>2.4</c:v>
                </c:pt>
                <c:pt idx="1943">
                  <c:v>1.21</c:v>
                </c:pt>
                <c:pt idx="1944">
                  <c:v>3.61</c:v>
                </c:pt>
                <c:pt idx="1945">
                  <c:v>2.4</c:v>
                </c:pt>
                <c:pt idx="1946">
                  <c:v>3.61</c:v>
                </c:pt>
                <c:pt idx="1947">
                  <c:v>1.21</c:v>
                </c:pt>
                <c:pt idx="1948">
                  <c:v>1.21</c:v>
                </c:pt>
                <c:pt idx="1949">
                  <c:v>2.4</c:v>
                </c:pt>
                <c:pt idx="1950">
                  <c:v>1.21</c:v>
                </c:pt>
                <c:pt idx="1951">
                  <c:v>1.8</c:v>
                </c:pt>
                <c:pt idx="1952">
                  <c:v>0.01</c:v>
                </c:pt>
                <c:pt idx="1953">
                  <c:v>-0.6</c:v>
                </c:pt>
                <c:pt idx="1954">
                  <c:v>-1.79</c:v>
                </c:pt>
                <c:pt idx="1955">
                  <c:v>2.4</c:v>
                </c:pt>
                <c:pt idx="1956">
                  <c:v>1.8</c:v>
                </c:pt>
                <c:pt idx="1957">
                  <c:v>0.01</c:v>
                </c:pt>
                <c:pt idx="1958">
                  <c:v>3.01</c:v>
                </c:pt>
                <c:pt idx="1959">
                  <c:v>2.4</c:v>
                </c:pt>
                <c:pt idx="1960">
                  <c:v>1.21</c:v>
                </c:pt>
                <c:pt idx="1961">
                  <c:v>0.61</c:v>
                </c:pt>
                <c:pt idx="1962">
                  <c:v>0.61</c:v>
                </c:pt>
                <c:pt idx="1963">
                  <c:v>-1.2</c:v>
                </c:pt>
                <c:pt idx="1964">
                  <c:v>-1.2</c:v>
                </c:pt>
                <c:pt idx="1965">
                  <c:v>0.01</c:v>
                </c:pt>
                <c:pt idx="1966">
                  <c:v>0.61</c:v>
                </c:pt>
                <c:pt idx="1967">
                  <c:v>-1.2</c:v>
                </c:pt>
                <c:pt idx="1968">
                  <c:v>2.4</c:v>
                </c:pt>
                <c:pt idx="1969">
                  <c:v>3.01</c:v>
                </c:pt>
                <c:pt idx="1970">
                  <c:v>0.61</c:v>
                </c:pt>
                <c:pt idx="1971">
                  <c:v>1.21</c:v>
                </c:pt>
                <c:pt idx="1972">
                  <c:v>1.21</c:v>
                </c:pt>
                <c:pt idx="1973">
                  <c:v>1.21</c:v>
                </c:pt>
                <c:pt idx="1974">
                  <c:v>3.01</c:v>
                </c:pt>
                <c:pt idx="1975">
                  <c:v>1.8</c:v>
                </c:pt>
                <c:pt idx="1976">
                  <c:v>3.01</c:v>
                </c:pt>
                <c:pt idx="1977">
                  <c:v>2.4</c:v>
                </c:pt>
                <c:pt idx="1978">
                  <c:v>1.21</c:v>
                </c:pt>
                <c:pt idx="1979">
                  <c:v>1.8</c:v>
                </c:pt>
                <c:pt idx="1980">
                  <c:v>1.21</c:v>
                </c:pt>
                <c:pt idx="1981">
                  <c:v>2.4</c:v>
                </c:pt>
                <c:pt idx="1982">
                  <c:v>0.61</c:v>
                </c:pt>
                <c:pt idx="1983">
                  <c:v>2.4</c:v>
                </c:pt>
                <c:pt idx="1984">
                  <c:v>3.61</c:v>
                </c:pt>
                <c:pt idx="1985">
                  <c:v>0.61</c:v>
                </c:pt>
                <c:pt idx="1986">
                  <c:v>1.8</c:v>
                </c:pt>
                <c:pt idx="1987">
                  <c:v>1.8</c:v>
                </c:pt>
                <c:pt idx="1988">
                  <c:v>0.01</c:v>
                </c:pt>
                <c:pt idx="1989">
                  <c:v>5.4</c:v>
                </c:pt>
                <c:pt idx="1990">
                  <c:v>2.4</c:v>
                </c:pt>
                <c:pt idx="1991">
                  <c:v>1.21</c:v>
                </c:pt>
                <c:pt idx="1992">
                  <c:v>0.01</c:v>
                </c:pt>
                <c:pt idx="1993">
                  <c:v>1.21</c:v>
                </c:pt>
                <c:pt idx="1994">
                  <c:v>0.61</c:v>
                </c:pt>
                <c:pt idx="1995">
                  <c:v>1.21</c:v>
                </c:pt>
                <c:pt idx="1996">
                  <c:v>0.61</c:v>
                </c:pt>
                <c:pt idx="1997">
                  <c:v>1.8</c:v>
                </c:pt>
                <c:pt idx="1998">
                  <c:v>0.61</c:v>
                </c:pt>
                <c:pt idx="1999">
                  <c:v>2.4</c:v>
                </c:pt>
                <c:pt idx="2000">
                  <c:v>1.21</c:v>
                </c:pt>
                <c:pt idx="2001">
                  <c:v>3.01</c:v>
                </c:pt>
                <c:pt idx="2002">
                  <c:v>1.8</c:v>
                </c:pt>
                <c:pt idx="2003">
                  <c:v>1.21</c:v>
                </c:pt>
                <c:pt idx="2004">
                  <c:v>1.21</c:v>
                </c:pt>
                <c:pt idx="2005">
                  <c:v>0.61</c:v>
                </c:pt>
                <c:pt idx="2006">
                  <c:v>0.61</c:v>
                </c:pt>
                <c:pt idx="2007">
                  <c:v>2.4</c:v>
                </c:pt>
                <c:pt idx="2008">
                  <c:v>3.01</c:v>
                </c:pt>
                <c:pt idx="2009">
                  <c:v>0.61</c:v>
                </c:pt>
                <c:pt idx="2010">
                  <c:v>1.21</c:v>
                </c:pt>
                <c:pt idx="2011">
                  <c:v>3.01</c:v>
                </c:pt>
                <c:pt idx="2012">
                  <c:v>1.21</c:v>
                </c:pt>
                <c:pt idx="2013">
                  <c:v>1.8</c:v>
                </c:pt>
                <c:pt idx="2014">
                  <c:v>1.8</c:v>
                </c:pt>
                <c:pt idx="2015">
                  <c:v>1.8</c:v>
                </c:pt>
                <c:pt idx="2016">
                  <c:v>3.01</c:v>
                </c:pt>
                <c:pt idx="2017">
                  <c:v>1.8</c:v>
                </c:pt>
                <c:pt idx="2018">
                  <c:v>0.61</c:v>
                </c:pt>
                <c:pt idx="2019">
                  <c:v>0.01</c:v>
                </c:pt>
                <c:pt idx="2020">
                  <c:v>2.4</c:v>
                </c:pt>
                <c:pt idx="2021">
                  <c:v>0.01</c:v>
                </c:pt>
                <c:pt idx="2022">
                  <c:v>0.61</c:v>
                </c:pt>
                <c:pt idx="2023">
                  <c:v>1.8</c:v>
                </c:pt>
                <c:pt idx="2024">
                  <c:v>2.4</c:v>
                </c:pt>
                <c:pt idx="2025">
                  <c:v>0.61</c:v>
                </c:pt>
                <c:pt idx="2026">
                  <c:v>1.8</c:v>
                </c:pt>
                <c:pt idx="2027">
                  <c:v>2.4</c:v>
                </c:pt>
                <c:pt idx="2028">
                  <c:v>3.61</c:v>
                </c:pt>
                <c:pt idx="2029">
                  <c:v>1.21</c:v>
                </c:pt>
                <c:pt idx="2030">
                  <c:v>-0.6</c:v>
                </c:pt>
                <c:pt idx="2031">
                  <c:v>3.01</c:v>
                </c:pt>
                <c:pt idx="2032">
                  <c:v>4.21</c:v>
                </c:pt>
                <c:pt idx="2033">
                  <c:v>1.8</c:v>
                </c:pt>
                <c:pt idx="2034">
                  <c:v>1.8</c:v>
                </c:pt>
                <c:pt idx="2035">
                  <c:v>2.4</c:v>
                </c:pt>
                <c:pt idx="2036">
                  <c:v>2.4</c:v>
                </c:pt>
                <c:pt idx="2037">
                  <c:v>1.21</c:v>
                </c:pt>
                <c:pt idx="2038">
                  <c:v>0.61</c:v>
                </c:pt>
                <c:pt idx="2039">
                  <c:v>0.61</c:v>
                </c:pt>
                <c:pt idx="2040">
                  <c:v>1.8</c:v>
                </c:pt>
                <c:pt idx="2041">
                  <c:v>1.21</c:v>
                </c:pt>
                <c:pt idx="2042">
                  <c:v>1.8</c:v>
                </c:pt>
                <c:pt idx="2043">
                  <c:v>2.4</c:v>
                </c:pt>
                <c:pt idx="2044">
                  <c:v>3.01</c:v>
                </c:pt>
                <c:pt idx="2045">
                  <c:v>0.61</c:v>
                </c:pt>
                <c:pt idx="2046">
                  <c:v>0.01</c:v>
                </c:pt>
                <c:pt idx="2047">
                  <c:v>2.4</c:v>
                </c:pt>
                <c:pt idx="2048">
                  <c:v>2.4</c:v>
                </c:pt>
                <c:pt idx="2049">
                  <c:v>1.8</c:v>
                </c:pt>
                <c:pt idx="2050">
                  <c:v>1.8</c:v>
                </c:pt>
                <c:pt idx="2051">
                  <c:v>2.4</c:v>
                </c:pt>
                <c:pt idx="2052">
                  <c:v>-0.6</c:v>
                </c:pt>
                <c:pt idx="2053">
                  <c:v>2.4</c:v>
                </c:pt>
                <c:pt idx="2054">
                  <c:v>1.8</c:v>
                </c:pt>
                <c:pt idx="2055">
                  <c:v>0.61</c:v>
                </c:pt>
                <c:pt idx="2056">
                  <c:v>-1.2</c:v>
                </c:pt>
                <c:pt idx="2057">
                  <c:v>-0.6</c:v>
                </c:pt>
                <c:pt idx="2058">
                  <c:v>0.01</c:v>
                </c:pt>
                <c:pt idx="2059">
                  <c:v>1.8</c:v>
                </c:pt>
                <c:pt idx="2060">
                  <c:v>1.21</c:v>
                </c:pt>
                <c:pt idx="2061">
                  <c:v>3.01</c:v>
                </c:pt>
                <c:pt idx="2062">
                  <c:v>-1.2</c:v>
                </c:pt>
                <c:pt idx="2063">
                  <c:v>-0.6</c:v>
                </c:pt>
                <c:pt idx="2064">
                  <c:v>1.8</c:v>
                </c:pt>
                <c:pt idx="2065">
                  <c:v>3.61</c:v>
                </c:pt>
                <c:pt idx="2066">
                  <c:v>-1.2</c:v>
                </c:pt>
                <c:pt idx="2067">
                  <c:v>-0.6</c:v>
                </c:pt>
                <c:pt idx="2068">
                  <c:v>2.4</c:v>
                </c:pt>
                <c:pt idx="2069">
                  <c:v>1.21</c:v>
                </c:pt>
                <c:pt idx="2070">
                  <c:v>1.21</c:v>
                </c:pt>
                <c:pt idx="2071">
                  <c:v>1.8</c:v>
                </c:pt>
                <c:pt idx="2072">
                  <c:v>3.01</c:v>
                </c:pt>
                <c:pt idx="2073">
                  <c:v>3.01</c:v>
                </c:pt>
                <c:pt idx="2074">
                  <c:v>2.4</c:v>
                </c:pt>
                <c:pt idx="2075">
                  <c:v>2.4</c:v>
                </c:pt>
                <c:pt idx="2076">
                  <c:v>3.01</c:v>
                </c:pt>
                <c:pt idx="2077">
                  <c:v>1.21</c:v>
                </c:pt>
                <c:pt idx="2078">
                  <c:v>0.61</c:v>
                </c:pt>
                <c:pt idx="2079">
                  <c:v>1.8</c:v>
                </c:pt>
                <c:pt idx="2080">
                  <c:v>0.61</c:v>
                </c:pt>
                <c:pt idx="2081">
                  <c:v>-0.6</c:v>
                </c:pt>
                <c:pt idx="2082">
                  <c:v>1.8</c:v>
                </c:pt>
                <c:pt idx="2083">
                  <c:v>1.21</c:v>
                </c:pt>
                <c:pt idx="2084">
                  <c:v>0.01</c:v>
                </c:pt>
                <c:pt idx="2085">
                  <c:v>1.8</c:v>
                </c:pt>
                <c:pt idx="2086">
                  <c:v>2.4</c:v>
                </c:pt>
                <c:pt idx="2087">
                  <c:v>2.4</c:v>
                </c:pt>
                <c:pt idx="2088">
                  <c:v>1.21</c:v>
                </c:pt>
                <c:pt idx="2089">
                  <c:v>0.01</c:v>
                </c:pt>
                <c:pt idx="2090">
                  <c:v>0.61</c:v>
                </c:pt>
                <c:pt idx="2091">
                  <c:v>1.8</c:v>
                </c:pt>
                <c:pt idx="2092">
                  <c:v>-1.2</c:v>
                </c:pt>
                <c:pt idx="2093">
                  <c:v>3.01</c:v>
                </c:pt>
                <c:pt idx="2094">
                  <c:v>3.61</c:v>
                </c:pt>
                <c:pt idx="2095">
                  <c:v>2.4</c:v>
                </c:pt>
                <c:pt idx="2096">
                  <c:v>1.8</c:v>
                </c:pt>
                <c:pt idx="2097">
                  <c:v>1.21</c:v>
                </c:pt>
                <c:pt idx="2098">
                  <c:v>0.61</c:v>
                </c:pt>
                <c:pt idx="2099">
                  <c:v>0.01</c:v>
                </c:pt>
                <c:pt idx="2100">
                  <c:v>1.21</c:v>
                </c:pt>
                <c:pt idx="2101">
                  <c:v>1.21</c:v>
                </c:pt>
                <c:pt idx="2102">
                  <c:v>1.8</c:v>
                </c:pt>
                <c:pt idx="2103">
                  <c:v>1.8</c:v>
                </c:pt>
                <c:pt idx="2104">
                  <c:v>3.01</c:v>
                </c:pt>
                <c:pt idx="2105">
                  <c:v>1.21</c:v>
                </c:pt>
                <c:pt idx="2106">
                  <c:v>1.8</c:v>
                </c:pt>
                <c:pt idx="2107">
                  <c:v>0.01</c:v>
                </c:pt>
                <c:pt idx="2108">
                  <c:v>1.8</c:v>
                </c:pt>
                <c:pt idx="2109">
                  <c:v>2.4</c:v>
                </c:pt>
                <c:pt idx="2110">
                  <c:v>2.4</c:v>
                </c:pt>
                <c:pt idx="2111">
                  <c:v>1.8</c:v>
                </c:pt>
                <c:pt idx="2112">
                  <c:v>1.8</c:v>
                </c:pt>
                <c:pt idx="2113">
                  <c:v>1.8</c:v>
                </c:pt>
                <c:pt idx="2114">
                  <c:v>3.01</c:v>
                </c:pt>
                <c:pt idx="2115">
                  <c:v>1.8</c:v>
                </c:pt>
                <c:pt idx="2116">
                  <c:v>3.01</c:v>
                </c:pt>
                <c:pt idx="2117">
                  <c:v>0.61</c:v>
                </c:pt>
                <c:pt idx="2118">
                  <c:v>0.61</c:v>
                </c:pt>
                <c:pt idx="2119">
                  <c:v>1.21</c:v>
                </c:pt>
                <c:pt idx="2120">
                  <c:v>-0.6</c:v>
                </c:pt>
                <c:pt idx="2121">
                  <c:v>1.21</c:v>
                </c:pt>
                <c:pt idx="2122">
                  <c:v>-0.6</c:v>
                </c:pt>
                <c:pt idx="2123">
                  <c:v>2.4</c:v>
                </c:pt>
                <c:pt idx="2124">
                  <c:v>2.4</c:v>
                </c:pt>
                <c:pt idx="2125">
                  <c:v>1.21</c:v>
                </c:pt>
                <c:pt idx="2126">
                  <c:v>2.4</c:v>
                </c:pt>
                <c:pt idx="2127">
                  <c:v>1.21</c:v>
                </c:pt>
                <c:pt idx="2128">
                  <c:v>1.8</c:v>
                </c:pt>
                <c:pt idx="2129">
                  <c:v>3.01</c:v>
                </c:pt>
                <c:pt idx="2130">
                  <c:v>2.4</c:v>
                </c:pt>
                <c:pt idx="2131">
                  <c:v>0.61</c:v>
                </c:pt>
                <c:pt idx="2132">
                  <c:v>0.01</c:v>
                </c:pt>
                <c:pt idx="2133">
                  <c:v>3.01</c:v>
                </c:pt>
                <c:pt idx="2134">
                  <c:v>0.61</c:v>
                </c:pt>
                <c:pt idx="2135">
                  <c:v>2.4</c:v>
                </c:pt>
                <c:pt idx="2136">
                  <c:v>3.01</c:v>
                </c:pt>
                <c:pt idx="2137">
                  <c:v>3.01</c:v>
                </c:pt>
                <c:pt idx="2138">
                  <c:v>1.8</c:v>
                </c:pt>
                <c:pt idx="2139">
                  <c:v>1.8</c:v>
                </c:pt>
                <c:pt idx="2140">
                  <c:v>0.01</c:v>
                </c:pt>
                <c:pt idx="2141">
                  <c:v>1.21</c:v>
                </c:pt>
                <c:pt idx="2142">
                  <c:v>1.21</c:v>
                </c:pt>
                <c:pt idx="2143">
                  <c:v>1.21</c:v>
                </c:pt>
                <c:pt idx="2144">
                  <c:v>1.21</c:v>
                </c:pt>
                <c:pt idx="2145">
                  <c:v>1.8</c:v>
                </c:pt>
                <c:pt idx="2146">
                  <c:v>0.01</c:v>
                </c:pt>
                <c:pt idx="2147">
                  <c:v>1.21</c:v>
                </c:pt>
                <c:pt idx="2148">
                  <c:v>1.8</c:v>
                </c:pt>
                <c:pt idx="2149">
                  <c:v>1.21</c:v>
                </c:pt>
                <c:pt idx="2150">
                  <c:v>0.61</c:v>
                </c:pt>
                <c:pt idx="2151">
                  <c:v>4.21</c:v>
                </c:pt>
                <c:pt idx="2152">
                  <c:v>1.8</c:v>
                </c:pt>
                <c:pt idx="2153">
                  <c:v>1.8</c:v>
                </c:pt>
                <c:pt idx="2154">
                  <c:v>0.61</c:v>
                </c:pt>
                <c:pt idx="2155">
                  <c:v>1.21</c:v>
                </c:pt>
                <c:pt idx="2156">
                  <c:v>1.8</c:v>
                </c:pt>
                <c:pt idx="2157">
                  <c:v>1.21</c:v>
                </c:pt>
                <c:pt idx="2158">
                  <c:v>3.61</c:v>
                </c:pt>
                <c:pt idx="2159">
                  <c:v>1.21</c:v>
                </c:pt>
                <c:pt idx="2160">
                  <c:v>3.01</c:v>
                </c:pt>
                <c:pt idx="2161">
                  <c:v>1.21</c:v>
                </c:pt>
                <c:pt idx="2162">
                  <c:v>1.21</c:v>
                </c:pt>
                <c:pt idx="2163">
                  <c:v>1.21</c:v>
                </c:pt>
                <c:pt idx="2164">
                  <c:v>1.8</c:v>
                </c:pt>
                <c:pt idx="2165">
                  <c:v>1.21</c:v>
                </c:pt>
                <c:pt idx="2166">
                  <c:v>1.21</c:v>
                </c:pt>
                <c:pt idx="2167">
                  <c:v>1.8</c:v>
                </c:pt>
                <c:pt idx="2168">
                  <c:v>3.01</c:v>
                </c:pt>
                <c:pt idx="2169">
                  <c:v>1.8</c:v>
                </c:pt>
                <c:pt idx="2170">
                  <c:v>1.21</c:v>
                </c:pt>
                <c:pt idx="2171">
                  <c:v>3.01</c:v>
                </c:pt>
                <c:pt idx="2172">
                  <c:v>3.01</c:v>
                </c:pt>
                <c:pt idx="2173">
                  <c:v>2.4</c:v>
                </c:pt>
                <c:pt idx="2174">
                  <c:v>0.61</c:v>
                </c:pt>
                <c:pt idx="2175">
                  <c:v>1.21</c:v>
                </c:pt>
                <c:pt idx="2176">
                  <c:v>0.61</c:v>
                </c:pt>
                <c:pt idx="2177">
                  <c:v>4.21</c:v>
                </c:pt>
                <c:pt idx="2178">
                  <c:v>3.01</c:v>
                </c:pt>
                <c:pt idx="2179">
                  <c:v>2.4</c:v>
                </c:pt>
                <c:pt idx="2180">
                  <c:v>1.8</c:v>
                </c:pt>
                <c:pt idx="2181">
                  <c:v>1.8</c:v>
                </c:pt>
                <c:pt idx="2182">
                  <c:v>-0.6</c:v>
                </c:pt>
                <c:pt idx="2183">
                  <c:v>2.4</c:v>
                </c:pt>
                <c:pt idx="2184">
                  <c:v>1.21</c:v>
                </c:pt>
                <c:pt idx="2185">
                  <c:v>2.4</c:v>
                </c:pt>
                <c:pt idx="2186">
                  <c:v>3.61</c:v>
                </c:pt>
                <c:pt idx="2187">
                  <c:v>1.8</c:v>
                </c:pt>
                <c:pt idx="2188">
                  <c:v>4.8</c:v>
                </c:pt>
                <c:pt idx="2189">
                  <c:v>4.8</c:v>
                </c:pt>
                <c:pt idx="2190">
                  <c:v>1.8</c:v>
                </c:pt>
                <c:pt idx="2191">
                  <c:v>1.21</c:v>
                </c:pt>
                <c:pt idx="2192">
                  <c:v>1.21</c:v>
                </c:pt>
                <c:pt idx="2193">
                  <c:v>0.61</c:v>
                </c:pt>
                <c:pt idx="2194">
                  <c:v>3.61</c:v>
                </c:pt>
                <c:pt idx="2195">
                  <c:v>2.4</c:v>
                </c:pt>
                <c:pt idx="2196">
                  <c:v>1.21</c:v>
                </c:pt>
                <c:pt idx="2197">
                  <c:v>1.8</c:v>
                </c:pt>
                <c:pt idx="2198">
                  <c:v>1.8</c:v>
                </c:pt>
                <c:pt idx="2199">
                  <c:v>3.01</c:v>
                </c:pt>
                <c:pt idx="2200">
                  <c:v>1.8</c:v>
                </c:pt>
                <c:pt idx="2201">
                  <c:v>-1.2</c:v>
                </c:pt>
                <c:pt idx="2202">
                  <c:v>0.61</c:v>
                </c:pt>
                <c:pt idx="2203">
                  <c:v>3.01</c:v>
                </c:pt>
                <c:pt idx="2204">
                  <c:v>1.8</c:v>
                </c:pt>
                <c:pt idx="2205">
                  <c:v>1.21</c:v>
                </c:pt>
                <c:pt idx="2206">
                  <c:v>0.61</c:v>
                </c:pt>
                <c:pt idx="2207">
                  <c:v>0.61</c:v>
                </c:pt>
                <c:pt idx="2208">
                  <c:v>1.8</c:v>
                </c:pt>
                <c:pt idx="2209">
                  <c:v>3.01</c:v>
                </c:pt>
                <c:pt idx="2210">
                  <c:v>1.8</c:v>
                </c:pt>
                <c:pt idx="2211">
                  <c:v>3.01</c:v>
                </c:pt>
                <c:pt idx="2212">
                  <c:v>1.8</c:v>
                </c:pt>
                <c:pt idx="2213">
                  <c:v>3.01</c:v>
                </c:pt>
                <c:pt idx="2214">
                  <c:v>2.4</c:v>
                </c:pt>
                <c:pt idx="2215">
                  <c:v>3.01</c:v>
                </c:pt>
                <c:pt idx="2216">
                  <c:v>3.01</c:v>
                </c:pt>
                <c:pt idx="2217">
                  <c:v>1.8</c:v>
                </c:pt>
                <c:pt idx="2218">
                  <c:v>3.01</c:v>
                </c:pt>
                <c:pt idx="2219">
                  <c:v>0.01</c:v>
                </c:pt>
                <c:pt idx="2220">
                  <c:v>0.61</c:v>
                </c:pt>
                <c:pt idx="2221">
                  <c:v>1.8</c:v>
                </c:pt>
                <c:pt idx="2222">
                  <c:v>4.21</c:v>
                </c:pt>
                <c:pt idx="2223">
                  <c:v>1.21</c:v>
                </c:pt>
                <c:pt idx="2224">
                  <c:v>2.4</c:v>
                </c:pt>
                <c:pt idx="2225">
                  <c:v>1.21</c:v>
                </c:pt>
                <c:pt idx="2226">
                  <c:v>2.4</c:v>
                </c:pt>
                <c:pt idx="2227">
                  <c:v>3.01</c:v>
                </c:pt>
                <c:pt idx="2228">
                  <c:v>2.4</c:v>
                </c:pt>
                <c:pt idx="2229">
                  <c:v>2.4</c:v>
                </c:pt>
                <c:pt idx="2230">
                  <c:v>2.4</c:v>
                </c:pt>
                <c:pt idx="2231">
                  <c:v>0.61</c:v>
                </c:pt>
                <c:pt idx="2232">
                  <c:v>2.4</c:v>
                </c:pt>
                <c:pt idx="2233">
                  <c:v>2.4</c:v>
                </c:pt>
                <c:pt idx="2234">
                  <c:v>3.01</c:v>
                </c:pt>
                <c:pt idx="2235">
                  <c:v>2.4</c:v>
                </c:pt>
                <c:pt idx="2236">
                  <c:v>2.4</c:v>
                </c:pt>
                <c:pt idx="2237">
                  <c:v>3.01</c:v>
                </c:pt>
                <c:pt idx="2238">
                  <c:v>0.01</c:v>
                </c:pt>
                <c:pt idx="2239">
                  <c:v>2.4</c:v>
                </c:pt>
                <c:pt idx="2240">
                  <c:v>1.21</c:v>
                </c:pt>
                <c:pt idx="2241">
                  <c:v>3.01</c:v>
                </c:pt>
                <c:pt idx="2242">
                  <c:v>3.61</c:v>
                </c:pt>
                <c:pt idx="2243">
                  <c:v>3.01</c:v>
                </c:pt>
                <c:pt idx="2244">
                  <c:v>0.61</c:v>
                </c:pt>
                <c:pt idx="2245">
                  <c:v>1.21</c:v>
                </c:pt>
                <c:pt idx="2246">
                  <c:v>3.01</c:v>
                </c:pt>
                <c:pt idx="2247">
                  <c:v>1.8</c:v>
                </c:pt>
                <c:pt idx="2248">
                  <c:v>3.61</c:v>
                </c:pt>
                <c:pt idx="2249">
                  <c:v>2.4</c:v>
                </c:pt>
                <c:pt idx="2250">
                  <c:v>1.21</c:v>
                </c:pt>
                <c:pt idx="2251">
                  <c:v>0.01</c:v>
                </c:pt>
                <c:pt idx="2252">
                  <c:v>1.21</c:v>
                </c:pt>
                <c:pt idx="2253">
                  <c:v>2.4</c:v>
                </c:pt>
                <c:pt idx="2254">
                  <c:v>3.01</c:v>
                </c:pt>
                <c:pt idx="2255">
                  <c:v>4.21</c:v>
                </c:pt>
                <c:pt idx="2256">
                  <c:v>1.21</c:v>
                </c:pt>
                <c:pt idx="2257">
                  <c:v>0.61</c:v>
                </c:pt>
                <c:pt idx="2258">
                  <c:v>3.01</c:v>
                </c:pt>
                <c:pt idx="2259">
                  <c:v>-0.6</c:v>
                </c:pt>
                <c:pt idx="2260">
                  <c:v>1.8</c:v>
                </c:pt>
                <c:pt idx="2261">
                  <c:v>3.01</c:v>
                </c:pt>
                <c:pt idx="2262">
                  <c:v>3.61</c:v>
                </c:pt>
                <c:pt idx="2263">
                  <c:v>0.61</c:v>
                </c:pt>
                <c:pt idx="2264">
                  <c:v>0.61</c:v>
                </c:pt>
                <c:pt idx="2265">
                  <c:v>1.8</c:v>
                </c:pt>
                <c:pt idx="2266">
                  <c:v>1.8</c:v>
                </c:pt>
                <c:pt idx="2267">
                  <c:v>0.61</c:v>
                </c:pt>
                <c:pt idx="2268">
                  <c:v>2.4</c:v>
                </c:pt>
                <c:pt idx="2269">
                  <c:v>1.8</c:v>
                </c:pt>
                <c:pt idx="2270">
                  <c:v>3.61</c:v>
                </c:pt>
                <c:pt idx="2271">
                  <c:v>1.8</c:v>
                </c:pt>
                <c:pt idx="2272">
                  <c:v>0.61</c:v>
                </c:pt>
                <c:pt idx="2273">
                  <c:v>2.4</c:v>
                </c:pt>
                <c:pt idx="2274">
                  <c:v>4.21</c:v>
                </c:pt>
                <c:pt idx="2275">
                  <c:v>1.21</c:v>
                </c:pt>
                <c:pt idx="2276">
                  <c:v>3.01</c:v>
                </c:pt>
                <c:pt idx="2277">
                  <c:v>3.01</c:v>
                </c:pt>
                <c:pt idx="2278">
                  <c:v>1.21</c:v>
                </c:pt>
                <c:pt idx="2279">
                  <c:v>0.01</c:v>
                </c:pt>
                <c:pt idx="2280">
                  <c:v>1.21</c:v>
                </c:pt>
                <c:pt idx="2281">
                  <c:v>3.61</c:v>
                </c:pt>
                <c:pt idx="2282">
                  <c:v>2.4</c:v>
                </c:pt>
                <c:pt idx="2283">
                  <c:v>2.4</c:v>
                </c:pt>
                <c:pt idx="2284">
                  <c:v>3.01</c:v>
                </c:pt>
                <c:pt idx="2285">
                  <c:v>1.21</c:v>
                </c:pt>
                <c:pt idx="2286">
                  <c:v>1.8</c:v>
                </c:pt>
                <c:pt idx="2287">
                  <c:v>2.4</c:v>
                </c:pt>
                <c:pt idx="2288">
                  <c:v>-0.6</c:v>
                </c:pt>
                <c:pt idx="2289">
                  <c:v>1.21</c:v>
                </c:pt>
                <c:pt idx="2290">
                  <c:v>2.4</c:v>
                </c:pt>
                <c:pt idx="2291">
                  <c:v>3.61</c:v>
                </c:pt>
                <c:pt idx="2292">
                  <c:v>0.61</c:v>
                </c:pt>
                <c:pt idx="2293">
                  <c:v>3.61</c:v>
                </c:pt>
                <c:pt idx="2294">
                  <c:v>3.01</c:v>
                </c:pt>
                <c:pt idx="2295">
                  <c:v>2.4</c:v>
                </c:pt>
                <c:pt idx="2296">
                  <c:v>1.21</c:v>
                </c:pt>
                <c:pt idx="2297">
                  <c:v>0.61</c:v>
                </c:pt>
                <c:pt idx="2298">
                  <c:v>-0.6</c:v>
                </c:pt>
                <c:pt idx="2299">
                  <c:v>1.8</c:v>
                </c:pt>
                <c:pt idx="2300">
                  <c:v>3.01</c:v>
                </c:pt>
                <c:pt idx="2301">
                  <c:v>0.61</c:v>
                </c:pt>
                <c:pt idx="2302">
                  <c:v>2.4</c:v>
                </c:pt>
                <c:pt idx="2303">
                  <c:v>0.61</c:v>
                </c:pt>
                <c:pt idx="2304">
                  <c:v>1.21</c:v>
                </c:pt>
                <c:pt idx="2305">
                  <c:v>3.01</c:v>
                </c:pt>
                <c:pt idx="2306">
                  <c:v>3.01</c:v>
                </c:pt>
                <c:pt idx="2307">
                  <c:v>3.61</c:v>
                </c:pt>
                <c:pt idx="2308">
                  <c:v>3.01</c:v>
                </c:pt>
                <c:pt idx="2309">
                  <c:v>2.4</c:v>
                </c:pt>
                <c:pt idx="2310">
                  <c:v>1.8</c:v>
                </c:pt>
                <c:pt idx="2311">
                  <c:v>3.01</c:v>
                </c:pt>
                <c:pt idx="2312">
                  <c:v>2.4</c:v>
                </c:pt>
                <c:pt idx="2313">
                  <c:v>1.21</c:v>
                </c:pt>
                <c:pt idx="2314">
                  <c:v>1.8</c:v>
                </c:pt>
                <c:pt idx="2315">
                  <c:v>2.4</c:v>
                </c:pt>
                <c:pt idx="2316">
                  <c:v>1.8</c:v>
                </c:pt>
                <c:pt idx="2317">
                  <c:v>1.8</c:v>
                </c:pt>
                <c:pt idx="2318">
                  <c:v>1.8</c:v>
                </c:pt>
                <c:pt idx="2319">
                  <c:v>1.8</c:v>
                </c:pt>
                <c:pt idx="2320">
                  <c:v>3.01</c:v>
                </c:pt>
                <c:pt idx="2321">
                  <c:v>1.21</c:v>
                </c:pt>
                <c:pt idx="2322">
                  <c:v>3.01</c:v>
                </c:pt>
                <c:pt idx="2323">
                  <c:v>1.8</c:v>
                </c:pt>
                <c:pt idx="2324">
                  <c:v>2.4</c:v>
                </c:pt>
                <c:pt idx="2325">
                  <c:v>1.8</c:v>
                </c:pt>
                <c:pt idx="2326">
                  <c:v>3.01</c:v>
                </c:pt>
                <c:pt idx="2327">
                  <c:v>0.01</c:v>
                </c:pt>
                <c:pt idx="2328">
                  <c:v>2.4</c:v>
                </c:pt>
                <c:pt idx="2329">
                  <c:v>2.4</c:v>
                </c:pt>
                <c:pt idx="2330">
                  <c:v>0.61</c:v>
                </c:pt>
                <c:pt idx="2331">
                  <c:v>2.4</c:v>
                </c:pt>
                <c:pt idx="2332">
                  <c:v>1.21</c:v>
                </c:pt>
                <c:pt idx="2333">
                  <c:v>2.4</c:v>
                </c:pt>
                <c:pt idx="2334">
                  <c:v>3.61</c:v>
                </c:pt>
                <c:pt idx="2335">
                  <c:v>2.4</c:v>
                </c:pt>
                <c:pt idx="2336">
                  <c:v>1.8</c:v>
                </c:pt>
                <c:pt idx="2337">
                  <c:v>2.4</c:v>
                </c:pt>
                <c:pt idx="2338">
                  <c:v>3.61</c:v>
                </c:pt>
                <c:pt idx="2339">
                  <c:v>4.21</c:v>
                </c:pt>
                <c:pt idx="2340">
                  <c:v>4.21</c:v>
                </c:pt>
                <c:pt idx="2341">
                  <c:v>4.21</c:v>
                </c:pt>
                <c:pt idx="2342">
                  <c:v>2.4</c:v>
                </c:pt>
                <c:pt idx="2343">
                  <c:v>3.01</c:v>
                </c:pt>
                <c:pt idx="2344">
                  <c:v>1.21</c:v>
                </c:pt>
                <c:pt idx="2345">
                  <c:v>3.61</c:v>
                </c:pt>
                <c:pt idx="2346">
                  <c:v>3.01</c:v>
                </c:pt>
                <c:pt idx="2347">
                  <c:v>1.8</c:v>
                </c:pt>
                <c:pt idx="2348">
                  <c:v>3.01</c:v>
                </c:pt>
                <c:pt idx="2349">
                  <c:v>-1.79</c:v>
                </c:pt>
                <c:pt idx="2350">
                  <c:v>1.8</c:v>
                </c:pt>
                <c:pt idx="2351">
                  <c:v>2.4</c:v>
                </c:pt>
                <c:pt idx="2352">
                  <c:v>1.21</c:v>
                </c:pt>
                <c:pt idx="2353">
                  <c:v>3.01</c:v>
                </c:pt>
                <c:pt idx="2354">
                  <c:v>0.61</c:v>
                </c:pt>
                <c:pt idx="2355">
                  <c:v>3.61</c:v>
                </c:pt>
                <c:pt idx="2356">
                  <c:v>1.21</c:v>
                </c:pt>
                <c:pt idx="2357">
                  <c:v>1.21</c:v>
                </c:pt>
                <c:pt idx="2358">
                  <c:v>2.4</c:v>
                </c:pt>
                <c:pt idx="2359">
                  <c:v>1.8</c:v>
                </c:pt>
                <c:pt idx="2360">
                  <c:v>3.01</c:v>
                </c:pt>
                <c:pt idx="2361">
                  <c:v>1.21</c:v>
                </c:pt>
                <c:pt idx="2362">
                  <c:v>1.8</c:v>
                </c:pt>
                <c:pt idx="2363">
                  <c:v>3.61</c:v>
                </c:pt>
                <c:pt idx="2364">
                  <c:v>2.4</c:v>
                </c:pt>
                <c:pt idx="2365">
                  <c:v>3.01</c:v>
                </c:pt>
                <c:pt idx="2366">
                  <c:v>1.8</c:v>
                </c:pt>
                <c:pt idx="2367">
                  <c:v>3.01</c:v>
                </c:pt>
                <c:pt idx="2368">
                  <c:v>1.8</c:v>
                </c:pt>
                <c:pt idx="2369">
                  <c:v>2.4</c:v>
                </c:pt>
                <c:pt idx="2370">
                  <c:v>1.8</c:v>
                </c:pt>
                <c:pt idx="2371">
                  <c:v>3.01</c:v>
                </c:pt>
                <c:pt idx="2372">
                  <c:v>3.61</c:v>
                </c:pt>
                <c:pt idx="2373">
                  <c:v>-0.6</c:v>
                </c:pt>
                <c:pt idx="2374">
                  <c:v>3.61</c:v>
                </c:pt>
                <c:pt idx="2375">
                  <c:v>2.4</c:v>
                </c:pt>
                <c:pt idx="2376">
                  <c:v>2.4</c:v>
                </c:pt>
                <c:pt idx="2377">
                  <c:v>1.8</c:v>
                </c:pt>
                <c:pt idx="2378">
                  <c:v>3.01</c:v>
                </c:pt>
                <c:pt idx="2379">
                  <c:v>-0.6</c:v>
                </c:pt>
                <c:pt idx="2380">
                  <c:v>1.21</c:v>
                </c:pt>
                <c:pt idx="2381">
                  <c:v>1.21</c:v>
                </c:pt>
                <c:pt idx="2382">
                  <c:v>1.8</c:v>
                </c:pt>
                <c:pt idx="2383">
                  <c:v>3.01</c:v>
                </c:pt>
                <c:pt idx="2384">
                  <c:v>1.8</c:v>
                </c:pt>
                <c:pt idx="2385">
                  <c:v>2.4</c:v>
                </c:pt>
                <c:pt idx="2386">
                  <c:v>3.01</c:v>
                </c:pt>
                <c:pt idx="2387">
                  <c:v>0.61</c:v>
                </c:pt>
                <c:pt idx="2388">
                  <c:v>1.8</c:v>
                </c:pt>
                <c:pt idx="2389">
                  <c:v>1.21</c:v>
                </c:pt>
                <c:pt idx="2390">
                  <c:v>1.8</c:v>
                </c:pt>
                <c:pt idx="2391">
                  <c:v>0.61</c:v>
                </c:pt>
                <c:pt idx="2392">
                  <c:v>3.01</c:v>
                </c:pt>
                <c:pt idx="2393">
                  <c:v>1.21</c:v>
                </c:pt>
                <c:pt idx="2394">
                  <c:v>3.01</c:v>
                </c:pt>
                <c:pt idx="2395">
                  <c:v>0.61</c:v>
                </c:pt>
                <c:pt idx="2396">
                  <c:v>0.01</c:v>
                </c:pt>
                <c:pt idx="2397">
                  <c:v>1.8</c:v>
                </c:pt>
                <c:pt idx="2398">
                  <c:v>3.61</c:v>
                </c:pt>
                <c:pt idx="2399">
                  <c:v>3.61</c:v>
                </c:pt>
                <c:pt idx="2400">
                  <c:v>0.01</c:v>
                </c:pt>
                <c:pt idx="2401">
                  <c:v>4.21</c:v>
                </c:pt>
                <c:pt idx="2402">
                  <c:v>0.01</c:v>
                </c:pt>
                <c:pt idx="2403">
                  <c:v>1.8</c:v>
                </c:pt>
                <c:pt idx="2404">
                  <c:v>4.21</c:v>
                </c:pt>
                <c:pt idx="2405">
                  <c:v>2.4</c:v>
                </c:pt>
                <c:pt idx="2406">
                  <c:v>1.8</c:v>
                </c:pt>
                <c:pt idx="2407">
                  <c:v>2.4</c:v>
                </c:pt>
                <c:pt idx="2408">
                  <c:v>1.8</c:v>
                </c:pt>
                <c:pt idx="2409">
                  <c:v>3.61</c:v>
                </c:pt>
                <c:pt idx="2410">
                  <c:v>1.21</c:v>
                </c:pt>
                <c:pt idx="2411">
                  <c:v>4.21</c:v>
                </c:pt>
                <c:pt idx="2412">
                  <c:v>2.4</c:v>
                </c:pt>
                <c:pt idx="2413">
                  <c:v>4.21</c:v>
                </c:pt>
                <c:pt idx="2414">
                  <c:v>3.01</c:v>
                </c:pt>
                <c:pt idx="2415">
                  <c:v>3.01</c:v>
                </c:pt>
                <c:pt idx="2416">
                  <c:v>4.8</c:v>
                </c:pt>
                <c:pt idx="2417">
                  <c:v>1.21</c:v>
                </c:pt>
                <c:pt idx="2418">
                  <c:v>1.8</c:v>
                </c:pt>
                <c:pt idx="2419">
                  <c:v>3.01</c:v>
                </c:pt>
                <c:pt idx="2420">
                  <c:v>2.4</c:v>
                </c:pt>
                <c:pt idx="2421">
                  <c:v>3.01</c:v>
                </c:pt>
                <c:pt idx="2422">
                  <c:v>2.4</c:v>
                </c:pt>
                <c:pt idx="2423">
                  <c:v>1.21</c:v>
                </c:pt>
                <c:pt idx="2424">
                  <c:v>0.61</c:v>
                </c:pt>
                <c:pt idx="2425">
                  <c:v>1.21</c:v>
                </c:pt>
                <c:pt idx="2426">
                  <c:v>2.4</c:v>
                </c:pt>
                <c:pt idx="2427">
                  <c:v>3.01</c:v>
                </c:pt>
                <c:pt idx="2428">
                  <c:v>3.01</c:v>
                </c:pt>
                <c:pt idx="2429">
                  <c:v>1.21</c:v>
                </c:pt>
                <c:pt idx="2430">
                  <c:v>1.8</c:v>
                </c:pt>
                <c:pt idx="2431">
                  <c:v>3.61</c:v>
                </c:pt>
                <c:pt idx="2432">
                  <c:v>3.01</c:v>
                </c:pt>
                <c:pt idx="2433">
                  <c:v>1.8</c:v>
                </c:pt>
                <c:pt idx="2434">
                  <c:v>2.4</c:v>
                </c:pt>
                <c:pt idx="2435">
                  <c:v>3.01</c:v>
                </c:pt>
                <c:pt idx="2436">
                  <c:v>2.4</c:v>
                </c:pt>
                <c:pt idx="2437">
                  <c:v>3.01</c:v>
                </c:pt>
                <c:pt idx="2438">
                  <c:v>2.4</c:v>
                </c:pt>
                <c:pt idx="2439">
                  <c:v>3.01</c:v>
                </c:pt>
                <c:pt idx="2440">
                  <c:v>3.01</c:v>
                </c:pt>
                <c:pt idx="2441">
                  <c:v>2.4</c:v>
                </c:pt>
                <c:pt idx="2442">
                  <c:v>1.8</c:v>
                </c:pt>
                <c:pt idx="2443">
                  <c:v>3.61</c:v>
                </c:pt>
                <c:pt idx="2444">
                  <c:v>4.8</c:v>
                </c:pt>
                <c:pt idx="2445">
                  <c:v>3.61</c:v>
                </c:pt>
                <c:pt idx="2446">
                  <c:v>2.4</c:v>
                </c:pt>
                <c:pt idx="2447">
                  <c:v>1.21</c:v>
                </c:pt>
                <c:pt idx="2448">
                  <c:v>2.4</c:v>
                </c:pt>
                <c:pt idx="2449">
                  <c:v>2.4</c:v>
                </c:pt>
                <c:pt idx="2450">
                  <c:v>2.4</c:v>
                </c:pt>
                <c:pt idx="2451">
                  <c:v>0.61</c:v>
                </c:pt>
                <c:pt idx="2452">
                  <c:v>3.61</c:v>
                </c:pt>
                <c:pt idx="2453">
                  <c:v>4.21</c:v>
                </c:pt>
                <c:pt idx="2454">
                  <c:v>4.8</c:v>
                </c:pt>
                <c:pt idx="2455">
                  <c:v>1.8</c:v>
                </c:pt>
                <c:pt idx="2456">
                  <c:v>1.8</c:v>
                </c:pt>
                <c:pt idx="2457">
                  <c:v>2.4</c:v>
                </c:pt>
                <c:pt idx="2458">
                  <c:v>0.61</c:v>
                </c:pt>
                <c:pt idx="2459">
                  <c:v>4.8</c:v>
                </c:pt>
                <c:pt idx="2460">
                  <c:v>1.8</c:v>
                </c:pt>
                <c:pt idx="2461">
                  <c:v>1.8</c:v>
                </c:pt>
                <c:pt idx="2462">
                  <c:v>3.01</c:v>
                </c:pt>
                <c:pt idx="2463">
                  <c:v>1.8</c:v>
                </c:pt>
                <c:pt idx="2464">
                  <c:v>1.8</c:v>
                </c:pt>
                <c:pt idx="2465">
                  <c:v>1.21</c:v>
                </c:pt>
                <c:pt idx="2466">
                  <c:v>4.21</c:v>
                </c:pt>
                <c:pt idx="2467">
                  <c:v>2.4</c:v>
                </c:pt>
                <c:pt idx="2468">
                  <c:v>1.8</c:v>
                </c:pt>
                <c:pt idx="2469">
                  <c:v>2.4</c:v>
                </c:pt>
                <c:pt idx="2470">
                  <c:v>3.01</c:v>
                </c:pt>
                <c:pt idx="2471">
                  <c:v>2.4</c:v>
                </c:pt>
                <c:pt idx="2472">
                  <c:v>2.4</c:v>
                </c:pt>
                <c:pt idx="2473">
                  <c:v>2.4</c:v>
                </c:pt>
                <c:pt idx="2474">
                  <c:v>2.4</c:v>
                </c:pt>
                <c:pt idx="2475">
                  <c:v>1.21</c:v>
                </c:pt>
                <c:pt idx="2476">
                  <c:v>2.4</c:v>
                </c:pt>
                <c:pt idx="2477">
                  <c:v>3.01</c:v>
                </c:pt>
                <c:pt idx="2478">
                  <c:v>0.61</c:v>
                </c:pt>
                <c:pt idx="2479">
                  <c:v>3.01</c:v>
                </c:pt>
                <c:pt idx="2480">
                  <c:v>0.61</c:v>
                </c:pt>
                <c:pt idx="2481">
                  <c:v>0.61</c:v>
                </c:pt>
                <c:pt idx="2482">
                  <c:v>3.61</c:v>
                </c:pt>
                <c:pt idx="2483">
                  <c:v>3.61</c:v>
                </c:pt>
                <c:pt idx="2484">
                  <c:v>2.4</c:v>
                </c:pt>
                <c:pt idx="2485">
                  <c:v>1.8</c:v>
                </c:pt>
                <c:pt idx="2486">
                  <c:v>3.61</c:v>
                </c:pt>
                <c:pt idx="2487">
                  <c:v>0.61</c:v>
                </c:pt>
                <c:pt idx="2488">
                  <c:v>3.01</c:v>
                </c:pt>
                <c:pt idx="2489">
                  <c:v>3.01</c:v>
                </c:pt>
                <c:pt idx="2490">
                  <c:v>2.4</c:v>
                </c:pt>
                <c:pt idx="2491">
                  <c:v>3.01</c:v>
                </c:pt>
                <c:pt idx="2492">
                  <c:v>2.4</c:v>
                </c:pt>
                <c:pt idx="2493">
                  <c:v>2.4</c:v>
                </c:pt>
                <c:pt idx="2494">
                  <c:v>1.8</c:v>
                </c:pt>
                <c:pt idx="2495">
                  <c:v>1.8</c:v>
                </c:pt>
                <c:pt idx="2496">
                  <c:v>2.4</c:v>
                </c:pt>
                <c:pt idx="2497">
                  <c:v>4.21</c:v>
                </c:pt>
                <c:pt idx="2498">
                  <c:v>3.61</c:v>
                </c:pt>
                <c:pt idx="2499">
                  <c:v>2.4</c:v>
                </c:pt>
                <c:pt idx="2500">
                  <c:v>2.4</c:v>
                </c:pt>
                <c:pt idx="2501">
                  <c:v>2.4</c:v>
                </c:pt>
                <c:pt idx="2502">
                  <c:v>1.8</c:v>
                </c:pt>
                <c:pt idx="2503">
                  <c:v>2.4</c:v>
                </c:pt>
                <c:pt idx="2504">
                  <c:v>3.01</c:v>
                </c:pt>
                <c:pt idx="2505">
                  <c:v>1.8</c:v>
                </c:pt>
                <c:pt idx="2506">
                  <c:v>3.01</c:v>
                </c:pt>
                <c:pt idx="2507">
                  <c:v>1.8</c:v>
                </c:pt>
                <c:pt idx="2508">
                  <c:v>1.8</c:v>
                </c:pt>
                <c:pt idx="2509">
                  <c:v>0.61</c:v>
                </c:pt>
                <c:pt idx="2510">
                  <c:v>2.4</c:v>
                </c:pt>
                <c:pt idx="2511">
                  <c:v>2.4</c:v>
                </c:pt>
                <c:pt idx="2512">
                  <c:v>3.61</c:v>
                </c:pt>
                <c:pt idx="2513">
                  <c:v>1.8</c:v>
                </c:pt>
                <c:pt idx="2514">
                  <c:v>3.01</c:v>
                </c:pt>
                <c:pt idx="2515">
                  <c:v>-0.6</c:v>
                </c:pt>
                <c:pt idx="2516">
                  <c:v>1.8</c:v>
                </c:pt>
                <c:pt idx="2517">
                  <c:v>1.8</c:v>
                </c:pt>
                <c:pt idx="2518">
                  <c:v>1.21</c:v>
                </c:pt>
                <c:pt idx="2519">
                  <c:v>2.4</c:v>
                </c:pt>
                <c:pt idx="2520">
                  <c:v>4.21</c:v>
                </c:pt>
                <c:pt idx="2521">
                  <c:v>3.01</c:v>
                </c:pt>
                <c:pt idx="2522">
                  <c:v>1.8</c:v>
                </c:pt>
                <c:pt idx="2523">
                  <c:v>2.4</c:v>
                </c:pt>
                <c:pt idx="2524">
                  <c:v>1.8</c:v>
                </c:pt>
                <c:pt idx="2525">
                  <c:v>1.21</c:v>
                </c:pt>
                <c:pt idx="2526">
                  <c:v>1.8</c:v>
                </c:pt>
                <c:pt idx="2527">
                  <c:v>1.8</c:v>
                </c:pt>
                <c:pt idx="2528">
                  <c:v>0.01</c:v>
                </c:pt>
                <c:pt idx="2529">
                  <c:v>2.4</c:v>
                </c:pt>
                <c:pt idx="2530">
                  <c:v>3.01</c:v>
                </c:pt>
                <c:pt idx="2531">
                  <c:v>0.01</c:v>
                </c:pt>
                <c:pt idx="2532">
                  <c:v>-1.79</c:v>
                </c:pt>
                <c:pt idx="2533">
                  <c:v>4.21</c:v>
                </c:pt>
                <c:pt idx="2534">
                  <c:v>1.21</c:v>
                </c:pt>
                <c:pt idx="2535">
                  <c:v>3.61</c:v>
                </c:pt>
                <c:pt idx="2536">
                  <c:v>2.4</c:v>
                </c:pt>
                <c:pt idx="2537">
                  <c:v>4.21</c:v>
                </c:pt>
                <c:pt idx="2538">
                  <c:v>2.4</c:v>
                </c:pt>
                <c:pt idx="2539">
                  <c:v>3.01</c:v>
                </c:pt>
                <c:pt idx="2540">
                  <c:v>0.61</c:v>
                </c:pt>
                <c:pt idx="2541">
                  <c:v>2.4</c:v>
                </c:pt>
                <c:pt idx="2542">
                  <c:v>-0.6</c:v>
                </c:pt>
                <c:pt idx="2543">
                  <c:v>1.8</c:v>
                </c:pt>
                <c:pt idx="2544">
                  <c:v>3.01</c:v>
                </c:pt>
                <c:pt idx="2545">
                  <c:v>2.4</c:v>
                </c:pt>
                <c:pt idx="2546">
                  <c:v>3.61</c:v>
                </c:pt>
                <c:pt idx="2547">
                  <c:v>2.4</c:v>
                </c:pt>
                <c:pt idx="2548">
                  <c:v>4.21</c:v>
                </c:pt>
                <c:pt idx="2549">
                  <c:v>1.21</c:v>
                </c:pt>
                <c:pt idx="2550">
                  <c:v>1.8</c:v>
                </c:pt>
                <c:pt idx="2551">
                  <c:v>3.61</c:v>
                </c:pt>
                <c:pt idx="2552">
                  <c:v>1.21</c:v>
                </c:pt>
                <c:pt idx="2553">
                  <c:v>1.8</c:v>
                </c:pt>
                <c:pt idx="2554">
                  <c:v>4.21</c:v>
                </c:pt>
                <c:pt idx="2555">
                  <c:v>3.61</c:v>
                </c:pt>
                <c:pt idx="2556">
                  <c:v>1.8</c:v>
                </c:pt>
                <c:pt idx="2557">
                  <c:v>1.8</c:v>
                </c:pt>
                <c:pt idx="2558">
                  <c:v>2.4</c:v>
                </c:pt>
                <c:pt idx="2559">
                  <c:v>3.01</c:v>
                </c:pt>
                <c:pt idx="2560">
                  <c:v>4.21</c:v>
                </c:pt>
                <c:pt idx="2561">
                  <c:v>1.8</c:v>
                </c:pt>
                <c:pt idx="2562">
                  <c:v>0.61</c:v>
                </c:pt>
                <c:pt idx="2563">
                  <c:v>1.21</c:v>
                </c:pt>
                <c:pt idx="2564">
                  <c:v>2.4</c:v>
                </c:pt>
                <c:pt idx="2565">
                  <c:v>3.61</c:v>
                </c:pt>
                <c:pt idx="2566">
                  <c:v>1.8</c:v>
                </c:pt>
                <c:pt idx="2567">
                  <c:v>6.01</c:v>
                </c:pt>
                <c:pt idx="2568">
                  <c:v>4.21</c:v>
                </c:pt>
                <c:pt idx="2569">
                  <c:v>1.21</c:v>
                </c:pt>
                <c:pt idx="2570">
                  <c:v>1.8</c:v>
                </c:pt>
                <c:pt idx="2571">
                  <c:v>3.01</c:v>
                </c:pt>
                <c:pt idx="2572">
                  <c:v>2.4</c:v>
                </c:pt>
                <c:pt idx="2573">
                  <c:v>2.4</c:v>
                </c:pt>
                <c:pt idx="2574">
                  <c:v>3.01</c:v>
                </c:pt>
                <c:pt idx="2575">
                  <c:v>2.4</c:v>
                </c:pt>
                <c:pt idx="2576">
                  <c:v>2.4</c:v>
                </c:pt>
                <c:pt idx="2577">
                  <c:v>2.4</c:v>
                </c:pt>
                <c:pt idx="2578">
                  <c:v>3.01</c:v>
                </c:pt>
                <c:pt idx="2579">
                  <c:v>4.21</c:v>
                </c:pt>
                <c:pt idx="2580">
                  <c:v>3.61</c:v>
                </c:pt>
                <c:pt idx="2581">
                  <c:v>5.4</c:v>
                </c:pt>
                <c:pt idx="2582">
                  <c:v>1.8</c:v>
                </c:pt>
                <c:pt idx="2583">
                  <c:v>3.61</c:v>
                </c:pt>
                <c:pt idx="2584">
                  <c:v>3.61</c:v>
                </c:pt>
                <c:pt idx="2585">
                  <c:v>2.4</c:v>
                </c:pt>
                <c:pt idx="2586">
                  <c:v>2.4</c:v>
                </c:pt>
                <c:pt idx="2587">
                  <c:v>2.4</c:v>
                </c:pt>
                <c:pt idx="2588">
                  <c:v>4.21</c:v>
                </c:pt>
                <c:pt idx="2589">
                  <c:v>1.21</c:v>
                </c:pt>
                <c:pt idx="2590">
                  <c:v>2.4</c:v>
                </c:pt>
                <c:pt idx="2591">
                  <c:v>1.21</c:v>
                </c:pt>
                <c:pt idx="2592">
                  <c:v>-0.6</c:v>
                </c:pt>
                <c:pt idx="2593">
                  <c:v>2.4</c:v>
                </c:pt>
                <c:pt idx="2594">
                  <c:v>4.21</c:v>
                </c:pt>
                <c:pt idx="2595">
                  <c:v>3.01</c:v>
                </c:pt>
                <c:pt idx="2596">
                  <c:v>1.8</c:v>
                </c:pt>
                <c:pt idx="2597">
                  <c:v>4.21</c:v>
                </c:pt>
                <c:pt idx="2598">
                  <c:v>2.4</c:v>
                </c:pt>
                <c:pt idx="2599">
                  <c:v>1.21</c:v>
                </c:pt>
                <c:pt idx="2600">
                  <c:v>1.8</c:v>
                </c:pt>
                <c:pt idx="2601">
                  <c:v>4.8</c:v>
                </c:pt>
                <c:pt idx="2602">
                  <c:v>3.61</c:v>
                </c:pt>
                <c:pt idx="2603">
                  <c:v>3.61</c:v>
                </c:pt>
                <c:pt idx="2604">
                  <c:v>3.01</c:v>
                </c:pt>
                <c:pt idx="2605">
                  <c:v>3.01</c:v>
                </c:pt>
                <c:pt idx="2606">
                  <c:v>3.61</c:v>
                </c:pt>
                <c:pt idx="2607">
                  <c:v>6.01</c:v>
                </c:pt>
                <c:pt idx="2608">
                  <c:v>2.4</c:v>
                </c:pt>
                <c:pt idx="2609">
                  <c:v>4.21</c:v>
                </c:pt>
                <c:pt idx="2610">
                  <c:v>3.01</c:v>
                </c:pt>
                <c:pt idx="2611">
                  <c:v>4.21</c:v>
                </c:pt>
                <c:pt idx="2612">
                  <c:v>1.21</c:v>
                </c:pt>
                <c:pt idx="2613">
                  <c:v>1.8</c:v>
                </c:pt>
                <c:pt idx="2614">
                  <c:v>4.21</c:v>
                </c:pt>
                <c:pt idx="2615">
                  <c:v>3.61</c:v>
                </c:pt>
                <c:pt idx="2616">
                  <c:v>1.21</c:v>
                </c:pt>
                <c:pt idx="2617">
                  <c:v>4.21</c:v>
                </c:pt>
                <c:pt idx="2618">
                  <c:v>4.8</c:v>
                </c:pt>
                <c:pt idx="2619">
                  <c:v>3.01</c:v>
                </c:pt>
                <c:pt idx="2620">
                  <c:v>2.4</c:v>
                </c:pt>
                <c:pt idx="2621">
                  <c:v>0.61</c:v>
                </c:pt>
                <c:pt idx="2622">
                  <c:v>1.21</c:v>
                </c:pt>
                <c:pt idx="2623">
                  <c:v>3.01</c:v>
                </c:pt>
                <c:pt idx="2624">
                  <c:v>0.61</c:v>
                </c:pt>
                <c:pt idx="2625">
                  <c:v>3.01</c:v>
                </c:pt>
                <c:pt idx="2626">
                  <c:v>3.01</c:v>
                </c:pt>
                <c:pt idx="2627">
                  <c:v>3.01</c:v>
                </c:pt>
                <c:pt idx="2628">
                  <c:v>1.21</c:v>
                </c:pt>
                <c:pt idx="2629">
                  <c:v>3.61</c:v>
                </c:pt>
                <c:pt idx="2630">
                  <c:v>3.01</c:v>
                </c:pt>
                <c:pt idx="2631">
                  <c:v>3.01</c:v>
                </c:pt>
                <c:pt idx="2632">
                  <c:v>3.61</c:v>
                </c:pt>
                <c:pt idx="2633">
                  <c:v>1.8</c:v>
                </c:pt>
                <c:pt idx="2634">
                  <c:v>3.01</c:v>
                </c:pt>
                <c:pt idx="2635">
                  <c:v>2.4</c:v>
                </c:pt>
                <c:pt idx="2636">
                  <c:v>3.01</c:v>
                </c:pt>
                <c:pt idx="2637">
                  <c:v>3.01</c:v>
                </c:pt>
                <c:pt idx="2638">
                  <c:v>2.4</c:v>
                </c:pt>
                <c:pt idx="2639">
                  <c:v>4.8</c:v>
                </c:pt>
                <c:pt idx="2640">
                  <c:v>1.8</c:v>
                </c:pt>
                <c:pt idx="2641">
                  <c:v>2.4</c:v>
                </c:pt>
                <c:pt idx="2642">
                  <c:v>1.21</c:v>
                </c:pt>
                <c:pt idx="2643">
                  <c:v>3.61</c:v>
                </c:pt>
                <c:pt idx="2644">
                  <c:v>2.4</c:v>
                </c:pt>
                <c:pt idx="2645">
                  <c:v>2.4</c:v>
                </c:pt>
                <c:pt idx="2646">
                  <c:v>1.21</c:v>
                </c:pt>
                <c:pt idx="2647">
                  <c:v>3.01</c:v>
                </c:pt>
                <c:pt idx="2648">
                  <c:v>3.01</c:v>
                </c:pt>
                <c:pt idx="2649">
                  <c:v>4.21</c:v>
                </c:pt>
                <c:pt idx="2650">
                  <c:v>3.61</c:v>
                </c:pt>
                <c:pt idx="2651">
                  <c:v>2.4</c:v>
                </c:pt>
                <c:pt idx="2652">
                  <c:v>3.01</c:v>
                </c:pt>
                <c:pt idx="2653">
                  <c:v>3.01</c:v>
                </c:pt>
                <c:pt idx="2654">
                  <c:v>1.8</c:v>
                </c:pt>
                <c:pt idx="2655">
                  <c:v>-0.6</c:v>
                </c:pt>
                <c:pt idx="2656">
                  <c:v>3.01</c:v>
                </c:pt>
                <c:pt idx="2657">
                  <c:v>2.4</c:v>
                </c:pt>
                <c:pt idx="2658">
                  <c:v>3.61</c:v>
                </c:pt>
                <c:pt idx="2659">
                  <c:v>3.01</c:v>
                </c:pt>
                <c:pt idx="2660">
                  <c:v>2.4</c:v>
                </c:pt>
                <c:pt idx="2661">
                  <c:v>0.61</c:v>
                </c:pt>
                <c:pt idx="2662">
                  <c:v>0.61</c:v>
                </c:pt>
                <c:pt idx="2663">
                  <c:v>5.4</c:v>
                </c:pt>
                <c:pt idx="2664">
                  <c:v>3.01</c:v>
                </c:pt>
                <c:pt idx="2665">
                  <c:v>0.01</c:v>
                </c:pt>
                <c:pt idx="2666">
                  <c:v>3.01</c:v>
                </c:pt>
                <c:pt idx="2667">
                  <c:v>1.8</c:v>
                </c:pt>
                <c:pt idx="2668">
                  <c:v>2.4</c:v>
                </c:pt>
                <c:pt idx="2669">
                  <c:v>1.8</c:v>
                </c:pt>
                <c:pt idx="2670">
                  <c:v>2.4</c:v>
                </c:pt>
                <c:pt idx="2671">
                  <c:v>1.21</c:v>
                </c:pt>
                <c:pt idx="2672">
                  <c:v>3.01</c:v>
                </c:pt>
                <c:pt idx="2673">
                  <c:v>4.8</c:v>
                </c:pt>
                <c:pt idx="2674">
                  <c:v>1.8</c:v>
                </c:pt>
                <c:pt idx="2675">
                  <c:v>0.61</c:v>
                </c:pt>
                <c:pt idx="2676">
                  <c:v>3.01</c:v>
                </c:pt>
                <c:pt idx="2677">
                  <c:v>3.61</c:v>
                </c:pt>
                <c:pt idx="2678">
                  <c:v>2.4</c:v>
                </c:pt>
                <c:pt idx="2679">
                  <c:v>3.61</c:v>
                </c:pt>
                <c:pt idx="2680">
                  <c:v>2.4</c:v>
                </c:pt>
                <c:pt idx="2681">
                  <c:v>3.61</c:v>
                </c:pt>
                <c:pt idx="2682">
                  <c:v>3.61</c:v>
                </c:pt>
                <c:pt idx="2683">
                  <c:v>2.4</c:v>
                </c:pt>
                <c:pt idx="2684">
                  <c:v>3.01</c:v>
                </c:pt>
                <c:pt idx="2685">
                  <c:v>1.8</c:v>
                </c:pt>
                <c:pt idx="2686">
                  <c:v>1.8</c:v>
                </c:pt>
                <c:pt idx="2687">
                  <c:v>2.4</c:v>
                </c:pt>
                <c:pt idx="2688">
                  <c:v>2.4</c:v>
                </c:pt>
                <c:pt idx="2689">
                  <c:v>3.61</c:v>
                </c:pt>
                <c:pt idx="2690">
                  <c:v>2.4</c:v>
                </c:pt>
                <c:pt idx="2691">
                  <c:v>2.4</c:v>
                </c:pt>
                <c:pt idx="2692">
                  <c:v>2.4</c:v>
                </c:pt>
                <c:pt idx="2693">
                  <c:v>2.4</c:v>
                </c:pt>
                <c:pt idx="2694">
                  <c:v>3.61</c:v>
                </c:pt>
                <c:pt idx="2695">
                  <c:v>3.61</c:v>
                </c:pt>
                <c:pt idx="2696">
                  <c:v>5.4</c:v>
                </c:pt>
                <c:pt idx="2697">
                  <c:v>1.8</c:v>
                </c:pt>
                <c:pt idx="2698">
                  <c:v>3.61</c:v>
                </c:pt>
                <c:pt idx="2699">
                  <c:v>3.01</c:v>
                </c:pt>
                <c:pt idx="2700">
                  <c:v>3.01</c:v>
                </c:pt>
                <c:pt idx="2701">
                  <c:v>3.01</c:v>
                </c:pt>
                <c:pt idx="2702">
                  <c:v>1.21</c:v>
                </c:pt>
                <c:pt idx="2703">
                  <c:v>0.61</c:v>
                </c:pt>
                <c:pt idx="2704">
                  <c:v>3.61</c:v>
                </c:pt>
                <c:pt idx="2705">
                  <c:v>3.01</c:v>
                </c:pt>
                <c:pt idx="2706">
                  <c:v>2.4</c:v>
                </c:pt>
                <c:pt idx="2707">
                  <c:v>1.21</c:v>
                </c:pt>
                <c:pt idx="2708">
                  <c:v>3.61</c:v>
                </c:pt>
                <c:pt idx="2709">
                  <c:v>2.4</c:v>
                </c:pt>
                <c:pt idx="2710">
                  <c:v>2.4</c:v>
                </c:pt>
                <c:pt idx="2711">
                  <c:v>0.61</c:v>
                </c:pt>
                <c:pt idx="2712">
                  <c:v>3.61</c:v>
                </c:pt>
                <c:pt idx="2713">
                  <c:v>4.21</c:v>
                </c:pt>
                <c:pt idx="2714">
                  <c:v>3.61</c:v>
                </c:pt>
                <c:pt idx="2715">
                  <c:v>1.8</c:v>
                </c:pt>
                <c:pt idx="2716">
                  <c:v>3.61</c:v>
                </c:pt>
                <c:pt idx="2717">
                  <c:v>3.61</c:v>
                </c:pt>
                <c:pt idx="2718">
                  <c:v>2.4</c:v>
                </c:pt>
                <c:pt idx="2719">
                  <c:v>2.4</c:v>
                </c:pt>
                <c:pt idx="2720">
                  <c:v>4.21</c:v>
                </c:pt>
                <c:pt idx="2721">
                  <c:v>3.01</c:v>
                </c:pt>
                <c:pt idx="2722">
                  <c:v>3.01</c:v>
                </c:pt>
                <c:pt idx="2723">
                  <c:v>3.01</c:v>
                </c:pt>
                <c:pt idx="2724">
                  <c:v>1.21</c:v>
                </c:pt>
                <c:pt idx="2725">
                  <c:v>1.8</c:v>
                </c:pt>
                <c:pt idx="2726">
                  <c:v>4.21</c:v>
                </c:pt>
                <c:pt idx="2727">
                  <c:v>4.8</c:v>
                </c:pt>
                <c:pt idx="2728">
                  <c:v>2.4</c:v>
                </c:pt>
                <c:pt idx="2729">
                  <c:v>3.61</c:v>
                </c:pt>
                <c:pt idx="2730">
                  <c:v>4.21</c:v>
                </c:pt>
                <c:pt idx="2731">
                  <c:v>3.61</c:v>
                </c:pt>
                <c:pt idx="2732">
                  <c:v>1.8</c:v>
                </c:pt>
                <c:pt idx="2733">
                  <c:v>1.21</c:v>
                </c:pt>
                <c:pt idx="2734">
                  <c:v>1.8</c:v>
                </c:pt>
                <c:pt idx="2735">
                  <c:v>3.61</c:v>
                </c:pt>
                <c:pt idx="2736">
                  <c:v>3.61</c:v>
                </c:pt>
                <c:pt idx="2737">
                  <c:v>4.21</c:v>
                </c:pt>
                <c:pt idx="2738">
                  <c:v>3.01</c:v>
                </c:pt>
                <c:pt idx="2739">
                  <c:v>3.01</c:v>
                </c:pt>
                <c:pt idx="2740">
                  <c:v>3.61</c:v>
                </c:pt>
                <c:pt idx="2741">
                  <c:v>2.4</c:v>
                </c:pt>
                <c:pt idx="2742">
                  <c:v>3.61</c:v>
                </c:pt>
                <c:pt idx="2743">
                  <c:v>2.4</c:v>
                </c:pt>
                <c:pt idx="2744">
                  <c:v>5.4</c:v>
                </c:pt>
                <c:pt idx="2745">
                  <c:v>3.01</c:v>
                </c:pt>
                <c:pt idx="2746">
                  <c:v>1.21</c:v>
                </c:pt>
                <c:pt idx="2747">
                  <c:v>2.4</c:v>
                </c:pt>
                <c:pt idx="2748">
                  <c:v>2.4</c:v>
                </c:pt>
                <c:pt idx="2749">
                  <c:v>1.8</c:v>
                </c:pt>
                <c:pt idx="2750">
                  <c:v>3.61</c:v>
                </c:pt>
                <c:pt idx="2751">
                  <c:v>1.8</c:v>
                </c:pt>
                <c:pt idx="2752">
                  <c:v>3.61</c:v>
                </c:pt>
                <c:pt idx="2753">
                  <c:v>4.21</c:v>
                </c:pt>
                <c:pt idx="2754">
                  <c:v>2.4</c:v>
                </c:pt>
                <c:pt idx="2755">
                  <c:v>0.01</c:v>
                </c:pt>
                <c:pt idx="2756">
                  <c:v>1.21</c:v>
                </c:pt>
                <c:pt idx="2757">
                  <c:v>1.21</c:v>
                </c:pt>
                <c:pt idx="2758">
                  <c:v>3.01</c:v>
                </c:pt>
                <c:pt idx="2759">
                  <c:v>3.01</c:v>
                </c:pt>
                <c:pt idx="2760">
                  <c:v>3.01</c:v>
                </c:pt>
                <c:pt idx="2761">
                  <c:v>2.4</c:v>
                </c:pt>
                <c:pt idx="2762">
                  <c:v>3.61</c:v>
                </c:pt>
                <c:pt idx="2763">
                  <c:v>3.01</c:v>
                </c:pt>
                <c:pt idx="2764">
                  <c:v>1.8</c:v>
                </c:pt>
                <c:pt idx="2765">
                  <c:v>2.4</c:v>
                </c:pt>
                <c:pt idx="2766">
                  <c:v>4.21</c:v>
                </c:pt>
                <c:pt idx="2767">
                  <c:v>2.4</c:v>
                </c:pt>
                <c:pt idx="2768">
                  <c:v>4.21</c:v>
                </c:pt>
                <c:pt idx="2769">
                  <c:v>4.21</c:v>
                </c:pt>
                <c:pt idx="2770">
                  <c:v>4.21</c:v>
                </c:pt>
                <c:pt idx="2771">
                  <c:v>3.01</c:v>
                </c:pt>
                <c:pt idx="2772">
                  <c:v>3.01</c:v>
                </c:pt>
                <c:pt idx="2773">
                  <c:v>0.01</c:v>
                </c:pt>
                <c:pt idx="2774">
                  <c:v>3.01</c:v>
                </c:pt>
                <c:pt idx="2775">
                  <c:v>4.21</c:v>
                </c:pt>
                <c:pt idx="2776">
                  <c:v>4.8</c:v>
                </c:pt>
                <c:pt idx="2777">
                  <c:v>3.01</c:v>
                </c:pt>
                <c:pt idx="2778">
                  <c:v>3.61</c:v>
                </c:pt>
                <c:pt idx="2779">
                  <c:v>0.61</c:v>
                </c:pt>
                <c:pt idx="2780">
                  <c:v>1.8</c:v>
                </c:pt>
                <c:pt idx="2781">
                  <c:v>3.61</c:v>
                </c:pt>
                <c:pt idx="2782">
                  <c:v>3.01</c:v>
                </c:pt>
                <c:pt idx="2783">
                  <c:v>1.8</c:v>
                </c:pt>
                <c:pt idx="2784">
                  <c:v>1.8</c:v>
                </c:pt>
                <c:pt idx="2785">
                  <c:v>2.4</c:v>
                </c:pt>
                <c:pt idx="2786">
                  <c:v>0.01</c:v>
                </c:pt>
                <c:pt idx="2787">
                  <c:v>1.8</c:v>
                </c:pt>
                <c:pt idx="2788">
                  <c:v>4.21</c:v>
                </c:pt>
                <c:pt idx="2789">
                  <c:v>3.61</c:v>
                </c:pt>
                <c:pt idx="2790">
                  <c:v>4.8</c:v>
                </c:pt>
                <c:pt idx="2791">
                  <c:v>1.8</c:v>
                </c:pt>
                <c:pt idx="2792">
                  <c:v>2.4</c:v>
                </c:pt>
                <c:pt idx="2793">
                  <c:v>3.01</c:v>
                </c:pt>
                <c:pt idx="2794">
                  <c:v>2.4</c:v>
                </c:pt>
                <c:pt idx="2795">
                  <c:v>1.21</c:v>
                </c:pt>
                <c:pt idx="2796">
                  <c:v>4.21</c:v>
                </c:pt>
                <c:pt idx="2797">
                  <c:v>3.61</c:v>
                </c:pt>
                <c:pt idx="2798">
                  <c:v>2.4</c:v>
                </c:pt>
                <c:pt idx="2799">
                  <c:v>4.21</c:v>
                </c:pt>
                <c:pt idx="2800">
                  <c:v>1.8</c:v>
                </c:pt>
                <c:pt idx="2801">
                  <c:v>1.21</c:v>
                </c:pt>
                <c:pt idx="2802">
                  <c:v>1.8</c:v>
                </c:pt>
                <c:pt idx="2803">
                  <c:v>0.61</c:v>
                </c:pt>
                <c:pt idx="2804">
                  <c:v>3.61</c:v>
                </c:pt>
                <c:pt idx="2805">
                  <c:v>3.01</c:v>
                </c:pt>
                <c:pt idx="2806">
                  <c:v>2.4</c:v>
                </c:pt>
                <c:pt idx="2807">
                  <c:v>2.4</c:v>
                </c:pt>
                <c:pt idx="2808">
                  <c:v>4.8</c:v>
                </c:pt>
                <c:pt idx="2809">
                  <c:v>4.8</c:v>
                </c:pt>
                <c:pt idx="2810">
                  <c:v>3.01</c:v>
                </c:pt>
                <c:pt idx="2811">
                  <c:v>3.61</c:v>
                </c:pt>
                <c:pt idx="2812">
                  <c:v>3.01</c:v>
                </c:pt>
                <c:pt idx="2813">
                  <c:v>3.61</c:v>
                </c:pt>
                <c:pt idx="2814">
                  <c:v>3.01</c:v>
                </c:pt>
                <c:pt idx="2815">
                  <c:v>3.01</c:v>
                </c:pt>
                <c:pt idx="2816">
                  <c:v>2.4</c:v>
                </c:pt>
                <c:pt idx="2817">
                  <c:v>3.01</c:v>
                </c:pt>
                <c:pt idx="2818">
                  <c:v>4.21</c:v>
                </c:pt>
                <c:pt idx="2819">
                  <c:v>3.01</c:v>
                </c:pt>
                <c:pt idx="2820">
                  <c:v>3.01</c:v>
                </c:pt>
                <c:pt idx="2821">
                  <c:v>3.61</c:v>
                </c:pt>
                <c:pt idx="2822">
                  <c:v>3.61</c:v>
                </c:pt>
                <c:pt idx="2823">
                  <c:v>5.4</c:v>
                </c:pt>
                <c:pt idx="2824">
                  <c:v>3.61</c:v>
                </c:pt>
                <c:pt idx="2825">
                  <c:v>2.4</c:v>
                </c:pt>
                <c:pt idx="2826">
                  <c:v>3.61</c:v>
                </c:pt>
                <c:pt idx="2827">
                  <c:v>2.4</c:v>
                </c:pt>
                <c:pt idx="2828">
                  <c:v>2.4</c:v>
                </c:pt>
                <c:pt idx="2829">
                  <c:v>4.21</c:v>
                </c:pt>
                <c:pt idx="2830">
                  <c:v>3.01</c:v>
                </c:pt>
                <c:pt idx="2831">
                  <c:v>2.4</c:v>
                </c:pt>
                <c:pt idx="2832">
                  <c:v>4.21</c:v>
                </c:pt>
                <c:pt idx="2833">
                  <c:v>1.8</c:v>
                </c:pt>
                <c:pt idx="2834">
                  <c:v>0.01</c:v>
                </c:pt>
                <c:pt idx="2835">
                  <c:v>0.61</c:v>
                </c:pt>
                <c:pt idx="2836">
                  <c:v>1.8</c:v>
                </c:pt>
                <c:pt idx="2837">
                  <c:v>3.01</c:v>
                </c:pt>
                <c:pt idx="2838">
                  <c:v>3.61</c:v>
                </c:pt>
                <c:pt idx="2839">
                  <c:v>3.01</c:v>
                </c:pt>
                <c:pt idx="2840">
                  <c:v>2.4</c:v>
                </c:pt>
                <c:pt idx="2841">
                  <c:v>4.21</c:v>
                </c:pt>
                <c:pt idx="2842">
                  <c:v>1.8</c:v>
                </c:pt>
                <c:pt idx="2843">
                  <c:v>3.61</c:v>
                </c:pt>
                <c:pt idx="2844">
                  <c:v>1.8</c:v>
                </c:pt>
                <c:pt idx="2845">
                  <c:v>3.61</c:v>
                </c:pt>
                <c:pt idx="2846">
                  <c:v>1.21</c:v>
                </c:pt>
                <c:pt idx="2847">
                  <c:v>2.4</c:v>
                </c:pt>
                <c:pt idx="2848">
                  <c:v>3.01</c:v>
                </c:pt>
                <c:pt idx="2849">
                  <c:v>4.8</c:v>
                </c:pt>
                <c:pt idx="2850">
                  <c:v>3.01</c:v>
                </c:pt>
                <c:pt idx="2851">
                  <c:v>3.61</c:v>
                </c:pt>
                <c:pt idx="2852">
                  <c:v>4.21</c:v>
                </c:pt>
                <c:pt idx="2853">
                  <c:v>1.8</c:v>
                </c:pt>
                <c:pt idx="2854">
                  <c:v>3.61</c:v>
                </c:pt>
                <c:pt idx="2855">
                  <c:v>3.61</c:v>
                </c:pt>
                <c:pt idx="2856">
                  <c:v>1.8</c:v>
                </c:pt>
                <c:pt idx="2857">
                  <c:v>3.61</c:v>
                </c:pt>
                <c:pt idx="2858">
                  <c:v>2.4</c:v>
                </c:pt>
                <c:pt idx="2859">
                  <c:v>3.61</c:v>
                </c:pt>
                <c:pt idx="2860">
                  <c:v>3.61</c:v>
                </c:pt>
                <c:pt idx="2861">
                  <c:v>3.01</c:v>
                </c:pt>
                <c:pt idx="2862">
                  <c:v>4.21</c:v>
                </c:pt>
                <c:pt idx="2863">
                  <c:v>1.8</c:v>
                </c:pt>
                <c:pt idx="2864">
                  <c:v>3.01</c:v>
                </c:pt>
                <c:pt idx="2865">
                  <c:v>3.01</c:v>
                </c:pt>
                <c:pt idx="2866">
                  <c:v>3.61</c:v>
                </c:pt>
                <c:pt idx="2867">
                  <c:v>2.4</c:v>
                </c:pt>
                <c:pt idx="2868">
                  <c:v>2.4</c:v>
                </c:pt>
                <c:pt idx="2869">
                  <c:v>2.4</c:v>
                </c:pt>
                <c:pt idx="2870">
                  <c:v>2.4</c:v>
                </c:pt>
                <c:pt idx="2871">
                  <c:v>3.61</c:v>
                </c:pt>
                <c:pt idx="2872">
                  <c:v>4.21</c:v>
                </c:pt>
                <c:pt idx="2873">
                  <c:v>2.4</c:v>
                </c:pt>
                <c:pt idx="2874">
                  <c:v>2.4</c:v>
                </c:pt>
                <c:pt idx="2875">
                  <c:v>3.61</c:v>
                </c:pt>
                <c:pt idx="2876">
                  <c:v>2.4</c:v>
                </c:pt>
                <c:pt idx="2877">
                  <c:v>0.61</c:v>
                </c:pt>
                <c:pt idx="2878">
                  <c:v>4.21</c:v>
                </c:pt>
                <c:pt idx="2879">
                  <c:v>2.4</c:v>
                </c:pt>
                <c:pt idx="2880">
                  <c:v>4.21</c:v>
                </c:pt>
                <c:pt idx="2881">
                  <c:v>3.01</c:v>
                </c:pt>
                <c:pt idx="2882">
                  <c:v>4.21</c:v>
                </c:pt>
                <c:pt idx="2883">
                  <c:v>5.4</c:v>
                </c:pt>
                <c:pt idx="2884">
                  <c:v>3.01</c:v>
                </c:pt>
                <c:pt idx="2885">
                  <c:v>4.21</c:v>
                </c:pt>
                <c:pt idx="2886">
                  <c:v>2.4</c:v>
                </c:pt>
                <c:pt idx="2887">
                  <c:v>4.21</c:v>
                </c:pt>
                <c:pt idx="2888">
                  <c:v>3.01</c:v>
                </c:pt>
                <c:pt idx="2889">
                  <c:v>3.01</c:v>
                </c:pt>
                <c:pt idx="2890">
                  <c:v>1.8</c:v>
                </c:pt>
                <c:pt idx="2891">
                  <c:v>1.21</c:v>
                </c:pt>
                <c:pt idx="2892">
                  <c:v>2.4</c:v>
                </c:pt>
                <c:pt idx="2893">
                  <c:v>3.01</c:v>
                </c:pt>
                <c:pt idx="2894">
                  <c:v>2.4</c:v>
                </c:pt>
                <c:pt idx="2895">
                  <c:v>3.61</c:v>
                </c:pt>
                <c:pt idx="2896">
                  <c:v>1.8</c:v>
                </c:pt>
                <c:pt idx="2897">
                  <c:v>3.01</c:v>
                </c:pt>
                <c:pt idx="2898">
                  <c:v>4.21</c:v>
                </c:pt>
                <c:pt idx="2899">
                  <c:v>2.4</c:v>
                </c:pt>
                <c:pt idx="2900">
                  <c:v>4.8</c:v>
                </c:pt>
                <c:pt idx="2901">
                  <c:v>2.4</c:v>
                </c:pt>
                <c:pt idx="2902">
                  <c:v>1.8</c:v>
                </c:pt>
                <c:pt idx="2903">
                  <c:v>4.8</c:v>
                </c:pt>
                <c:pt idx="2904">
                  <c:v>3.61</c:v>
                </c:pt>
                <c:pt idx="2905">
                  <c:v>4.21</c:v>
                </c:pt>
                <c:pt idx="2906">
                  <c:v>2.4</c:v>
                </c:pt>
                <c:pt idx="2907">
                  <c:v>3.01</c:v>
                </c:pt>
                <c:pt idx="2908">
                  <c:v>2.4</c:v>
                </c:pt>
                <c:pt idx="2909">
                  <c:v>3.01</c:v>
                </c:pt>
                <c:pt idx="2910">
                  <c:v>3.61</c:v>
                </c:pt>
                <c:pt idx="2911">
                  <c:v>3.01</c:v>
                </c:pt>
                <c:pt idx="2912">
                  <c:v>4.8</c:v>
                </c:pt>
                <c:pt idx="2913">
                  <c:v>1.8</c:v>
                </c:pt>
                <c:pt idx="2914">
                  <c:v>1.8</c:v>
                </c:pt>
                <c:pt idx="2915">
                  <c:v>3.61</c:v>
                </c:pt>
                <c:pt idx="2916">
                  <c:v>2.4</c:v>
                </c:pt>
                <c:pt idx="2917">
                  <c:v>3.01</c:v>
                </c:pt>
                <c:pt idx="2918">
                  <c:v>2.4</c:v>
                </c:pt>
                <c:pt idx="2919">
                  <c:v>1.8</c:v>
                </c:pt>
                <c:pt idx="2920">
                  <c:v>3.61</c:v>
                </c:pt>
                <c:pt idx="2921">
                  <c:v>2.4</c:v>
                </c:pt>
                <c:pt idx="2922">
                  <c:v>3.01</c:v>
                </c:pt>
                <c:pt idx="2923">
                  <c:v>3.01</c:v>
                </c:pt>
                <c:pt idx="2924">
                  <c:v>1.8</c:v>
                </c:pt>
                <c:pt idx="2925">
                  <c:v>4.8</c:v>
                </c:pt>
                <c:pt idx="2926">
                  <c:v>4.8</c:v>
                </c:pt>
                <c:pt idx="2927">
                  <c:v>3.01</c:v>
                </c:pt>
                <c:pt idx="2928">
                  <c:v>3.01</c:v>
                </c:pt>
                <c:pt idx="2929">
                  <c:v>1.8</c:v>
                </c:pt>
                <c:pt idx="2930">
                  <c:v>3.61</c:v>
                </c:pt>
                <c:pt idx="2931">
                  <c:v>3.01</c:v>
                </c:pt>
                <c:pt idx="2932">
                  <c:v>4.21</c:v>
                </c:pt>
                <c:pt idx="2933">
                  <c:v>3.01</c:v>
                </c:pt>
                <c:pt idx="2934">
                  <c:v>4.8</c:v>
                </c:pt>
                <c:pt idx="2935">
                  <c:v>2.4</c:v>
                </c:pt>
                <c:pt idx="2936">
                  <c:v>4.21</c:v>
                </c:pt>
                <c:pt idx="2937">
                  <c:v>3.01</c:v>
                </c:pt>
                <c:pt idx="2938">
                  <c:v>2.4</c:v>
                </c:pt>
                <c:pt idx="2939">
                  <c:v>2.4</c:v>
                </c:pt>
                <c:pt idx="2940">
                  <c:v>4.21</c:v>
                </c:pt>
                <c:pt idx="2941">
                  <c:v>3.61</c:v>
                </c:pt>
                <c:pt idx="2942">
                  <c:v>2.4</c:v>
                </c:pt>
                <c:pt idx="2943">
                  <c:v>1.8</c:v>
                </c:pt>
                <c:pt idx="2944">
                  <c:v>0.61</c:v>
                </c:pt>
                <c:pt idx="2945">
                  <c:v>3.61</c:v>
                </c:pt>
                <c:pt idx="2946">
                  <c:v>4.8</c:v>
                </c:pt>
                <c:pt idx="2947">
                  <c:v>1.8</c:v>
                </c:pt>
                <c:pt idx="2948">
                  <c:v>3.61</c:v>
                </c:pt>
                <c:pt idx="2949">
                  <c:v>2.4</c:v>
                </c:pt>
                <c:pt idx="2950">
                  <c:v>3.01</c:v>
                </c:pt>
                <c:pt idx="2951">
                  <c:v>3.01</c:v>
                </c:pt>
                <c:pt idx="2952">
                  <c:v>1.21</c:v>
                </c:pt>
                <c:pt idx="2953">
                  <c:v>3.01</c:v>
                </c:pt>
                <c:pt idx="2954">
                  <c:v>3.61</c:v>
                </c:pt>
                <c:pt idx="2955">
                  <c:v>2.4</c:v>
                </c:pt>
                <c:pt idx="2956">
                  <c:v>2.4</c:v>
                </c:pt>
                <c:pt idx="2957">
                  <c:v>4.21</c:v>
                </c:pt>
                <c:pt idx="2958">
                  <c:v>2.4</c:v>
                </c:pt>
                <c:pt idx="2959">
                  <c:v>2.4</c:v>
                </c:pt>
                <c:pt idx="2960">
                  <c:v>4.8</c:v>
                </c:pt>
                <c:pt idx="2961">
                  <c:v>3.01</c:v>
                </c:pt>
                <c:pt idx="2962">
                  <c:v>3.01</c:v>
                </c:pt>
                <c:pt idx="2963">
                  <c:v>3.61</c:v>
                </c:pt>
                <c:pt idx="2964">
                  <c:v>3.01</c:v>
                </c:pt>
                <c:pt idx="2965">
                  <c:v>5.4</c:v>
                </c:pt>
                <c:pt idx="2966">
                  <c:v>3.61</c:v>
                </c:pt>
                <c:pt idx="2967">
                  <c:v>1.8</c:v>
                </c:pt>
                <c:pt idx="2968">
                  <c:v>2.4</c:v>
                </c:pt>
                <c:pt idx="2969">
                  <c:v>4.8</c:v>
                </c:pt>
                <c:pt idx="2970">
                  <c:v>3.01</c:v>
                </c:pt>
                <c:pt idx="2971">
                  <c:v>2.4</c:v>
                </c:pt>
                <c:pt idx="2972">
                  <c:v>0.61</c:v>
                </c:pt>
                <c:pt idx="2973">
                  <c:v>3.01</c:v>
                </c:pt>
                <c:pt idx="2974">
                  <c:v>3.61</c:v>
                </c:pt>
                <c:pt idx="2975">
                  <c:v>3.01</c:v>
                </c:pt>
                <c:pt idx="2976">
                  <c:v>2.4</c:v>
                </c:pt>
                <c:pt idx="2977">
                  <c:v>4.21</c:v>
                </c:pt>
                <c:pt idx="2978">
                  <c:v>3.61</c:v>
                </c:pt>
                <c:pt idx="2979">
                  <c:v>4.21</c:v>
                </c:pt>
                <c:pt idx="2980">
                  <c:v>3.61</c:v>
                </c:pt>
                <c:pt idx="2981">
                  <c:v>4.21</c:v>
                </c:pt>
                <c:pt idx="2982">
                  <c:v>2.4</c:v>
                </c:pt>
                <c:pt idx="2983">
                  <c:v>2.4</c:v>
                </c:pt>
                <c:pt idx="2984">
                  <c:v>4.21</c:v>
                </c:pt>
                <c:pt idx="2985">
                  <c:v>3.01</c:v>
                </c:pt>
                <c:pt idx="2986">
                  <c:v>2.4</c:v>
                </c:pt>
                <c:pt idx="2987">
                  <c:v>4.21</c:v>
                </c:pt>
                <c:pt idx="2988">
                  <c:v>3.01</c:v>
                </c:pt>
                <c:pt idx="2989">
                  <c:v>1.21</c:v>
                </c:pt>
                <c:pt idx="2990">
                  <c:v>0.61</c:v>
                </c:pt>
                <c:pt idx="2991">
                  <c:v>3.01</c:v>
                </c:pt>
                <c:pt idx="2992">
                  <c:v>3.61</c:v>
                </c:pt>
                <c:pt idx="2993">
                  <c:v>2.4</c:v>
                </c:pt>
                <c:pt idx="2994">
                  <c:v>2.4</c:v>
                </c:pt>
                <c:pt idx="2995">
                  <c:v>1.8</c:v>
                </c:pt>
                <c:pt idx="2996">
                  <c:v>2.4</c:v>
                </c:pt>
                <c:pt idx="2997">
                  <c:v>3.61</c:v>
                </c:pt>
                <c:pt idx="2998">
                  <c:v>3.01</c:v>
                </c:pt>
                <c:pt idx="2999">
                  <c:v>-1.2</c:v>
                </c:pt>
                <c:pt idx="3000">
                  <c:v>2.4</c:v>
                </c:pt>
                <c:pt idx="3001">
                  <c:v>3.61</c:v>
                </c:pt>
                <c:pt idx="3002">
                  <c:v>2.4</c:v>
                </c:pt>
                <c:pt idx="3003">
                  <c:v>4.8</c:v>
                </c:pt>
                <c:pt idx="3004">
                  <c:v>3.01</c:v>
                </c:pt>
                <c:pt idx="3005">
                  <c:v>3.01</c:v>
                </c:pt>
                <c:pt idx="3006">
                  <c:v>4.21</c:v>
                </c:pt>
                <c:pt idx="3007">
                  <c:v>4.21</c:v>
                </c:pt>
                <c:pt idx="3008">
                  <c:v>1.8</c:v>
                </c:pt>
                <c:pt idx="3009">
                  <c:v>2.4</c:v>
                </c:pt>
                <c:pt idx="3010">
                  <c:v>3.61</c:v>
                </c:pt>
                <c:pt idx="3011">
                  <c:v>2.4</c:v>
                </c:pt>
                <c:pt idx="3012">
                  <c:v>3.01</c:v>
                </c:pt>
                <c:pt idx="3013">
                  <c:v>1.21</c:v>
                </c:pt>
                <c:pt idx="3014">
                  <c:v>2.4</c:v>
                </c:pt>
                <c:pt idx="3015">
                  <c:v>1.8</c:v>
                </c:pt>
                <c:pt idx="3016">
                  <c:v>3.01</c:v>
                </c:pt>
                <c:pt idx="3017">
                  <c:v>3.01</c:v>
                </c:pt>
                <c:pt idx="3018">
                  <c:v>3.01</c:v>
                </c:pt>
                <c:pt idx="3019">
                  <c:v>4.8</c:v>
                </c:pt>
                <c:pt idx="3020">
                  <c:v>4.8</c:v>
                </c:pt>
                <c:pt idx="3021">
                  <c:v>1.8</c:v>
                </c:pt>
                <c:pt idx="3022">
                  <c:v>4.21</c:v>
                </c:pt>
                <c:pt idx="3023">
                  <c:v>3.01</c:v>
                </c:pt>
                <c:pt idx="3024">
                  <c:v>2.4</c:v>
                </c:pt>
                <c:pt idx="3025">
                  <c:v>3.61</c:v>
                </c:pt>
                <c:pt idx="3026">
                  <c:v>2.4</c:v>
                </c:pt>
                <c:pt idx="3027">
                  <c:v>1.8</c:v>
                </c:pt>
                <c:pt idx="3028">
                  <c:v>1.8</c:v>
                </c:pt>
                <c:pt idx="3029">
                  <c:v>3.01</c:v>
                </c:pt>
                <c:pt idx="3030">
                  <c:v>2.4</c:v>
                </c:pt>
                <c:pt idx="3031">
                  <c:v>3.01</c:v>
                </c:pt>
                <c:pt idx="3032">
                  <c:v>4.8</c:v>
                </c:pt>
                <c:pt idx="3033">
                  <c:v>2.4</c:v>
                </c:pt>
                <c:pt idx="3034">
                  <c:v>2.4</c:v>
                </c:pt>
                <c:pt idx="3035">
                  <c:v>6.61</c:v>
                </c:pt>
                <c:pt idx="3036">
                  <c:v>3.01</c:v>
                </c:pt>
                <c:pt idx="3037">
                  <c:v>3.61</c:v>
                </c:pt>
                <c:pt idx="3038">
                  <c:v>4.21</c:v>
                </c:pt>
                <c:pt idx="3039">
                  <c:v>4.8</c:v>
                </c:pt>
                <c:pt idx="3040">
                  <c:v>3.61</c:v>
                </c:pt>
                <c:pt idx="3041">
                  <c:v>3.01</c:v>
                </c:pt>
                <c:pt idx="3042">
                  <c:v>4.21</c:v>
                </c:pt>
                <c:pt idx="3043">
                  <c:v>3.01</c:v>
                </c:pt>
                <c:pt idx="3044">
                  <c:v>0.61</c:v>
                </c:pt>
                <c:pt idx="3045">
                  <c:v>4.21</c:v>
                </c:pt>
                <c:pt idx="3046">
                  <c:v>3.01</c:v>
                </c:pt>
                <c:pt idx="3047">
                  <c:v>3.01</c:v>
                </c:pt>
                <c:pt idx="3048">
                  <c:v>1.8</c:v>
                </c:pt>
                <c:pt idx="3049">
                  <c:v>1.8</c:v>
                </c:pt>
                <c:pt idx="3050">
                  <c:v>3.61</c:v>
                </c:pt>
                <c:pt idx="3051">
                  <c:v>2.4</c:v>
                </c:pt>
                <c:pt idx="3052">
                  <c:v>5.4</c:v>
                </c:pt>
                <c:pt idx="3053">
                  <c:v>1.21</c:v>
                </c:pt>
                <c:pt idx="3054">
                  <c:v>3.01</c:v>
                </c:pt>
                <c:pt idx="3055">
                  <c:v>4.21</c:v>
                </c:pt>
                <c:pt idx="3056">
                  <c:v>3.01</c:v>
                </c:pt>
                <c:pt idx="3057">
                  <c:v>2.4</c:v>
                </c:pt>
                <c:pt idx="3058">
                  <c:v>4.21</c:v>
                </c:pt>
                <c:pt idx="3059">
                  <c:v>4.8</c:v>
                </c:pt>
                <c:pt idx="3060">
                  <c:v>2.4</c:v>
                </c:pt>
                <c:pt idx="3061">
                  <c:v>3.61</c:v>
                </c:pt>
                <c:pt idx="3062">
                  <c:v>1.8</c:v>
                </c:pt>
                <c:pt idx="3063">
                  <c:v>4.8</c:v>
                </c:pt>
                <c:pt idx="3064">
                  <c:v>3.61</c:v>
                </c:pt>
                <c:pt idx="3065">
                  <c:v>3.61</c:v>
                </c:pt>
                <c:pt idx="3066">
                  <c:v>2.4</c:v>
                </c:pt>
                <c:pt idx="3067">
                  <c:v>3.61</c:v>
                </c:pt>
                <c:pt idx="3068">
                  <c:v>2.4</c:v>
                </c:pt>
                <c:pt idx="3069">
                  <c:v>4.8</c:v>
                </c:pt>
                <c:pt idx="3070">
                  <c:v>3.01</c:v>
                </c:pt>
                <c:pt idx="3071">
                  <c:v>4.8</c:v>
                </c:pt>
                <c:pt idx="3072">
                  <c:v>1.8</c:v>
                </c:pt>
                <c:pt idx="3073">
                  <c:v>3.01</c:v>
                </c:pt>
                <c:pt idx="3074">
                  <c:v>3.61</c:v>
                </c:pt>
                <c:pt idx="3075">
                  <c:v>4.8</c:v>
                </c:pt>
                <c:pt idx="3076">
                  <c:v>4.8</c:v>
                </c:pt>
                <c:pt idx="3077">
                  <c:v>2.4</c:v>
                </c:pt>
                <c:pt idx="3078">
                  <c:v>2.4</c:v>
                </c:pt>
                <c:pt idx="3079">
                  <c:v>3.01</c:v>
                </c:pt>
                <c:pt idx="3080">
                  <c:v>3.01</c:v>
                </c:pt>
                <c:pt idx="3081">
                  <c:v>3.01</c:v>
                </c:pt>
                <c:pt idx="3082">
                  <c:v>1.8</c:v>
                </c:pt>
                <c:pt idx="3083">
                  <c:v>3.61</c:v>
                </c:pt>
                <c:pt idx="3084">
                  <c:v>2.4</c:v>
                </c:pt>
                <c:pt idx="3085">
                  <c:v>3.61</c:v>
                </c:pt>
                <c:pt idx="3086">
                  <c:v>4.21</c:v>
                </c:pt>
                <c:pt idx="3087">
                  <c:v>0.61</c:v>
                </c:pt>
                <c:pt idx="3088">
                  <c:v>3.61</c:v>
                </c:pt>
                <c:pt idx="3089">
                  <c:v>1.8</c:v>
                </c:pt>
                <c:pt idx="3090">
                  <c:v>3.61</c:v>
                </c:pt>
                <c:pt idx="3091">
                  <c:v>2.4</c:v>
                </c:pt>
                <c:pt idx="3092">
                  <c:v>4.21</c:v>
                </c:pt>
                <c:pt idx="3093">
                  <c:v>2.4</c:v>
                </c:pt>
                <c:pt idx="3094">
                  <c:v>3.61</c:v>
                </c:pt>
                <c:pt idx="3095">
                  <c:v>4.21</c:v>
                </c:pt>
                <c:pt idx="3096">
                  <c:v>3.01</c:v>
                </c:pt>
                <c:pt idx="3097">
                  <c:v>3.01</c:v>
                </c:pt>
                <c:pt idx="3098">
                  <c:v>1.21</c:v>
                </c:pt>
                <c:pt idx="3099">
                  <c:v>2.4</c:v>
                </c:pt>
                <c:pt idx="3100">
                  <c:v>6.01</c:v>
                </c:pt>
                <c:pt idx="3101">
                  <c:v>2.4</c:v>
                </c:pt>
                <c:pt idx="3102">
                  <c:v>3.01</c:v>
                </c:pt>
                <c:pt idx="3103">
                  <c:v>2.4</c:v>
                </c:pt>
                <c:pt idx="3104">
                  <c:v>5.4</c:v>
                </c:pt>
                <c:pt idx="3105">
                  <c:v>3.61</c:v>
                </c:pt>
                <c:pt idx="3106">
                  <c:v>4.8</c:v>
                </c:pt>
                <c:pt idx="3107">
                  <c:v>3.01</c:v>
                </c:pt>
                <c:pt idx="3108">
                  <c:v>4.8</c:v>
                </c:pt>
                <c:pt idx="3109">
                  <c:v>4.21</c:v>
                </c:pt>
                <c:pt idx="3110">
                  <c:v>1.8</c:v>
                </c:pt>
                <c:pt idx="3111">
                  <c:v>3.01</c:v>
                </c:pt>
                <c:pt idx="3112">
                  <c:v>2.4</c:v>
                </c:pt>
                <c:pt idx="3113">
                  <c:v>3.01</c:v>
                </c:pt>
                <c:pt idx="3114">
                  <c:v>3.01</c:v>
                </c:pt>
                <c:pt idx="3115">
                  <c:v>4.21</c:v>
                </c:pt>
                <c:pt idx="3116">
                  <c:v>3.01</c:v>
                </c:pt>
                <c:pt idx="3117">
                  <c:v>1.8</c:v>
                </c:pt>
                <c:pt idx="3118">
                  <c:v>4.8</c:v>
                </c:pt>
                <c:pt idx="3119">
                  <c:v>4.21</c:v>
                </c:pt>
                <c:pt idx="3120">
                  <c:v>2.4</c:v>
                </c:pt>
                <c:pt idx="3121">
                  <c:v>3.61</c:v>
                </c:pt>
                <c:pt idx="3122">
                  <c:v>4.21</c:v>
                </c:pt>
                <c:pt idx="3123">
                  <c:v>2.4</c:v>
                </c:pt>
                <c:pt idx="3124">
                  <c:v>3.01</c:v>
                </c:pt>
                <c:pt idx="3125">
                  <c:v>1.8</c:v>
                </c:pt>
                <c:pt idx="3126">
                  <c:v>4.21</c:v>
                </c:pt>
                <c:pt idx="3127">
                  <c:v>3.01</c:v>
                </c:pt>
                <c:pt idx="3128">
                  <c:v>2.4</c:v>
                </c:pt>
                <c:pt idx="3129">
                  <c:v>3.01</c:v>
                </c:pt>
                <c:pt idx="3130">
                  <c:v>1.8</c:v>
                </c:pt>
                <c:pt idx="3131">
                  <c:v>6.01</c:v>
                </c:pt>
                <c:pt idx="3132">
                  <c:v>4.8</c:v>
                </c:pt>
                <c:pt idx="3133">
                  <c:v>1.8</c:v>
                </c:pt>
                <c:pt idx="3134">
                  <c:v>4.21</c:v>
                </c:pt>
                <c:pt idx="3135">
                  <c:v>3.01</c:v>
                </c:pt>
                <c:pt idx="3136">
                  <c:v>4.21</c:v>
                </c:pt>
                <c:pt idx="3137">
                  <c:v>3.01</c:v>
                </c:pt>
                <c:pt idx="3138">
                  <c:v>4.21</c:v>
                </c:pt>
                <c:pt idx="3139">
                  <c:v>3.01</c:v>
                </c:pt>
                <c:pt idx="3140">
                  <c:v>3.61</c:v>
                </c:pt>
                <c:pt idx="3141">
                  <c:v>1.8</c:v>
                </c:pt>
                <c:pt idx="3142">
                  <c:v>4.21</c:v>
                </c:pt>
                <c:pt idx="3143">
                  <c:v>4.21</c:v>
                </c:pt>
                <c:pt idx="3144">
                  <c:v>3.61</c:v>
                </c:pt>
                <c:pt idx="3145">
                  <c:v>3.01</c:v>
                </c:pt>
                <c:pt idx="3146">
                  <c:v>3.01</c:v>
                </c:pt>
                <c:pt idx="3147">
                  <c:v>3.01</c:v>
                </c:pt>
                <c:pt idx="3148">
                  <c:v>3.01</c:v>
                </c:pt>
                <c:pt idx="3149">
                  <c:v>4.21</c:v>
                </c:pt>
                <c:pt idx="3150">
                  <c:v>4.8</c:v>
                </c:pt>
                <c:pt idx="3151">
                  <c:v>6.01</c:v>
                </c:pt>
                <c:pt idx="3152">
                  <c:v>5.4</c:v>
                </c:pt>
                <c:pt idx="3153">
                  <c:v>4.21</c:v>
                </c:pt>
                <c:pt idx="3154">
                  <c:v>4.21</c:v>
                </c:pt>
                <c:pt idx="3155">
                  <c:v>2.4</c:v>
                </c:pt>
                <c:pt idx="3156">
                  <c:v>2.4</c:v>
                </c:pt>
                <c:pt idx="3157">
                  <c:v>2.4</c:v>
                </c:pt>
                <c:pt idx="3158">
                  <c:v>3.01</c:v>
                </c:pt>
                <c:pt idx="3159">
                  <c:v>3.61</c:v>
                </c:pt>
                <c:pt idx="3160">
                  <c:v>4.21</c:v>
                </c:pt>
                <c:pt idx="3161">
                  <c:v>3.01</c:v>
                </c:pt>
                <c:pt idx="3162">
                  <c:v>4.8</c:v>
                </c:pt>
                <c:pt idx="3163">
                  <c:v>4.8</c:v>
                </c:pt>
                <c:pt idx="3164">
                  <c:v>1.8</c:v>
                </c:pt>
                <c:pt idx="3165">
                  <c:v>3.01</c:v>
                </c:pt>
                <c:pt idx="3166">
                  <c:v>5.4</c:v>
                </c:pt>
                <c:pt idx="3167">
                  <c:v>4.21</c:v>
                </c:pt>
                <c:pt idx="3168">
                  <c:v>3.01</c:v>
                </c:pt>
                <c:pt idx="3169">
                  <c:v>3.61</c:v>
                </c:pt>
                <c:pt idx="3170">
                  <c:v>3.61</c:v>
                </c:pt>
                <c:pt idx="3171">
                  <c:v>3.61</c:v>
                </c:pt>
                <c:pt idx="3172">
                  <c:v>4.21</c:v>
                </c:pt>
                <c:pt idx="3173">
                  <c:v>2.4</c:v>
                </c:pt>
                <c:pt idx="3174">
                  <c:v>3.01</c:v>
                </c:pt>
                <c:pt idx="3175">
                  <c:v>3.01</c:v>
                </c:pt>
                <c:pt idx="3176">
                  <c:v>2.4</c:v>
                </c:pt>
                <c:pt idx="3177">
                  <c:v>3.61</c:v>
                </c:pt>
                <c:pt idx="3178">
                  <c:v>2.4</c:v>
                </c:pt>
                <c:pt idx="3179">
                  <c:v>1.8</c:v>
                </c:pt>
                <c:pt idx="3180">
                  <c:v>3.01</c:v>
                </c:pt>
                <c:pt idx="3181">
                  <c:v>4.8</c:v>
                </c:pt>
                <c:pt idx="3182">
                  <c:v>3.61</c:v>
                </c:pt>
                <c:pt idx="3183">
                  <c:v>4.21</c:v>
                </c:pt>
                <c:pt idx="3184">
                  <c:v>2.4</c:v>
                </c:pt>
                <c:pt idx="3185">
                  <c:v>1.8</c:v>
                </c:pt>
                <c:pt idx="3186">
                  <c:v>2.4</c:v>
                </c:pt>
                <c:pt idx="3187">
                  <c:v>3.01</c:v>
                </c:pt>
                <c:pt idx="3188">
                  <c:v>1.8</c:v>
                </c:pt>
                <c:pt idx="3189">
                  <c:v>3.61</c:v>
                </c:pt>
                <c:pt idx="3190">
                  <c:v>2.4</c:v>
                </c:pt>
                <c:pt idx="3191">
                  <c:v>3.61</c:v>
                </c:pt>
                <c:pt idx="3192">
                  <c:v>3.01</c:v>
                </c:pt>
                <c:pt idx="3193">
                  <c:v>3.01</c:v>
                </c:pt>
                <c:pt idx="3194">
                  <c:v>1.8</c:v>
                </c:pt>
                <c:pt idx="3195">
                  <c:v>3.61</c:v>
                </c:pt>
                <c:pt idx="3196">
                  <c:v>2.4</c:v>
                </c:pt>
                <c:pt idx="3197">
                  <c:v>3.01</c:v>
                </c:pt>
                <c:pt idx="3198">
                  <c:v>2.4</c:v>
                </c:pt>
                <c:pt idx="3199">
                  <c:v>1.21</c:v>
                </c:pt>
                <c:pt idx="3200">
                  <c:v>3.61</c:v>
                </c:pt>
                <c:pt idx="3201">
                  <c:v>3.01</c:v>
                </c:pt>
                <c:pt idx="3202">
                  <c:v>3.61</c:v>
                </c:pt>
                <c:pt idx="3203">
                  <c:v>3.01</c:v>
                </c:pt>
                <c:pt idx="3204">
                  <c:v>3.01</c:v>
                </c:pt>
                <c:pt idx="3205">
                  <c:v>3.61</c:v>
                </c:pt>
                <c:pt idx="3206">
                  <c:v>5.4</c:v>
                </c:pt>
                <c:pt idx="3207">
                  <c:v>3.61</c:v>
                </c:pt>
                <c:pt idx="3208">
                  <c:v>1.8</c:v>
                </c:pt>
                <c:pt idx="3209">
                  <c:v>3.61</c:v>
                </c:pt>
                <c:pt idx="3210">
                  <c:v>0.01</c:v>
                </c:pt>
                <c:pt idx="3211">
                  <c:v>4.21</c:v>
                </c:pt>
                <c:pt idx="3212">
                  <c:v>2.4</c:v>
                </c:pt>
                <c:pt idx="3213">
                  <c:v>3.61</c:v>
                </c:pt>
                <c:pt idx="3214">
                  <c:v>3.61</c:v>
                </c:pt>
                <c:pt idx="3215">
                  <c:v>2.4</c:v>
                </c:pt>
                <c:pt idx="3216">
                  <c:v>3.61</c:v>
                </c:pt>
                <c:pt idx="3217">
                  <c:v>3.61</c:v>
                </c:pt>
                <c:pt idx="3218">
                  <c:v>5.4</c:v>
                </c:pt>
                <c:pt idx="3219">
                  <c:v>2.4</c:v>
                </c:pt>
                <c:pt idx="3220">
                  <c:v>3.01</c:v>
                </c:pt>
                <c:pt idx="3221">
                  <c:v>3.61</c:v>
                </c:pt>
                <c:pt idx="3222">
                  <c:v>2.4</c:v>
                </c:pt>
                <c:pt idx="3223">
                  <c:v>0.61</c:v>
                </c:pt>
                <c:pt idx="3224">
                  <c:v>3.01</c:v>
                </c:pt>
                <c:pt idx="3225">
                  <c:v>5.4</c:v>
                </c:pt>
                <c:pt idx="3226">
                  <c:v>2.4</c:v>
                </c:pt>
                <c:pt idx="3227">
                  <c:v>2.4</c:v>
                </c:pt>
                <c:pt idx="3228">
                  <c:v>3.01</c:v>
                </c:pt>
                <c:pt idx="3229">
                  <c:v>3.61</c:v>
                </c:pt>
                <c:pt idx="3230">
                  <c:v>3.01</c:v>
                </c:pt>
                <c:pt idx="3231">
                  <c:v>1.8</c:v>
                </c:pt>
                <c:pt idx="3232">
                  <c:v>4.21</c:v>
                </c:pt>
                <c:pt idx="3233">
                  <c:v>3.01</c:v>
                </c:pt>
                <c:pt idx="3234">
                  <c:v>1.8</c:v>
                </c:pt>
                <c:pt idx="3235">
                  <c:v>5.4</c:v>
                </c:pt>
                <c:pt idx="3236">
                  <c:v>4.8</c:v>
                </c:pt>
                <c:pt idx="3237">
                  <c:v>3.61</c:v>
                </c:pt>
                <c:pt idx="3238">
                  <c:v>3.01</c:v>
                </c:pt>
                <c:pt idx="3239">
                  <c:v>4.21</c:v>
                </c:pt>
                <c:pt idx="3240">
                  <c:v>2.4</c:v>
                </c:pt>
                <c:pt idx="3241">
                  <c:v>3.01</c:v>
                </c:pt>
                <c:pt idx="3242">
                  <c:v>1.21</c:v>
                </c:pt>
                <c:pt idx="3243">
                  <c:v>1.8</c:v>
                </c:pt>
                <c:pt idx="3244">
                  <c:v>3.01</c:v>
                </c:pt>
                <c:pt idx="3245">
                  <c:v>2.4</c:v>
                </c:pt>
                <c:pt idx="3246">
                  <c:v>3.01</c:v>
                </c:pt>
                <c:pt idx="3247">
                  <c:v>2.4</c:v>
                </c:pt>
                <c:pt idx="3248">
                  <c:v>1.8</c:v>
                </c:pt>
                <c:pt idx="3249">
                  <c:v>3.61</c:v>
                </c:pt>
                <c:pt idx="3250">
                  <c:v>0.01</c:v>
                </c:pt>
                <c:pt idx="3251">
                  <c:v>4.21</c:v>
                </c:pt>
                <c:pt idx="3252">
                  <c:v>4.21</c:v>
                </c:pt>
                <c:pt idx="3253">
                  <c:v>4.21</c:v>
                </c:pt>
                <c:pt idx="3254">
                  <c:v>4.8</c:v>
                </c:pt>
                <c:pt idx="3255">
                  <c:v>4.21</c:v>
                </c:pt>
                <c:pt idx="3256">
                  <c:v>3.01</c:v>
                </c:pt>
                <c:pt idx="3257">
                  <c:v>4.8</c:v>
                </c:pt>
                <c:pt idx="3258">
                  <c:v>2.4</c:v>
                </c:pt>
                <c:pt idx="3259">
                  <c:v>2.4</c:v>
                </c:pt>
                <c:pt idx="3260">
                  <c:v>3.01</c:v>
                </c:pt>
                <c:pt idx="3261">
                  <c:v>3.61</c:v>
                </c:pt>
                <c:pt idx="3262">
                  <c:v>3.01</c:v>
                </c:pt>
                <c:pt idx="3263">
                  <c:v>3.61</c:v>
                </c:pt>
                <c:pt idx="3264">
                  <c:v>4.8</c:v>
                </c:pt>
                <c:pt idx="3265">
                  <c:v>3.01</c:v>
                </c:pt>
                <c:pt idx="3266">
                  <c:v>4.21</c:v>
                </c:pt>
                <c:pt idx="3267">
                  <c:v>3.61</c:v>
                </c:pt>
                <c:pt idx="3268">
                  <c:v>3.61</c:v>
                </c:pt>
                <c:pt idx="3269">
                  <c:v>2.4</c:v>
                </c:pt>
                <c:pt idx="3270">
                  <c:v>4.21</c:v>
                </c:pt>
                <c:pt idx="3271">
                  <c:v>1.8</c:v>
                </c:pt>
                <c:pt idx="3272">
                  <c:v>3.61</c:v>
                </c:pt>
                <c:pt idx="3273">
                  <c:v>4.21</c:v>
                </c:pt>
                <c:pt idx="3274">
                  <c:v>4.21</c:v>
                </c:pt>
                <c:pt idx="3275">
                  <c:v>1.8</c:v>
                </c:pt>
                <c:pt idx="3276">
                  <c:v>4.8</c:v>
                </c:pt>
                <c:pt idx="3277">
                  <c:v>3.61</c:v>
                </c:pt>
                <c:pt idx="3278">
                  <c:v>3.61</c:v>
                </c:pt>
                <c:pt idx="3279">
                  <c:v>1.8</c:v>
                </c:pt>
                <c:pt idx="3280">
                  <c:v>2.4</c:v>
                </c:pt>
                <c:pt idx="3281">
                  <c:v>1.8</c:v>
                </c:pt>
                <c:pt idx="3282">
                  <c:v>4.8</c:v>
                </c:pt>
                <c:pt idx="3283">
                  <c:v>4.8</c:v>
                </c:pt>
                <c:pt idx="3284">
                  <c:v>2.4</c:v>
                </c:pt>
                <c:pt idx="3285">
                  <c:v>1.21</c:v>
                </c:pt>
                <c:pt idx="3286">
                  <c:v>4.8</c:v>
                </c:pt>
                <c:pt idx="3287">
                  <c:v>2.4</c:v>
                </c:pt>
                <c:pt idx="3288">
                  <c:v>5.4</c:v>
                </c:pt>
                <c:pt idx="3289">
                  <c:v>4.21</c:v>
                </c:pt>
                <c:pt idx="3290">
                  <c:v>4.8</c:v>
                </c:pt>
                <c:pt idx="3291">
                  <c:v>3.61</c:v>
                </c:pt>
                <c:pt idx="3292">
                  <c:v>2.4</c:v>
                </c:pt>
                <c:pt idx="3293">
                  <c:v>4.8</c:v>
                </c:pt>
                <c:pt idx="3294">
                  <c:v>1.8</c:v>
                </c:pt>
                <c:pt idx="3295">
                  <c:v>2.4</c:v>
                </c:pt>
                <c:pt idx="3296">
                  <c:v>1.8</c:v>
                </c:pt>
                <c:pt idx="3297">
                  <c:v>3.01</c:v>
                </c:pt>
                <c:pt idx="3298">
                  <c:v>6.01</c:v>
                </c:pt>
                <c:pt idx="3299">
                  <c:v>1.8</c:v>
                </c:pt>
                <c:pt idx="3300">
                  <c:v>3.01</c:v>
                </c:pt>
                <c:pt idx="3301">
                  <c:v>4.21</c:v>
                </c:pt>
                <c:pt idx="3302">
                  <c:v>3.61</c:v>
                </c:pt>
                <c:pt idx="3303">
                  <c:v>4.21</c:v>
                </c:pt>
                <c:pt idx="3304">
                  <c:v>3.61</c:v>
                </c:pt>
                <c:pt idx="3305">
                  <c:v>3.01</c:v>
                </c:pt>
                <c:pt idx="3306">
                  <c:v>1.21</c:v>
                </c:pt>
                <c:pt idx="3307">
                  <c:v>3.61</c:v>
                </c:pt>
                <c:pt idx="3308">
                  <c:v>5.4</c:v>
                </c:pt>
                <c:pt idx="3309">
                  <c:v>4.8</c:v>
                </c:pt>
                <c:pt idx="3310">
                  <c:v>3.01</c:v>
                </c:pt>
                <c:pt idx="3311">
                  <c:v>3.01</c:v>
                </c:pt>
                <c:pt idx="3312">
                  <c:v>4.8</c:v>
                </c:pt>
                <c:pt idx="3313">
                  <c:v>6.61</c:v>
                </c:pt>
                <c:pt idx="3314">
                  <c:v>3.61</c:v>
                </c:pt>
                <c:pt idx="3315">
                  <c:v>1.8</c:v>
                </c:pt>
                <c:pt idx="3316">
                  <c:v>4.21</c:v>
                </c:pt>
                <c:pt idx="3317">
                  <c:v>3.01</c:v>
                </c:pt>
                <c:pt idx="3318">
                  <c:v>3.01</c:v>
                </c:pt>
                <c:pt idx="3319">
                  <c:v>3.61</c:v>
                </c:pt>
                <c:pt idx="3320">
                  <c:v>4.21</c:v>
                </c:pt>
                <c:pt idx="3321">
                  <c:v>3.01</c:v>
                </c:pt>
                <c:pt idx="3322">
                  <c:v>4.21</c:v>
                </c:pt>
                <c:pt idx="3323">
                  <c:v>2.4</c:v>
                </c:pt>
                <c:pt idx="3324">
                  <c:v>4.8</c:v>
                </c:pt>
                <c:pt idx="3325">
                  <c:v>3.01</c:v>
                </c:pt>
                <c:pt idx="3326">
                  <c:v>3.01</c:v>
                </c:pt>
                <c:pt idx="3327">
                  <c:v>5.4</c:v>
                </c:pt>
                <c:pt idx="3328">
                  <c:v>4.8</c:v>
                </c:pt>
                <c:pt idx="3329">
                  <c:v>3.61</c:v>
                </c:pt>
                <c:pt idx="3330">
                  <c:v>3.61</c:v>
                </c:pt>
                <c:pt idx="3331">
                  <c:v>2.4</c:v>
                </c:pt>
                <c:pt idx="3332">
                  <c:v>3.61</c:v>
                </c:pt>
                <c:pt idx="3333">
                  <c:v>4.21</c:v>
                </c:pt>
                <c:pt idx="3334">
                  <c:v>3.01</c:v>
                </c:pt>
                <c:pt idx="3335">
                  <c:v>4.21</c:v>
                </c:pt>
                <c:pt idx="3336">
                  <c:v>4.21</c:v>
                </c:pt>
                <c:pt idx="3337">
                  <c:v>3.61</c:v>
                </c:pt>
                <c:pt idx="3338">
                  <c:v>6.01</c:v>
                </c:pt>
                <c:pt idx="3339">
                  <c:v>1.8</c:v>
                </c:pt>
                <c:pt idx="3340">
                  <c:v>5.4</c:v>
                </c:pt>
                <c:pt idx="3341">
                  <c:v>1.8</c:v>
                </c:pt>
                <c:pt idx="3342">
                  <c:v>2.4</c:v>
                </c:pt>
                <c:pt idx="3343">
                  <c:v>3.61</c:v>
                </c:pt>
                <c:pt idx="3344">
                  <c:v>3.61</c:v>
                </c:pt>
                <c:pt idx="3345">
                  <c:v>2.4</c:v>
                </c:pt>
                <c:pt idx="3346">
                  <c:v>3.01</c:v>
                </c:pt>
                <c:pt idx="3347">
                  <c:v>2.4</c:v>
                </c:pt>
                <c:pt idx="3348">
                  <c:v>3.61</c:v>
                </c:pt>
                <c:pt idx="3349">
                  <c:v>1.8</c:v>
                </c:pt>
                <c:pt idx="3350">
                  <c:v>4.8</c:v>
                </c:pt>
                <c:pt idx="3351">
                  <c:v>2.4</c:v>
                </c:pt>
                <c:pt idx="3352">
                  <c:v>3.61</c:v>
                </c:pt>
                <c:pt idx="3353">
                  <c:v>5.4</c:v>
                </c:pt>
                <c:pt idx="3354">
                  <c:v>2.4</c:v>
                </c:pt>
                <c:pt idx="3355">
                  <c:v>4.8</c:v>
                </c:pt>
                <c:pt idx="3356">
                  <c:v>1.8</c:v>
                </c:pt>
                <c:pt idx="3357">
                  <c:v>3.01</c:v>
                </c:pt>
                <c:pt idx="3358">
                  <c:v>5.4</c:v>
                </c:pt>
                <c:pt idx="3359">
                  <c:v>6.01</c:v>
                </c:pt>
                <c:pt idx="3360">
                  <c:v>3.61</c:v>
                </c:pt>
                <c:pt idx="3361">
                  <c:v>2.4</c:v>
                </c:pt>
                <c:pt idx="3362">
                  <c:v>3.01</c:v>
                </c:pt>
                <c:pt idx="3363">
                  <c:v>4.21</c:v>
                </c:pt>
                <c:pt idx="3364">
                  <c:v>2.4</c:v>
                </c:pt>
                <c:pt idx="3365">
                  <c:v>3.61</c:v>
                </c:pt>
                <c:pt idx="3366">
                  <c:v>3.61</c:v>
                </c:pt>
                <c:pt idx="3367">
                  <c:v>3.61</c:v>
                </c:pt>
                <c:pt idx="3368">
                  <c:v>4.8</c:v>
                </c:pt>
                <c:pt idx="3369">
                  <c:v>2.4</c:v>
                </c:pt>
                <c:pt idx="3370">
                  <c:v>4.8</c:v>
                </c:pt>
                <c:pt idx="3371">
                  <c:v>3.01</c:v>
                </c:pt>
                <c:pt idx="3372">
                  <c:v>3.61</c:v>
                </c:pt>
                <c:pt idx="3373">
                  <c:v>3.61</c:v>
                </c:pt>
                <c:pt idx="3374">
                  <c:v>2.4</c:v>
                </c:pt>
                <c:pt idx="3375">
                  <c:v>3.01</c:v>
                </c:pt>
                <c:pt idx="3376">
                  <c:v>1.21</c:v>
                </c:pt>
                <c:pt idx="3377">
                  <c:v>3.61</c:v>
                </c:pt>
                <c:pt idx="3378">
                  <c:v>3.01</c:v>
                </c:pt>
                <c:pt idx="3379">
                  <c:v>3.01</c:v>
                </c:pt>
                <c:pt idx="3380">
                  <c:v>3.01</c:v>
                </c:pt>
                <c:pt idx="3381">
                  <c:v>6.01</c:v>
                </c:pt>
                <c:pt idx="3382">
                  <c:v>3.61</c:v>
                </c:pt>
                <c:pt idx="3383">
                  <c:v>5.4</c:v>
                </c:pt>
                <c:pt idx="3384">
                  <c:v>6.61</c:v>
                </c:pt>
                <c:pt idx="3385">
                  <c:v>3.01</c:v>
                </c:pt>
                <c:pt idx="3386">
                  <c:v>3.61</c:v>
                </c:pt>
                <c:pt idx="3387">
                  <c:v>4.21</c:v>
                </c:pt>
                <c:pt idx="3388">
                  <c:v>3.01</c:v>
                </c:pt>
                <c:pt idx="3389">
                  <c:v>2.4</c:v>
                </c:pt>
                <c:pt idx="3390">
                  <c:v>3.01</c:v>
                </c:pt>
                <c:pt idx="3391">
                  <c:v>3.61</c:v>
                </c:pt>
                <c:pt idx="3392">
                  <c:v>3.61</c:v>
                </c:pt>
                <c:pt idx="3393">
                  <c:v>4.8</c:v>
                </c:pt>
                <c:pt idx="3394">
                  <c:v>4.8</c:v>
                </c:pt>
                <c:pt idx="3395">
                  <c:v>1.21</c:v>
                </c:pt>
                <c:pt idx="3396">
                  <c:v>1.8</c:v>
                </c:pt>
                <c:pt idx="3397">
                  <c:v>0.61</c:v>
                </c:pt>
                <c:pt idx="3398">
                  <c:v>4.8</c:v>
                </c:pt>
                <c:pt idx="3399">
                  <c:v>3.61</c:v>
                </c:pt>
                <c:pt idx="3400">
                  <c:v>3.01</c:v>
                </c:pt>
                <c:pt idx="3401">
                  <c:v>3.01</c:v>
                </c:pt>
                <c:pt idx="3402">
                  <c:v>2.4</c:v>
                </c:pt>
                <c:pt idx="3403">
                  <c:v>5.4</c:v>
                </c:pt>
                <c:pt idx="3404">
                  <c:v>3.01</c:v>
                </c:pt>
                <c:pt idx="3405">
                  <c:v>4.8</c:v>
                </c:pt>
                <c:pt idx="3406">
                  <c:v>3.61</c:v>
                </c:pt>
                <c:pt idx="3407">
                  <c:v>4.21</c:v>
                </c:pt>
                <c:pt idx="3408">
                  <c:v>4.21</c:v>
                </c:pt>
                <c:pt idx="3409">
                  <c:v>4.21</c:v>
                </c:pt>
                <c:pt idx="3410">
                  <c:v>1.21</c:v>
                </c:pt>
                <c:pt idx="3411">
                  <c:v>3.61</c:v>
                </c:pt>
                <c:pt idx="3412">
                  <c:v>3.01</c:v>
                </c:pt>
                <c:pt idx="3413">
                  <c:v>0.61</c:v>
                </c:pt>
                <c:pt idx="3414">
                  <c:v>1.21</c:v>
                </c:pt>
                <c:pt idx="3415">
                  <c:v>3.61</c:v>
                </c:pt>
                <c:pt idx="3416">
                  <c:v>4.8</c:v>
                </c:pt>
                <c:pt idx="3417">
                  <c:v>2.4</c:v>
                </c:pt>
                <c:pt idx="3418">
                  <c:v>4.21</c:v>
                </c:pt>
                <c:pt idx="3419">
                  <c:v>4.21</c:v>
                </c:pt>
                <c:pt idx="3420">
                  <c:v>3.01</c:v>
                </c:pt>
                <c:pt idx="3421">
                  <c:v>2.4</c:v>
                </c:pt>
                <c:pt idx="3422">
                  <c:v>3.01</c:v>
                </c:pt>
                <c:pt idx="3423">
                  <c:v>3.61</c:v>
                </c:pt>
                <c:pt idx="3424">
                  <c:v>2.4</c:v>
                </c:pt>
                <c:pt idx="3425">
                  <c:v>3.61</c:v>
                </c:pt>
                <c:pt idx="3426">
                  <c:v>2.4</c:v>
                </c:pt>
                <c:pt idx="3427">
                  <c:v>3.61</c:v>
                </c:pt>
                <c:pt idx="3428">
                  <c:v>4.8</c:v>
                </c:pt>
                <c:pt idx="3429">
                  <c:v>4.21</c:v>
                </c:pt>
                <c:pt idx="3430">
                  <c:v>4.21</c:v>
                </c:pt>
                <c:pt idx="3431">
                  <c:v>4.8</c:v>
                </c:pt>
                <c:pt idx="3432">
                  <c:v>4.8</c:v>
                </c:pt>
                <c:pt idx="3433">
                  <c:v>2.4</c:v>
                </c:pt>
                <c:pt idx="3434">
                  <c:v>1.21</c:v>
                </c:pt>
                <c:pt idx="3435">
                  <c:v>4.8</c:v>
                </c:pt>
                <c:pt idx="3436">
                  <c:v>1.8</c:v>
                </c:pt>
                <c:pt idx="3437">
                  <c:v>3.01</c:v>
                </c:pt>
                <c:pt idx="3438">
                  <c:v>3.01</c:v>
                </c:pt>
                <c:pt idx="3439">
                  <c:v>4.21</c:v>
                </c:pt>
                <c:pt idx="3440">
                  <c:v>6.01</c:v>
                </c:pt>
                <c:pt idx="3441">
                  <c:v>4.8</c:v>
                </c:pt>
                <c:pt idx="3442">
                  <c:v>3.01</c:v>
                </c:pt>
                <c:pt idx="3443">
                  <c:v>2.4</c:v>
                </c:pt>
                <c:pt idx="3444">
                  <c:v>4.21</c:v>
                </c:pt>
                <c:pt idx="3445">
                  <c:v>5.4</c:v>
                </c:pt>
                <c:pt idx="3446">
                  <c:v>3.61</c:v>
                </c:pt>
                <c:pt idx="3447">
                  <c:v>3.61</c:v>
                </c:pt>
                <c:pt idx="3448">
                  <c:v>4.8</c:v>
                </c:pt>
                <c:pt idx="3449">
                  <c:v>4.8</c:v>
                </c:pt>
                <c:pt idx="3450">
                  <c:v>4.8</c:v>
                </c:pt>
                <c:pt idx="3451">
                  <c:v>3.61</c:v>
                </c:pt>
                <c:pt idx="3452">
                  <c:v>3.61</c:v>
                </c:pt>
                <c:pt idx="3453">
                  <c:v>4.21</c:v>
                </c:pt>
                <c:pt idx="3454">
                  <c:v>4.21</c:v>
                </c:pt>
                <c:pt idx="3455">
                  <c:v>4.8</c:v>
                </c:pt>
                <c:pt idx="3456">
                  <c:v>4.21</c:v>
                </c:pt>
                <c:pt idx="3457">
                  <c:v>3.61</c:v>
                </c:pt>
                <c:pt idx="3458">
                  <c:v>3.61</c:v>
                </c:pt>
                <c:pt idx="3459">
                  <c:v>4.21</c:v>
                </c:pt>
                <c:pt idx="3460">
                  <c:v>1.21</c:v>
                </c:pt>
                <c:pt idx="3461">
                  <c:v>3.01</c:v>
                </c:pt>
                <c:pt idx="3462">
                  <c:v>3.61</c:v>
                </c:pt>
                <c:pt idx="3463">
                  <c:v>4.21</c:v>
                </c:pt>
                <c:pt idx="3464">
                  <c:v>2.4</c:v>
                </c:pt>
                <c:pt idx="3465">
                  <c:v>5.4</c:v>
                </c:pt>
                <c:pt idx="3466">
                  <c:v>4.21</c:v>
                </c:pt>
                <c:pt idx="3467">
                  <c:v>4.21</c:v>
                </c:pt>
                <c:pt idx="3468">
                  <c:v>4.21</c:v>
                </c:pt>
                <c:pt idx="3469">
                  <c:v>3.61</c:v>
                </c:pt>
                <c:pt idx="3470">
                  <c:v>4.21</c:v>
                </c:pt>
                <c:pt idx="3471">
                  <c:v>4.21</c:v>
                </c:pt>
                <c:pt idx="3472">
                  <c:v>4.21</c:v>
                </c:pt>
                <c:pt idx="3473">
                  <c:v>4.8</c:v>
                </c:pt>
                <c:pt idx="3474">
                  <c:v>2.4</c:v>
                </c:pt>
                <c:pt idx="3475">
                  <c:v>4.21</c:v>
                </c:pt>
                <c:pt idx="3476">
                  <c:v>2.4</c:v>
                </c:pt>
                <c:pt idx="3477">
                  <c:v>2.4</c:v>
                </c:pt>
                <c:pt idx="3478">
                  <c:v>3.01</c:v>
                </c:pt>
                <c:pt idx="3479">
                  <c:v>2.4</c:v>
                </c:pt>
                <c:pt idx="3480">
                  <c:v>3.61</c:v>
                </c:pt>
                <c:pt idx="3481">
                  <c:v>4.8</c:v>
                </c:pt>
                <c:pt idx="3482">
                  <c:v>2.4</c:v>
                </c:pt>
                <c:pt idx="3483">
                  <c:v>3.01</c:v>
                </c:pt>
                <c:pt idx="3484">
                  <c:v>3.01</c:v>
                </c:pt>
                <c:pt idx="3485">
                  <c:v>4.21</c:v>
                </c:pt>
                <c:pt idx="3486">
                  <c:v>4.21</c:v>
                </c:pt>
                <c:pt idx="3487">
                  <c:v>3.01</c:v>
                </c:pt>
                <c:pt idx="3488">
                  <c:v>3.01</c:v>
                </c:pt>
                <c:pt idx="3489">
                  <c:v>5.4</c:v>
                </c:pt>
                <c:pt idx="3490">
                  <c:v>2.4</c:v>
                </c:pt>
                <c:pt idx="3491">
                  <c:v>4.21</c:v>
                </c:pt>
                <c:pt idx="3492">
                  <c:v>3.01</c:v>
                </c:pt>
                <c:pt idx="3493">
                  <c:v>1.8</c:v>
                </c:pt>
                <c:pt idx="3494">
                  <c:v>2.4</c:v>
                </c:pt>
                <c:pt idx="3495">
                  <c:v>4.21</c:v>
                </c:pt>
                <c:pt idx="3496">
                  <c:v>3.01</c:v>
                </c:pt>
                <c:pt idx="3497">
                  <c:v>3.61</c:v>
                </c:pt>
                <c:pt idx="3498">
                  <c:v>5.4</c:v>
                </c:pt>
                <c:pt idx="3499">
                  <c:v>2.4</c:v>
                </c:pt>
                <c:pt idx="3500">
                  <c:v>4.8</c:v>
                </c:pt>
                <c:pt idx="3501">
                  <c:v>4.8</c:v>
                </c:pt>
                <c:pt idx="3502">
                  <c:v>3.61</c:v>
                </c:pt>
                <c:pt idx="3503">
                  <c:v>3.61</c:v>
                </c:pt>
                <c:pt idx="3504">
                  <c:v>3.01</c:v>
                </c:pt>
                <c:pt idx="3505">
                  <c:v>3.01</c:v>
                </c:pt>
                <c:pt idx="3506">
                  <c:v>3.01</c:v>
                </c:pt>
                <c:pt idx="3507">
                  <c:v>4.8</c:v>
                </c:pt>
                <c:pt idx="3508">
                  <c:v>3.61</c:v>
                </c:pt>
                <c:pt idx="3509">
                  <c:v>4.8</c:v>
                </c:pt>
                <c:pt idx="3510">
                  <c:v>3.01</c:v>
                </c:pt>
                <c:pt idx="3511">
                  <c:v>2.4</c:v>
                </c:pt>
                <c:pt idx="3512">
                  <c:v>2.4</c:v>
                </c:pt>
                <c:pt idx="3513">
                  <c:v>1.8</c:v>
                </c:pt>
                <c:pt idx="3514">
                  <c:v>4.8</c:v>
                </c:pt>
                <c:pt idx="3515">
                  <c:v>3.61</c:v>
                </c:pt>
                <c:pt idx="3516">
                  <c:v>4.21</c:v>
                </c:pt>
                <c:pt idx="3517">
                  <c:v>3.01</c:v>
                </c:pt>
                <c:pt idx="3518">
                  <c:v>3.61</c:v>
                </c:pt>
                <c:pt idx="3519">
                  <c:v>3.61</c:v>
                </c:pt>
                <c:pt idx="3520">
                  <c:v>2.4</c:v>
                </c:pt>
                <c:pt idx="3521">
                  <c:v>4.21</c:v>
                </c:pt>
                <c:pt idx="3522">
                  <c:v>2.4</c:v>
                </c:pt>
                <c:pt idx="3523">
                  <c:v>5.4</c:v>
                </c:pt>
                <c:pt idx="3524">
                  <c:v>3.01</c:v>
                </c:pt>
                <c:pt idx="3525">
                  <c:v>4.8</c:v>
                </c:pt>
                <c:pt idx="3526">
                  <c:v>3.61</c:v>
                </c:pt>
                <c:pt idx="3527">
                  <c:v>3.01</c:v>
                </c:pt>
                <c:pt idx="3528">
                  <c:v>3.61</c:v>
                </c:pt>
                <c:pt idx="3529">
                  <c:v>4.21</c:v>
                </c:pt>
                <c:pt idx="3530">
                  <c:v>2.4</c:v>
                </c:pt>
                <c:pt idx="3531">
                  <c:v>3.01</c:v>
                </c:pt>
                <c:pt idx="3532">
                  <c:v>2.4</c:v>
                </c:pt>
                <c:pt idx="3533">
                  <c:v>1.8</c:v>
                </c:pt>
                <c:pt idx="3534">
                  <c:v>2.4</c:v>
                </c:pt>
                <c:pt idx="3535">
                  <c:v>3.01</c:v>
                </c:pt>
                <c:pt idx="3536">
                  <c:v>4.21</c:v>
                </c:pt>
                <c:pt idx="3537">
                  <c:v>3.61</c:v>
                </c:pt>
                <c:pt idx="3538">
                  <c:v>4.21</c:v>
                </c:pt>
                <c:pt idx="3539">
                  <c:v>3.61</c:v>
                </c:pt>
                <c:pt idx="3540">
                  <c:v>4.21</c:v>
                </c:pt>
                <c:pt idx="3541">
                  <c:v>5.4</c:v>
                </c:pt>
                <c:pt idx="3542">
                  <c:v>4.21</c:v>
                </c:pt>
                <c:pt idx="3543">
                  <c:v>1.8</c:v>
                </c:pt>
                <c:pt idx="3544">
                  <c:v>4.21</c:v>
                </c:pt>
                <c:pt idx="3545">
                  <c:v>6.01</c:v>
                </c:pt>
                <c:pt idx="3546">
                  <c:v>4.8</c:v>
                </c:pt>
                <c:pt idx="3547">
                  <c:v>3.01</c:v>
                </c:pt>
                <c:pt idx="3548">
                  <c:v>7.21</c:v>
                </c:pt>
                <c:pt idx="3549">
                  <c:v>3.61</c:v>
                </c:pt>
                <c:pt idx="3550">
                  <c:v>1.8</c:v>
                </c:pt>
                <c:pt idx="3551">
                  <c:v>4.21</c:v>
                </c:pt>
                <c:pt idx="3552">
                  <c:v>1.21</c:v>
                </c:pt>
                <c:pt idx="3553">
                  <c:v>3.01</c:v>
                </c:pt>
                <c:pt idx="3554">
                  <c:v>2.4</c:v>
                </c:pt>
                <c:pt idx="3555">
                  <c:v>1.8</c:v>
                </c:pt>
                <c:pt idx="3556">
                  <c:v>3.01</c:v>
                </c:pt>
                <c:pt idx="3557">
                  <c:v>3.61</c:v>
                </c:pt>
                <c:pt idx="3558">
                  <c:v>3.61</c:v>
                </c:pt>
                <c:pt idx="3559">
                  <c:v>4.21</c:v>
                </c:pt>
                <c:pt idx="3560">
                  <c:v>4.8</c:v>
                </c:pt>
                <c:pt idx="3561">
                  <c:v>4.21</c:v>
                </c:pt>
                <c:pt idx="3562">
                  <c:v>3.01</c:v>
                </c:pt>
                <c:pt idx="3563">
                  <c:v>2.4</c:v>
                </c:pt>
                <c:pt idx="3564">
                  <c:v>2.4</c:v>
                </c:pt>
                <c:pt idx="3565">
                  <c:v>5.4</c:v>
                </c:pt>
                <c:pt idx="3566">
                  <c:v>3.01</c:v>
                </c:pt>
                <c:pt idx="3567">
                  <c:v>4.8</c:v>
                </c:pt>
                <c:pt idx="3568">
                  <c:v>3.61</c:v>
                </c:pt>
                <c:pt idx="3569">
                  <c:v>6.01</c:v>
                </c:pt>
                <c:pt idx="3570">
                  <c:v>4.8</c:v>
                </c:pt>
                <c:pt idx="3571">
                  <c:v>4.21</c:v>
                </c:pt>
                <c:pt idx="3572">
                  <c:v>4.21</c:v>
                </c:pt>
                <c:pt idx="3573">
                  <c:v>1.8</c:v>
                </c:pt>
                <c:pt idx="3574">
                  <c:v>4.21</c:v>
                </c:pt>
                <c:pt idx="3575">
                  <c:v>4.21</c:v>
                </c:pt>
                <c:pt idx="3576">
                  <c:v>1.8</c:v>
                </c:pt>
                <c:pt idx="3577">
                  <c:v>3.01</c:v>
                </c:pt>
                <c:pt idx="3578">
                  <c:v>4.21</c:v>
                </c:pt>
                <c:pt idx="3579">
                  <c:v>3.61</c:v>
                </c:pt>
                <c:pt idx="3580">
                  <c:v>3.01</c:v>
                </c:pt>
                <c:pt idx="3581">
                  <c:v>4.21</c:v>
                </c:pt>
                <c:pt idx="3582">
                  <c:v>1.8</c:v>
                </c:pt>
                <c:pt idx="3583">
                  <c:v>4.8</c:v>
                </c:pt>
                <c:pt idx="3584">
                  <c:v>5.4</c:v>
                </c:pt>
                <c:pt idx="3585">
                  <c:v>4.8</c:v>
                </c:pt>
                <c:pt idx="3586">
                  <c:v>4.8</c:v>
                </c:pt>
                <c:pt idx="3587">
                  <c:v>5.4</c:v>
                </c:pt>
                <c:pt idx="3588">
                  <c:v>3.61</c:v>
                </c:pt>
                <c:pt idx="3589">
                  <c:v>4.21</c:v>
                </c:pt>
                <c:pt idx="3590">
                  <c:v>3.01</c:v>
                </c:pt>
                <c:pt idx="3591">
                  <c:v>1.8</c:v>
                </c:pt>
                <c:pt idx="3592">
                  <c:v>2.4</c:v>
                </c:pt>
                <c:pt idx="3593">
                  <c:v>2.4</c:v>
                </c:pt>
                <c:pt idx="3594">
                  <c:v>4.21</c:v>
                </c:pt>
                <c:pt idx="3595">
                  <c:v>4.21</c:v>
                </c:pt>
                <c:pt idx="3596">
                  <c:v>4.8</c:v>
                </c:pt>
                <c:pt idx="3597">
                  <c:v>3.01</c:v>
                </c:pt>
                <c:pt idx="3598">
                  <c:v>3.01</c:v>
                </c:pt>
                <c:pt idx="3599">
                  <c:v>4.21</c:v>
                </c:pt>
                <c:pt idx="3600">
                  <c:v>3.01</c:v>
                </c:pt>
                <c:pt idx="3601">
                  <c:v>4.21</c:v>
                </c:pt>
                <c:pt idx="3602">
                  <c:v>3.61</c:v>
                </c:pt>
                <c:pt idx="3603">
                  <c:v>4.8</c:v>
                </c:pt>
                <c:pt idx="3604">
                  <c:v>4.21</c:v>
                </c:pt>
                <c:pt idx="3605">
                  <c:v>3.01</c:v>
                </c:pt>
                <c:pt idx="3606">
                  <c:v>1.8</c:v>
                </c:pt>
                <c:pt idx="3607">
                  <c:v>3.01</c:v>
                </c:pt>
                <c:pt idx="3608">
                  <c:v>3.01</c:v>
                </c:pt>
                <c:pt idx="3609">
                  <c:v>2.4</c:v>
                </c:pt>
                <c:pt idx="3610">
                  <c:v>3.01</c:v>
                </c:pt>
                <c:pt idx="3611">
                  <c:v>4.21</c:v>
                </c:pt>
                <c:pt idx="3612">
                  <c:v>4.21</c:v>
                </c:pt>
                <c:pt idx="3613">
                  <c:v>1.21</c:v>
                </c:pt>
                <c:pt idx="3614">
                  <c:v>3.01</c:v>
                </c:pt>
                <c:pt idx="3615">
                  <c:v>4.21</c:v>
                </c:pt>
                <c:pt idx="3616">
                  <c:v>3.61</c:v>
                </c:pt>
                <c:pt idx="3617">
                  <c:v>5.4</c:v>
                </c:pt>
                <c:pt idx="3618">
                  <c:v>4.8</c:v>
                </c:pt>
                <c:pt idx="3619">
                  <c:v>2.4</c:v>
                </c:pt>
                <c:pt idx="3620">
                  <c:v>3.61</c:v>
                </c:pt>
                <c:pt idx="3621">
                  <c:v>4.8</c:v>
                </c:pt>
                <c:pt idx="3622">
                  <c:v>2.4</c:v>
                </c:pt>
                <c:pt idx="3623">
                  <c:v>4.21</c:v>
                </c:pt>
                <c:pt idx="3624">
                  <c:v>2.4</c:v>
                </c:pt>
                <c:pt idx="3625">
                  <c:v>2.4</c:v>
                </c:pt>
                <c:pt idx="3626">
                  <c:v>4.21</c:v>
                </c:pt>
                <c:pt idx="3627">
                  <c:v>3.01</c:v>
                </c:pt>
                <c:pt idx="3628">
                  <c:v>4.21</c:v>
                </c:pt>
                <c:pt idx="3629">
                  <c:v>3.61</c:v>
                </c:pt>
                <c:pt idx="3630">
                  <c:v>2.4</c:v>
                </c:pt>
                <c:pt idx="3631">
                  <c:v>4.21</c:v>
                </c:pt>
                <c:pt idx="3632">
                  <c:v>4.21</c:v>
                </c:pt>
                <c:pt idx="3633">
                  <c:v>5.4</c:v>
                </c:pt>
                <c:pt idx="3634">
                  <c:v>6.01</c:v>
                </c:pt>
                <c:pt idx="3635">
                  <c:v>4.21</c:v>
                </c:pt>
                <c:pt idx="3636">
                  <c:v>3.61</c:v>
                </c:pt>
                <c:pt idx="3637">
                  <c:v>3.01</c:v>
                </c:pt>
                <c:pt idx="3638">
                  <c:v>3.01</c:v>
                </c:pt>
                <c:pt idx="3639">
                  <c:v>3.01</c:v>
                </c:pt>
                <c:pt idx="3640">
                  <c:v>3.61</c:v>
                </c:pt>
                <c:pt idx="3641">
                  <c:v>1.8</c:v>
                </c:pt>
                <c:pt idx="3642">
                  <c:v>3.61</c:v>
                </c:pt>
                <c:pt idx="3643">
                  <c:v>4.21</c:v>
                </c:pt>
                <c:pt idx="3644">
                  <c:v>2.4</c:v>
                </c:pt>
                <c:pt idx="3645">
                  <c:v>1.8</c:v>
                </c:pt>
                <c:pt idx="3646">
                  <c:v>4.21</c:v>
                </c:pt>
                <c:pt idx="3647">
                  <c:v>4.21</c:v>
                </c:pt>
                <c:pt idx="3648">
                  <c:v>3.01</c:v>
                </c:pt>
                <c:pt idx="3649">
                  <c:v>4.8</c:v>
                </c:pt>
                <c:pt idx="3650">
                  <c:v>3.01</c:v>
                </c:pt>
                <c:pt idx="3651">
                  <c:v>4.21</c:v>
                </c:pt>
                <c:pt idx="3652">
                  <c:v>4.21</c:v>
                </c:pt>
                <c:pt idx="3653">
                  <c:v>3.61</c:v>
                </c:pt>
                <c:pt idx="3654">
                  <c:v>6.01</c:v>
                </c:pt>
                <c:pt idx="3655">
                  <c:v>2.4</c:v>
                </c:pt>
                <c:pt idx="3656">
                  <c:v>2.4</c:v>
                </c:pt>
                <c:pt idx="3657">
                  <c:v>2.4</c:v>
                </c:pt>
                <c:pt idx="3658">
                  <c:v>1.8</c:v>
                </c:pt>
                <c:pt idx="3659">
                  <c:v>4.21</c:v>
                </c:pt>
                <c:pt idx="3660">
                  <c:v>4.21</c:v>
                </c:pt>
                <c:pt idx="3661">
                  <c:v>4.8</c:v>
                </c:pt>
                <c:pt idx="3662">
                  <c:v>5.4</c:v>
                </c:pt>
                <c:pt idx="3663">
                  <c:v>4.21</c:v>
                </c:pt>
                <c:pt idx="3664">
                  <c:v>6.61</c:v>
                </c:pt>
                <c:pt idx="3665">
                  <c:v>4.8</c:v>
                </c:pt>
                <c:pt idx="3666">
                  <c:v>3.61</c:v>
                </c:pt>
                <c:pt idx="3667">
                  <c:v>3.61</c:v>
                </c:pt>
                <c:pt idx="3668">
                  <c:v>4.21</c:v>
                </c:pt>
                <c:pt idx="3669">
                  <c:v>3.61</c:v>
                </c:pt>
                <c:pt idx="3670">
                  <c:v>4.8</c:v>
                </c:pt>
                <c:pt idx="3671">
                  <c:v>4.8</c:v>
                </c:pt>
                <c:pt idx="3672">
                  <c:v>2.4</c:v>
                </c:pt>
                <c:pt idx="3673">
                  <c:v>6.61</c:v>
                </c:pt>
                <c:pt idx="3674">
                  <c:v>2.4</c:v>
                </c:pt>
                <c:pt idx="3675">
                  <c:v>4.21</c:v>
                </c:pt>
                <c:pt idx="3676">
                  <c:v>2.4</c:v>
                </c:pt>
                <c:pt idx="3677">
                  <c:v>4.21</c:v>
                </c:pt>
                <c:pt idx="3678">
                  <c:v>4.21</c:v>
                </c:pt>
                <c:pt idx="3679">
                  <c:v>4.8</c:v>
                </c:pt>
                <c:pt idx="3680">
                  <c:v>2.4</c:v>
                </c:pt>
                <c:pt idx="3681">
                  <c:v>5.4</c:v>
                </c:pt>
                <c:pt idx="3682">
                  <c:v>2.4</c:v>
                </c:pt>
                <c:pt idx="3683">
                  <c:v>4.21</c:v>
                </c:pt>
                <c:pt idx="3684">
                  <c:v>5.4</c:v>
                </c:pt>
                <c:pt idx="3685">
                  <c:v>6.01</c:v>
                </c:pt>
                <c:pt idx="3686">
                  <c:v>3.01</c:v>
                </c:pt>
                <c:pt idx="3687">
                  <c:v>4.21</c:v>
                </c:pt>
                <c:pt idx="3688">
                  <c:v>3.01</c:v>
                </c:pt>
                <c:pt idx="3689">
                  <c:v>3.01</c:v>
                </c:pt>
                <c:pt idx="3690">
                  <c:v>2.4</c:v>
                </c:pt>
                <c:pt idx="3691">
                  <c:v>2.4</c:v>
                </c:pt>
                <c:pt idx="3692">
                  <c:v>3.61</c:v>
                </c:pt>
                <c:pt idx="3693">
                  <c:v>4.21</c:v>
                </c:pt>
                <c:pt idx="3694">
                  <c:v>6.01</c:v>
                </c:pt>
                <c:pt idx="3695">
                  <c:v>3.61</c:v>
                </c:pt>
                <c:pt idx="3696">
                  <c:v>3.01</c:v>
                </c:pt>
                <c:pt idx="3697">
                  <c:v>4.21</c:v>
                </c:pt>
                <c:pt idx="3698">
                  <c:v>3.01</c:v>
                </c:pt>
                <c:pt idx="3699">
                  <c:v>3.01</c:v>
                </c:pt>
                <c:pt idx="3700">
                  <c:v>1.8</c:v>
                </c:pt>
                <c:pt idx="3701">
                  <c:v>4.8</c:v>
                </c:pt>
                <c:pt idx="3702">
                  <c:v>6.61</c:v>
                </c:pt>
                <c:pt idx="3703">
                  <c:v>3.61</c:v>
                </c:pt>
                <c:pt idx="3704">
                  <c:v>3.61</c:v>
                </c:pt>
                <c:pt idx="3705">
                  <c:v>5.4</c:v>
                </c:pt>
                <c:pt idx="3706">
                  <c:v>4.8</c:v>
                </c:pt>
                <c:pt idx="3707">
                  <c:v>4.8</c:v>
                </c:pt>
                <c:pt idx="3708">
                  <c:v>4.21</c:v>
                </c:pt>
                <c:pt idx="3709">
                  <c:v>5.4</c:v>
                </c:pt>
                <c:pt idx="3710">
                  <c:v>3.61</c:v>
                </c:pt>
                <c:pt idx="3711">
                  <c:v>4.21</c:v>
                </c:pt>
                <c:pt idx="3712">
                  <c:v>3.61</c:v>
                </c:pt>
                <c:pt idx="3713">
                  <c:v>6.01</c:v>
                </c:pt>
                <c:pt idx="3714">
                  <c:v>4.8</c:v>
                </c:pt>
                <c:pt idx="3715">
                  <c:v>3.61</c:v>
                </c:pt>
                <c:pt idx="3716">
                  <c:v>5.4</c:v>
                </c:pt>
                <c:pt idx="3717">
                  <c:v>3.61</c:v>
                </c:pt>
                <c:pt idx="3718">
                  <c:v>5.4</c:v>
                </c:pt>
                <c:pt idx="3719">
                  <c:v>3.61</c:v>
                </c:pt>
                <c:pt idx="3720">
                  <c:v>3.01</c:v>
                </c:pt>
                <c:pt idx="3721">
                  <c:v>3.01</c:v>
                </c:pt>
                <c:pt idx="3722">
                  <c:v>1.21</c:v>
                </c:pt>
                <c:pt idx="3723">
                  <c:v>4.21</c:v>
                </c:pt>
                <c:pt idx="3724">
                  <c:v>6.61</c:v>
                </c:pt>
                <c:pt idx="3725">
                  <c:v>4.21</c:v>
                </c:pt>
                <c:pt idx="3726">
                  <c:v>4.21</c:v>
                </c:pt>
                <c:pt idx="3727">
                  <c:v>6.01</c:v>
                </c:pt>
                <c:pt idx="3728">
                  <c:v>5.4</c:v>
                </c:pt>
                <c:pt idx="3729">
                  <c:v>4.21</c:v>
                </c:pt>
                <c:pt idx="3730">
                  <c:v>3.61</c:v>
                </c:pt>
                <c:pt idx="3731">
                  <c:v>3.01</c:v>
                </c:pt>
                <c:pt idx="3732">
                  <c:v>1.8</c:v>
                </c:pt>
                <c:pt idx="3733">
                  <c:v>2.4</c:v>
                </c:pt>
                <c:pt idx="3734">
                  <c:v>4.8</c:v>
                </c:pt>
                <c:pt idx="3735">
                  <c:v>6.01</c:v>
                </c:pt>
                <c:pt idx="3736">
                  <c:v>3.61</c:v>
                </c:pt>
                <c:pt idx="3737">
                  <c:v>4.8</c:v>
                </c:pt>
                <c:pt idx="3738">
                  <c:v>4.8</c:v>
                </c:pt>
                <c:pt idx="3739">
                  <c:v>6.01</c:v>
                </c:pt>
                <c:pt idx="3740">
                  <c:v>1.8</c:v>
                </c:pt>
                <c:pt idx="3741">
                  <c:v>4.8</c:v>
                </c:pt>
                <c:pt idx="3742">
                  <c:v>5.4</c:v>
                </c:pt>
                <c:pt idx="3743">
                  <c:v>5.4</c:v>
                </c:pt>
                <c:pt idx="3744">
                  <c:v>4.8</c:v>
                </c:pt>
                <c:pt idx="3745">
                  <c:v>6.61</c:v>
                </c:pt>
                <c:pt idx="3746">
                  <c:v>3.61</c:v>
                </c:pt>
                <c:pt idx="3747">
                  <c:v>3.01</c:v>
                </c:pt>
                <c:pt idx="3748">
                  <c:v>2.4</c:v>
                </c:pt>
                <c:pt idx="3749">
                  <c:v>4.8</c:v>
                </c:pt>
                <c:pt idx="3750">
                  <c:v>3.61</c:v>
                </c:pt>
                <c:pt idx="3751">
                  <c:v>4.8</c:v>
                </c:pt>
                <c:pt idx="3752">
                  <c:v>5.4</c:v>
                </c:pt>
                <c:pt idx="3753">
                  <c:v>5.4</c:v>
                </c:pt>
                <c:pt idx="3754">
                  <c:v>5.4</c:v>
                </c:pt>
                <c:pt idx="3755">
                  <c:v>3.01</c:v>
                </c:pt>
                <c:pt idx="3756">
                  <c:v>5.4</c:v>
                </c:pt>
                <c:pt idx="3757">
                  <c:v>3.61</c:v>
                </c:pt>
                <c:pt idx="3758">
                  <c:v>4.8</c:v>
                </c:pt>
                <c:pt idx="3759">
                  <c:v>6.01</c:v>
                </c:pt>
                <c:pt idx="3760">
                  <c:v>5.4</c:v>
                </c:pt>
                <c:pt idx="3761">
                  <c:v>4.21</c:v>
                </c:pt>
                <c:pt idx="3762">
                  <c:v>2.4</c:v>
                </c:pt>
                <c:pt idx="3763">
                  <c:v>3.01</c:v>
                </c:pt>
                <c:pt idx="3764">
                  <c:v>4.21</c:v>
                </c:pt>
                <c:pt idx="3765">
                  <c:v>5.4</c:v>
                </c:pt>
                <c:pt idx="3766">
                  <c:v>5.4</c:v>
                </c:pt>
                <c:pt idx="3767">
                  <c:v>7.8</c:v>
                </c:pt>
                <c:pt idx="3768">
                  <c:v>3.61</c:v>
                </c:pt>
                <c:pt idx="3769">
                  <c:v>5.4</c:v>
                </c:pt>
                <c:pt idx="3770">
                  <c:v>6.61</c:v>
                </c:pt>
                <c:pt idx="3771">
                  <c:v>6.01</c:v>
                </c:pt>
                <c:pt idx="3772">
                  <c:v>4.8</c:v>
                </c:pt>
                <c:pt idx="3773">
                  <c:v>3.61</c:v>
                </c:pt>
                <c:pt idx="3774">
                  <c:v>5.4</c:v>
                </c:pt>
                <c:pt idx="3775">
                  <c:v>4.21</c:v>
                </c:pt>
                <c:pt idx="3776">
                  <c:v>4.8</c:v>
                </c:pt>
                <c:pt idx="3777">
                  <c:v>4.21</c:v>
                </c:pt>
                <c:pt idx="3778">
                  <c:v>4.8</c:v>
                </c:pt>
                <c:pt idx="3779">
                  <c:v>4.21</c:v>
                </c:pt>
                <c:pt idx="3780">
                  <c:v>6.61</c:v>
                </c:pt>
                <c:pt idx="3781">
                  <c:v>3.61</c:v>
                </c:pt>
                <c:pt idx="3782">
                  <c:v>3.61</c:v>
                </c:pt>
                <c:pt idx="3783">
                  <c:v>3.01</c:v>
                </c:pt>
                <c:pt idx="3784">
                  <c:v>3.61</c:v>
                </c:pt>
                <c:pt idx="3785">
                  <c:v>4.21</c:v>
                </c:pt>
                <c:pt idx="3786">
                  <c:v>4.8</c:v>
                </c:pt>
                <c:pt idx="3787">
                  <c:v>4.21</c:v>
                </c:pt>
                <c:pt idx="3788">
                  <c:v>4.21</c:v>
                </c:pt>
                <c:pt idx="3789">
                  <c:v>3.61</c:v>
                </c:pt>
                <c:pt idx="3790">
                  <c:v>3.61</c:v>
                </c:pt>
                <c:pt idx="3791">
                  <c:v>3.61</c:v>
                </c:pt>
                <c:pt idx="3792">
                  <c:v>3.01</c:v>
                </c:pt>
                <c:pt idx="3793">
                  <c:v>4.21</c:v>
                </c:pt>
                <c:pt idx="3794">
                  <c:v>4.21</c:v>
                </c:pt>
                <c:pt idx="3795">
                  <c:v>3.61</c:v>
                </c:pt>
                <c:pt idx="3796">
                  <c:v>6.61</c:v>
                </c:pt>
                <c:pt idx="3797">
                  <c:v>4.21</c:v>
                </c:pt>
                <c:pt idx="3798">
                  <c:v>4.21</c:v>
                </c:pt>
                <c:pt idx="3799">
                  <c:v>4.21</c:v>
                </c:pt>
                <c:pt idx="3800">
                  <c:v>5.4</c:v>
                </c:pt>
                <c:pt idx="3801">
                  <c:v>3.61</c:v>
                </c:pt>
                <c:pt idx="3802">
                  <c:v>4.8</c:v>
                </c:pt>
                <c:pt idx="3803">
                  <c:v>4.8</c:v>
                </c:pt>
                <c:pt idx="3804">
                  <c:v>3.61</c:v>
                </c:pt>
                <c:pt idx="3805">
                  <c:v>3.01</c:v>
                </c:pt>
                <c:pt idx="3806">
                  <c:v>4.8</c:v>
                </c:pt>
                <c:pt idx="3807">
                  <c:v>2.4</c:v>
                </c:pt>
                <c:pt idx="3808">
                  <c:v>4.8</c:v>
                </c:pt>
                <c:pt idx="3809">
                  <c:v>4.8</c:v>
                </c:pt>
                <c:pt idx="3810">
                  <c:v>4.21</c:v>
                </c:pt>
                <c:pt idx="3811">
                  <c:v>4.21</c:v>
                </c:pt>
                <c:pt idx="3812">
                  <c:v>3.61</c:v>
                </c:pt>
                <c:pt idx="3813">
                  <c:v>6.01</c:v>
                </c:pt>
                <c:pt idx="3814">
                  <c:v>4.8</c:v>
                </c:pt>
                <c:pt idx="3815">
                  <c:v>4.8</c:v>
                </c:pt>
                <c:pt idx="3816">
                  <c:v>3.61</c:v>
                </c:pt>
                <c:pt idx="3817">
                  <c:v>3.01</c:v>
                </c:pt>
                <c:pt idx="3818">
                  <c:v>2.4</c:v>
                </c:pt>
                <c:pt idx="3819">
                  <c:v>3.61</c:v>
                </c:pt>
                <c:pt idx="3820">
                  <c:v>4.8</c:v>
                </c:pt>
                <c:pt idx="3821">
                  <c:v>6.01</c:v>
                </c:pt>
                <c:pt idx="3822">
                  <c:v>4.21</c:v>
                </c:pt>
                <c:pt idx="3823">
                  <c:v>4.8</c:v>
                </c:pt>
                <c:pt idx="3824">
                  <c:v>4.21</c:v>
                </c:pt>
                <c:pt idx="3825">
                  <c:v>3.01</c:v>
                </c:pt>
                <c:pt idx="3826">
                  <c:v>5.4</c:v>
                </c:pt>
                <c:pt idx="3827">
                  <c:v>3.61</c:v>
                </c:pt>
                <c:pt idx="3828">
                  <c:v>4.21</c:v>
                </c:pt>
                <c:pt idx="3829">
                  <c:v>4.8</c:v>
                </c:pt>
                <c:pt idx="3830">
                  <c:v>3.01</c:v>
                </c:pt>
                <c:pt idx="3831">
                  <c:v>3.61</c:v>
                </c:pt>
                <c:pt idx="3832">
                  <c:v>4.21</c:v>
                </c:pt>
                <c:pt idx="3833">
                  <c:v>4.8</c:v>
                </c:pt>
                <c:pt idx="3834">
                  <c:v>3.61</c:v>
                </c:pt>
                <c:pt idx="3835">
                  <c:v>1.8</c:v>
                </c:pt>
                <c:pt idx="3836">
                  <c:v>3.01</c:v>
                </c:pt>
                <c:pt idx="3837">
                  <c:v>6.01</c:v>
                </c:pt>
                <c:pt idx="3838">
                  <c:v>3.61</c:v>
                </c:pt>
                <c:pt idx="3839">
                  <c:v>4.21</c:v>
                </c:pt>
                <c:pt idx="3840">
                  <c:v>4.8</c:v>
                </c:pt>
                <c:pt idx="3841">
                  <c:v>2.4</c:v>
                </c:pt>
                <c:pt idx="3842">
                  <c:v>4.8</c:v>
                </c:pt>
                <c:pt idx="3843">
                  <c:v>3.61</c:v>
                </c:pt>
                <c:pt idx="3844">
                  <c:v>6.01</c:v>
                </c:pt>
                <c:pt idx="3845">
                  <c:v>3.61</c:v>
                </c:pt>
                <c:pt idx="3846">
                  <c:v>4.21</c:v>
                </c:pt>
                <c:pt idx="3847">
                  <c:v>6.01</c:v>
                </c:pt>
                <c:pt idx="3848">
                  <c:v>3.61</c:v>
                </c:pt>
                <c:pt idx="3849">
                  <c:v>2.4</c:v>
                </c:pt>
                <c:pt idx="3850">
                  <c:v>4.21</c:v>
                </c:pt>
                <c:pt idx="3851">
                  <c:v>3.61</c:v>
                </c:pt>
                <c:pt idx="3852">
                  <c:v>3.01</c:v>
                </c:pt>
                <c:pt idx="3853">
                  <c:v>4.21</c:v>
                </c:pt>
                <c:pt idx="3854">
                  <c:v>3.61</c:v>
                </c:pt>
                <c:pt idx="3855">
                  <c:v>2.4</c:v>
                </c:pt>
                <c:pt idx="3856">
                  <c:v>4.8</c:v>
                </c:pt>
                <c:pt idx="3857">
                  <c:v>4.8</c:v>
                </c:pt>
                <c:pt idx="3858">
                  <c:v>5.4</c:v>
                </c:pt>
                <c:pt idx="3859">
                  <c:v>6.01</c:v>
                </c:pt>
                <c:pt idx="3860">
                  <c:v>4.21</c:v>
                </c:pt>
                <c:pt idx="3861">
                  <c:v>4.8</c:v>
                </c:pt>
                <c:pt idx="3862">
                  <c:v>4.8</c:v>
                </c:pt>
                <c:pt idx="3863">
                  <c:v>5.4</c:v>
                </c:pt>
                <c:pt idx="3864">
                  <c:v>3.01</c:v>
                </c:pt>
                <c:pt idx="3865">
                  <c:v>4.21</c:v>
                </c:pt>
                <c:pt idx="3866">
                  <c:v>7.8</c:v>
                </c:pt>
                <c:pt idx="3867">
                  <c:v>4.21</c:v>
                </c:pt>
                <c:pt idx="3868">
                  <c:v>4.8</c:v>
                </c:pt>
                <c:pt idx="3869">
                  <c:v>3.01</c:v>
                </c:pt>
                <c:pt idx="3870">
                  <c:v>2.4</c:v>
                </c:pt>
                <c:pt idx="3871">
                  <c:v>2.4</c:v>
                </c:pt>
                <c:pt idx="3872">
                  <c:v>5.4</c:v>
                </c:pt>
                <c:pt idx="3873">
                  <c:v>4.8</c:v>
                </c:pt>
                <c:pt idx="3874">
                  <c:v>4.21</c:v>
                </c:pt>
                <c:pt idx="3875">
                  <c:v>4.21</c:v>
                </c:pt>
                <c:pt idx="3876">
                  <c:v>3.01</c:v>
                </c:pt>
                <c:pt idx="3877">
                  <c:v>4.21</c:v>
                </c:pt>
                <c:pt idx="3878">
                  <c:v>2.4</c:v>
                </c:pt>
                <c:pt idx="3879">
                  <c:v>4.8</c:v>
                </c:pt>
                <c:pt idx="3880">
                  <c:v>3.01</c:v>
                </c:pt>
                <c:pt idx="3881">
                  <c:v>4.21</c:v>
                </c:pt>
                <c:pt idx="3882">
                  <c:v>4.21</c:v>
                </c:pt>
                <c:pt idx="3883">
                  <c:v>3.61</c:v>
                </c:pt>
                <c:pt idx="3884">
                  <c:v>3.61</c:v>
                </c:pt>
                <c:pt idx="3885">
                  <c:v>3.61</c:v>
                </c:pt>
                <c:pt idx="3886">
                  <c:v>4.21</c:v>
                </c:pt>
                <c:pt idx="3887">
                  <c:v>4.21</c:v>
                </c:pt>
                <c:pt idx="3888">
                  <c:v>5.4</c:v>
                </c:pt>
                <c:pt idx="3889">
                  <c:v>1.8</c:v>
                </c:pt>
                <c:pt idx="3890">
                  <c:v>4.8</c:v>
                </c:pt>
                <c:pt idx="3891">
                  <c:v>3.01</c:v>
                </c:pt>
                <c:pt idx="3892">
                  <c:v>4.8</c:v>
                </c:pt>
                <c:pt idx="3893">
                  <c:v>4.21</c:v>
                </c:pt>
                <c:pt idx="3894">
                  <c:v>1.8</c:v>
                </c:pt>
                <c:pt idx="3895">
                  <c:v>4.21</c:v>
                </c:pt>
                <c:pt idx="3896">
                  <c:v>4.21</c:v>
                </c:pt>
                <c:pt idx="3897">
                  <c:v>3.61</c:v>
                </c:pt>
                <c:pt idx="3898">
                  <c:v>4.21</c:v>
                </c:pt>
                <c:pt idx="3899">
                  <c:v>1.21</c:v>
                </c:pt>
                <c:pt idx="3900">
                  <c:v>3.61</c:v>
                </c:pt>
                <c:pt idx="3901">
                  <c:v>3.61</c:v>
                </c:pt>
                <c:pt idx="3902">
                  <c:v>4.21</c:v>
                </c:pt>
                <c:pt idx="3903">
                  <c:v>4.21</c:v>
                </c:pt>
                <c:pt idx="3904">
                  <c:v>6.01</c:v>
                </c:pt>
                <c:pt idx="3905">
                  <c:v>3.01</c:v>
                </c:pt>
                <c:pt idx="3906">
                  <c:v>4.21</c:v>
                </c:pt>
                <c:pt idx="3907">
                  <c:v>3.61</c:v>
                </c:pt>
                <c:pt idx="3908">
                  <c:v>3.61</c:v>
                </c:pt>
                <c:pt idx="3909">
                  <c:v>2.4</c:v>
                </c:pt>
                <c:pt idx="3910">
                  <c:v>4.21</c:v>
                </c:pt>
                <c:pt idx="3911">
                  <c:v>3.01</c:v>
                </c:pt>
                <c:pt idx="3912">
                  <c:v>7.21</c:v>
                </c:pt>
                <c:pt idx="3913">
                  <c:v>3.01</c:v>
                </c:pt>
                <c:pt idx="3914">
                  <c:v>4.21</c:v>
                </c:pt>
                <c:pt idx="3915">
                  <c:v>0.61</c:v>
                </c:pt>
                <c:pt idx="3916">
                  <c:v>3.01</c:v>
                </c:pt>
                <c:pt idx="3917">
                  <c:v>6.01</c:v>
                </c:pt>
                <c:pt idx="3918">
                  <c:v>3.61</c:v>
                </c:pt>
                <c:pt idx="3919">
                  <c:v>4.8</c:v>
                </c:pt>
                <c:pt idx="3920">
                  <c:v>0.61</c:v>
                </c:pt>
                <c:pt idx="3921">
                  <c:v>3.01</c:v>
                </c:pt>
                <c:pt idx="3922">
                  <c:v>3.01</c:v>
                </c:pt>
                <c:pt idx="3923">
                  <c:v>1.8</c:v>
                </c:pt>
                <c:pt idx="3924">
                  <c:v>4.8</c:v>
                </c:pt>
                <c:pt idx="3925">
                  <c:v>5.4</c:v>
                </c:pt>
                <c:pt idx="3926">
                  <c:v>3.61</c:v>
                </c:pt>
                <c:pt idx="3927">
                  <c:v>6.01</c:v>
                </c:pt>
                <c:pt idx="3928">
                  <c:v>4.21</c:v>
                </c:pt>
                <c:pt idx="3929">
                  <c:v>3.61</c:v>
                </c:pt>
                <c:pt idx="3930">
                  <c:v>6.61</c:v>
                </c:pt>
                <c:pt idx="3931">
                  <c:v>3.61</c:v>
                </c:pt>
                <c:pt idx="3932">
                  <c:v>4.8</c:v>
                </c:pt>
                <c:pt idx="3933">
                  <c:v>4.8</c:v>
                </c:pt>
                <c:pt idx="3934">
                  <c:v>4.21</c:v>
                </c:pt>
                <c:pt idx="3935">
                  <c:v>2.4</c:v>
                </c:pt>
                <c:pt idx="3936">
                  <c:v>4.21</c:v>
                </c:pt>
                <c:pt idx="3937">
                  <c:v>4.8</c:v>
                </c:pt>
                <c:pt idx="3938">
                  <c:v>3.61</c:v>
                </c:pt>
                <c:pt idx="3939">
                  <c:v>3.61</c:v>
                </c:pt>
                <c:pt idx="3940">
                  <c:v>5.4</c:v>
                </c:pt>
                <c:pt idx="3941">
                  <c:v>5.4</c:v>
                </c:pt>
                <c:pt idx="3942">
                  <c:v>4.21</c:v>
                </c:pt>
                <c:pt idx="3943">
                  <c:v>6.61</c:v>
                </c:pt>
                <c:pt idx="3944">
                  <c:v>6.01</c:v>
                </c:pt>
                <c:pt idx="3945">
                  <c:v>4.8</c:v>
                </c:pt>
                <c:pt idx="3946">
                  <c:v>4.8</c:v>
                </c:pt>
                <c:pt idx="3947">
                  <c:v>3.01</c:v>
                </c:pt>
                <c:pt idx="3948">
                  <c:v>4.8</c:v>
                </c:pt>
                <c:pt idx="3949">
                  <c:v>3.01</c:v>
                </c:pt>
                <c:pt idx="3950">
                  <c:v>3.01</c:v>
                </c:pt>
                <c:pt idx="3951">
                  <c:v>3.01</c:v>
                </c:pt>
                <c:pt idx="3952">
                  <c:v>3.01</c:v>
                </c:pt>
                <c:pt idx="3953">
                  <c:v>3.01</c:v>
                </c:pt>
                <c:pt idx="3954">
                  <c:v>3.61</c:v>
                </c:pt>
                <c:pt idx="3955">
                  <c:v>4.8</c:v>
                </c:pt>
                <c:pt idx="3956">
                  <c:v>6.01</c:v>
                </c:pt>
                <c:pt idx="3957">
                  <c:v>4.21</c:v>
                </c:pt>
                <c:pt idx="3958">
                  <c:v>5.4</c:v>
                </c:pt>
                <c:pt idx="3959">
                  <c:v>3.01</c:v>
                </c:pt>
                <c:pt idx="3960">
                  <c:v>7.8</c:v>
                </c:pt>
                <c:pt idx="3961">
                  <c:v>6.01</c:v>
                </c:pt>
                <c:pt idx="3962">
                  <c:v>1.8</c:v>
                </c:pt>
                <c:pt idx="3963">
                  <c:v>2.4</c:v>
                </c:pt>
                <c:pt idx="3964">
                  <c:v>5.4</c:v>
                </c:pt>
                <c:pt idx="3965">
                  <c:v>3.61</c:v>
                </c:pt>
                <c:pt idx="3966">
                  <c:v>3.01</c:v>
                </c:pt>
                <c:pt idx="3967">
                  <c:v>4.21</c:v>
                </c:pt>
                <c:pt idx="3968">
                  <c:v>3.61</c:v>
                </c:pt>
                <c:pt idx="3969">
                  <c:v>6.01</c:v>
                </c:pt>
                <c:pt idx="3970">
                  <c:v>3.61</c:v>
                </c:pt>
                <c:pt idx="3971">
                  <c:v>3.61</c:v>
                </c:pt>
                <c:pt idx="3972">
                  <c:v>7.21</c:v>
                </c:pt>
                <c:pt idx="3973">
                  <c:v>3.01</c:v>
                </c:pt>
                <c:pt idx="3974">
                  <c:v>3.61</c:v>
                </c:pt>
                <c:pt idx="3975">
                  <c:v>4.8</c:v>
                </c:pt>
                <c:pt idx="3976">
                  <c:v>3.01</c:v>
                </c:pt>
                <c:pt idx="3977">
                  <c:v>3.61</c:v>
                </c:pt>
                <c:pt idx="3978">
                  <c:v>4.8</c:v>
                </c:pt>
                <c:pt idx="3979">
                  <c:v>3.61</c:v>
                </c:pt>
                <c:pt idx="3980">
                  <c:v>3.61</c:v>
                </c:pt>
                <c:pt idx="3981">
                  <c:v>4.21</c:v>
                </c:pt>
                <c:pt idx="3982">
                  <c:v>4.8</c:v>
                </c:pt>
                <c:pt idx="3983">
                  <c:v>4.8</c:v>
                </c:pt>
                <c:pt idx="3984">
                  <c:v>1.8</c:v>
                </c:pt>
                <c:pt idx="3985">
                  <c:v>4.21</c:v>
                </c:pt>
                <c:pt idx="3986">
                  <c:v>3.01</c:v>
                </c:pt>
                <c:pt idx="3987">
                  <c:v>4.21</c:v>
                </c:pt>
                <c:pt idx="3988">
                  <c:v>4.21</c:v>
                </c:pt>
                <c:pt idx="3989">
                  <c:v>4.8</c:v>
                </c:pt>
                <c:pt idx="3990">
                  <c:v>4.21</c:v>
                </c:pt>
                <c:pt idx="3991">
                  <c:v>2.4</c:v>
                </c:pt>
                <c:pt idx="3992">
                  <c:v>4.8</c:v>
                </c:pt>
                <c:pt idx="3993">
                  <c:v>4.21</c:v>
                </c:pt>
                <c:pt idx="3994">
                  <c:v>3.01</c:v>
                </c:pt>
                <c:pt idx="3995">
                  <c:v>3.61</c:v>
                </c:pt>
                <c:pt idx="3996">
                  <c:v>3.61</c:v>
                </c:pt>
                <c:pt idx="3997">
                  <c:v>3.61</c:v>
                </c:pt>
                <c:pt idx="3998">
                  <c:v>4.8</c:v>
                </c:pt>
                <c:pt idx="3999">
                  <c:v>2.4</c:v>
                </c:pt>
                <c:pt idx="4000">
                  <c:v>3.61</c:v>
                </c:pt>
                <c:pt idx="4001">
                  <c:v>5.4</c:v>
                </c:pt>
                <c:pt idx="4002">
                  <c:v>2.4</c:v>
                </c:pt>
                <c:pt idx="4003">
                  <c:v>6.01</c:v>
                </c:pt>
                <c:pt idx="4004">
                  <c:v>2.4</c:v>
                </c:pt>
                <c:pt idx="4005">
                  <c:v>3.61</c:v>
                </c:pt>
                <c:pt idx="4006">
                  <c:v>3.01</c:v>
                </c:pt>
                <c:pt idx="4007">
                  <c:v>3.61</c:v>
                </c:pt>
                <c:pt idx="4008">
                  <c:v>3.01</c:v>
                </c:pt>
                <c:pt idx="4009">
                  <c:v>5.4</c:v>
                </c:pt>
                <c:pt idx="4010">
                  <c:v>2.4</c:v>
                </c:pt>
                <c:pt idx="4011">
                  <c:v>2.4</c:v>
                </c:pt>
                <c:pt idx="4012">
                  <c:v>3.61</c:v>
                </c:pt>
                <c:pt idx="4013">
                  <c:v>3.01</c:v>
                </c:pt>
                <c:pt idx="4014">
                  <c:v>2.4</c:v>
                </c:pt>
                <c:pt idx="4015">
                  <c:v>5.4</c:v>
                </c:pt>
                <c:pt idx="4016">
                  <c:v>4.21</c:v>
                </c:pt>
                <c:pt idx="4017">
                  <c:v>4.8</c:v>
                </c:pt>
                <c:pt idx="4018">
                  <c:v>4.21</c:v>
                </c:pt>
                <c:pt idx="4019">
                  <c:v>3.61</c:v>
                </c:pt>
                <c:pt idx="4020">
                  <c:v>2.4</c:v>
                </c:pt>
                <c:pt idx="4021">
                  <c:v>3.01</c:v>
                </c:pt>
                <c:pt idx="4022">
                  <c:v>3.61</c:v>
                </c:pt>
                <c:pt idx="4023">
                  <c:v>4.8</c:v>
                </c:pt>
                <c:pt idx="4024">
                  <c:v>2.4</c:v>
                </c:pt>
                <c:pt idx="4025">
                  <c:v>4.8</c:v>
                </c:pt>
                <c:pt idx="4026">
                  <c:v>3.61</c:v>
                </c:pt>
                <c:pt idx="4027">
                  <c:v>4.21</c:v>
                </c:pt>
                <c:pt idx="4028">
                  <c:v>4.21</c:v>
                </c:pt>
                <c:pt idx="4029">
                  <c:v>3.61</c:v>
                </c:pt>
                <c:pt idx="4030">
                  <c:v>4.8</c:v>
                </c:pt>
                <c:pt idx="4031">
                  <c:v>5.4</c:v>
                </c:pt>
                <c:pt idx="4032">
                  <c:v>1.8</c:v>
                </c:pt>
                <c:pt idx="4033">
                  <c:v>3.61</c:v>
                </c:pt>
                <c:pt idx="4034">
                  <c:v>3.61</c:v>
                </c:pt>
                <c:pt idx="4035">
                  <c:v>4.21</c:v>
                </c:pt>
                <c:pt idx="4036">
                  <c:v>5.4</c:v>
                </c:pt>
                <c:pt idx="4037">
                  <c:v>5.4</c:v>
                </c:pt>
                <c:pt idx="4038">
                  <c:v>4.21</c:v>
                </c:pt>
                <c:pt idx="4039">
                  <c:v>3.01</c:v>
                </c:pt>
                <c:pt idx="4040">
                  <c:v>5.4</c:v>
                </c:pt>
                <c:pt idx="4041">
                  <c:v>3.61</c:v>
                </c:pt>
                <c:pt idx="4042">
                  <c:v>4.8</c:v>
                </c:pt>
                <c:pt idx="4043">
                  <c:v>6.01</c:v>
                </c:pt>
                <c:pt idx="4044">
                  <c:v>4.21</c:v>
                </c:pt>
                <c:pt idx="4045">
                  <c:v>6.01</c:v>
                </c:pt>
                <c:pt idx="4046">
                  <c:v>4.21</c:v>
                </c:pt>
                <c:pt idx="4047">
                  <c:v>5.4</c:v>
                </c:pt>
                <c:pt idx="4048">
                  <c:v>2.4</c:v>
                </c:pt>
                <c:pt idx="4049">
                  <c:v>4.21</c:v>
                </c:pt>
                <c:pt idx="4050">
                  <c:v>3.61</c:v>
                </c:pt>
                <c:pt idx="4051">
                  <c:v>4.8</c:v>
                </c:pt>
                <c:pt idx="4052">
                  <c:v>4.21</c:v>
                </c:pt>
                <c:pt idx="4053">
                  <c:v>6.01</c:v>
                </c:pt>
                <c:pt idx="4054">
                  <c:v>4.21</c:v>
                </c:pt>
                <c:pt idx="4055">
                  <c:v>4.21</c:v>
                </c:pt>
                <c:pt idx="4056">
                  <c:v>5.4</c:v>
                </c:pt>
                <c:pt idx="4057">
                  <c:v>6.61</c:v>
                </c:pt>
                <c:pt idx="4058">
                  <c:v>5.4</c:v>
                </c:pt>
                <c:pt idx="4059">
                  <c:v>6.01</c:v>
                </c:pt>
                <c:pt idx="4060">
                  <c:v>2.4</c:v>
                </c:pt>
                <c:pt idx="4061">
                  <c:v>4.21</c:v>
                </c:pt>
                <c:pt idx="4062">
                  <c:v>4.8</c:v>
                </c:pt>
                <c:pt idx="4063">
                  <c:v>1.8</c:v>
                </c:pt>
                <c:pt idx="4064">
                  <c:v>5.4</c:v>
                </c:pt>
                <c:pt idx="4065">
                  <c:v>5.4</c:v>
                </c:pt>
                <c:pt idx="4066">
                  <c:v>5.4</c:v>
                </c:pt>
                <c:pt idx="4067">
                  <c:v>6.61</c:v>
                </c:pt>
                <c:pt idx="4068">
                  <c:v>4.21</c:v>
                </c:pt>
                <c:pt idx="4069">
                  <c:v>4.21</c:v>
                </c:pt>
                <c:pt idx="4070">
                  <c:v>3.61</c:v>
                </c:pt>
                <c:pt idx="4071">
                  <c:v>5.4</c:v>
                </c:pt>
                <c:pt idx="4072">
                  <c:v>4.21</c:v>
                </c:pt>
                <c:pt idx="4073">
                  <c:v>4.21</c:v>
                </c:pt>
                <c:pt idx="4074">
                  <c:v>3.61</c:v>
                </c:pt>
                <c:pt idx="4075">
                  <c:v>3.61</c:v>
                </c:pt>
                <c:pt idx="4076">
                  <c:v>3.01</c:v>
                </c:pt>
                <c:pt idx="4077">
                  <c:v>6.01</c:v>
                </c:pt>
                <c:pt idx="4078">
                  <c:v>4.8</c:v>
                </c:pt>
                <c:pt idx="4079">
                  <c:v>4.21</c:v>
                </c:pt>
                <c:pt idx="4080">
                  <c:v>4.8</c:v>
                </c:pt>
                <c:pt idx="4081">
                  <c:v>3.61</c:v>
                </c:pt>
                <c:pt idx="4082">
                  <c:v>6.01</c:v>
                </c:pt>
                <c:pt idx="4083">
                  <c:v>6.61</c:v>
                </c:pt>
                <c:pt idx="4084">
                  <c:v>6.01</c:v>
                </c:pt>
                <c:pt idx="4085">
                  <c:v>5.4</c:v>
                </c:pt>
                <c:pt idx="4086">
                  <c:v>4.8</c:v>
                </c:pt>
                <c:pt idx="4087">
                  <c:v>2.4</c:v>
                </c:pt>
                <c:pt idx="4088">
                  <c:v>4.21</c:v>
                </c:pt>
                <c:pt idx="4089">
                  <c:v>5.4</c:v>
                </c:pt>
                <c:pt idx="4090">
                  <c:v>3.61</c:v>
                </c:pt>
                <c:pt idx="4091">
                  <c:v>4.8</c:v>
                </c:pt>
                <c:pt idx="4092">
                  <c:v>4.21</c:v>
                </c:pt>
                <c:pt idx="4093">
                  <c:v>4.21</c:v>
                </c:pt>
                <c:pt idx="4094">
                  <c:v>3.01</c:v>
                </c:pt>
                <c:pt idx="4095">
                  <c:v>5.4</c:v>
                </c:pt>
                <c:pt idx="4096">
                  <c:v>4.21</c:v>
                </c:pt>
                <c:pt idx="4097">
                  <c:v>4.8</c:v>
                </c:pt>
                <c:pt idx="4098">
                  <c:v>6.01</c:v>
                </c:pt>
                <c:pt idx="4099">
                  <c:v>3.61</c:v>
                </c:pt>
                <c:pt idx="4100">
                  <c:v>3.01</c:v>
                </c:pt>
                <c:pt idx="4101">
                  <c:v>3.61</c:v>
                </c:pt>
                <c:pt idx="4102">
                  <c:v>3.61</c:v>
                </c:pt>
                <c:pt idx="4103">
                  <c:v>4.21</c:v>
                </c:pt>
                <c:pt idx="4104">
                  <c:v>5.4</c:v>
                </c:pt>
                <c:pt idx="4105">
                  <c:v>3.61</c:v>
                </c:pt>
                <c:pt idx="4106">
                  <c:v>4.21</c:v>
                </c:pt>
                <c:pt idx="4107">
                  <c:v>3.61</c:v>
                </c:pt>
                <c:pt idx="4108">
                  <c:v>3.61</c:v>
                </c:pt>
                <c:pt idx="4109">
                  <c:v>3.01</c:v>
                </c:pt>
                <c:pt idx="4110">
                  <c:v>4.21</c:v>
                </c:pt>
                <c:pt idx="4111">
                  <c:v>4.21</c:v>
                </c:pt>
                <c:pt idx="4112">
                  <c:v>6.61</c:v>
                </c:pt>
                <c:pt idx="4113">
                  <c:v>3.01</c:v>
                </c:pt>
                <c:pt idx="4114">
                  <c:v>4.21</c:v>
                </c:pt>
                <c:pt idx="4115">
                  <c:v>4.8</c:v>
                </c:pt>
                <c:pt idx="4116">
                  <c:v>3.61</c:v>
                </c:pt>
                <c:pt idx="4117">
                  <c:v>4.21</c:v>
                </c:pt>
                <c:pt idx="4118">
                  <c:v>1.8</c:v>
                </c:pt>
                <c:pt idx="4119">
                  <c:v>3.61</c:v>
                </c:pt>
                <c:pt idx="4120">
                  <c:v>3.61</c:v>
                </c:pt>
                <c:pt idx="4121">
                  <c:v>3.61</c:v>
                </c:pt>
                <c:pt idx="4122">
                  <c:v>3.01</c:v>
                </c:pt>
                <c:pt idx="4123">
                  <c:v>4.21</c:v>
                </c:pt>
                <c:pt idx="4124">
                  <c:v>2.4</c:v>
                </c:pt>
                <c:pt idx="4125">
                  <c:v>3.01</c:v>
                </c:pt>
                <c:pt idx="4126">
                  <c:v>4.8</c:v>
                </c:pt>
                <c:pt idx="4127">
                  <c:v>3.61</c:v>
                </c:pt>
                <c:pt idx="4128">
                  <c:v>3.01</c:v>
                </c:pt>
                <c:pt idx="4129">
                  <c:v>5.4</c:v>
                </c:pt>
                <c:pt idx="4130">
                  <c:v>3.61</c:v>
                </c:pt>
                <c:pt idx="4131">
                  <c:v>5.4</c:v>
                </c:pt>
                <c:pt idx="4132">
                  <c:v>6.01</c:v>
                </c:pt>
                <c:pt idx="4133">
                  <c:v>5.4</c:v>
                </c:pt>
                <c:pt idx="4134">
                  <c:v>3.01</c:v>
                </c:pt>
                <c:pt idx="4135">
                  <c:v>6.61</c:v>
                </c:pt>
                <c:pt idx="4136">
                  <c:v>1.8</c:v>
                </c:pt>
                <c:pt idx="4137">
                  <c:v>6.01</c:v>
                </c:pt>
                <c:pt idx="4138">
                  <c:v>2.4</c:v>
                </c:pt>
                <c:pt idx="4139">
                  <c:v>4.8</c:v>
                </c:pt>
                <c:pt idx="4140">
                  <c:v>4.21</c:v>
                </c:pt>
                <c:pt idx="4141">
                  <c:v>2.4</c:v>
                </c:pt>
                <c:pt idx="4142">
                  <c:v>3.01</c:v>
                </c:pt>
                <c:pt idx="4143">
                  <c:v>6.01</c:v>
                </c:pt>
                <c:pt idx="4144">
                  <c:v>3.01</c:v>
                </c:pt>
                <c:pt idx="4145">
                  <c:v>4.21</c:v>
                </c:pt>
                <c:pt idx="4146">
                  <c:v>6.01</c:v>
                </c:pt>
                <c:pt idx="4147">
                  <c:v>5.4</c:v>
                </c:pt>
                <c:pt idx="4148">
                  <c:v>3.61</c:v>
                </c:pt>
                <c:pt idx="4149">
                  <c:v>4.8</c:v>
                </c:pt>
                <c:pt idx="4150">
                  <c:v>4.21</c:v>
                </c:pt>
                <c:pt idx="4151">
                  <c:v>4.8</c:v>
                </c:pt>
                <c:pt idx="4152">
                  <c:v>6.01</c:v>
                </c:pt>
                <c:pt idx="4153">
                  <c:v>4.8</c:v>
                </c:pt>
                <c:pt idx="4154">
                  <c:v>4.21</c:v>
                </c:pt>
                <c:pt idx="4155">
                  <c:v>3.01</c:v>
                </c:pt>
                <c:pt idx="4156">
                  <c:v>4.8</c:v>
                </c:pt>
                <c:pt idx="4157">
                  <c:v>3.61</c:v>
                </c:pt>
                <c:pt idx="4158">
                  <c:v>4.21</c:v>
                </c:pt>
                <c:pt idx="4159">
                  <c:v>5.4</c:v>
                </c:pt>
                <c:pt idx="4160">
                  <c:v>6.01</c:v>
                </c:pt>
                <c:pt idx="4161">
                  <c:v>3.61</c:v>
                </c:pt>
                <c:pt idx="4162">
                  <c:v>3.01</c:v>
                </c:pt>
                <c:pt idx="4163">
                  <c:v>4.8</c:v>
                </c:pt>
                <c:pt idx="4164">
                  <c:v>2.4</c:v>
                </c:pt>
                <c:pt idx="4165">
                  <c:v>0.61</c:v>
                </c:pt>
                <c:pt idx="4166">
                  <c:v>3.61</c:v>
                </c:pt>
                <c:pt idx="4167">
                  <c:v>4.21</c:v>
                </c:pt>
                <c:pt idx="4168">
                  <c:v>4.8</c:v>
                </c:pt>
                <c:pt idx="4169">
                  <c:v>3.61</c:v>
                </c:pt>
                <c:pt idx="4170">
                  <c:v>4.21</c:v>
                </c:pt>
                <c:pt idx="4171">
                  <c:v>2.4</c:v>
                </c:pt>
                <c:pt idx="4172">
                  <c:v>4.8</c:v>
                </c:pt>
                <c:pt idx="4173">
                  <c:v>4.21</c:v>
                </c:pt>
                <c:pt idx="4174">
                  <c:v>4.8</c:v>
                </c:pt>
                <c:pt idx="4175">
                  <c:v>3.01</c:v>
                </c:pt>
                <c:pt idx="4176">
                  <c:v>4.8</c:v>
                </c:pt>
                <c:pt idx="4177">
                  <c:v>5.4</c:v>
                </c:pt>
                <c:pt idx="4178">
                  <c:v>4.21</c:v>
                </c:pt>
                <c:pt idx="4179">
                  <c:v>2.4</c:v>
                </c:pt>
                <c:pt idx="4180">
                  <c:v>6.01</c:v>
                </c:pt>
                <c:pt idx="4181">
                  <c:v>4.21</c:v>
                </c:pt>
                <c:pt idx="4182">
                  <c:v>4.21</c:v>
                </c:pt>
                <c:pt idx="4183">
                  <c:v>3.61</c:v>
                </c:pt>
                <c:pt idx="4184">
                  <c:v>6.61</c:v>
                </c:pt>
                <c:pt idx="4185">
                  <c:v>3.01</c:v>
                </c:pt>
                <c:pt idx="4186">
                  <c:v>1.8</c:v>
                </c:pt>
                <c:pt idx="4187">
                  <c:v>6.61</c:v>
                </c:pt>
                <c:pt idx="4188">
                  <c:v>3.61</c:v>
                </c:pt>
                <c:pt idx="4189">
                  <c:v>2.4</c:v>
                </c:pt>
                <c:pt idx="4190">
                  <c:v>3.01</c:v>
                </c:pt>
                <c:pt idx="4191">
                  <c:v>4.8</c:v>
                </c:pt>
                <c:pt idx="4192">
                  <c:v>5.4</c:v>
                </c:pt>
                <c:pt idx="4193">
                  <c:v>3.01</c:v>
                </c:pt>
                <c:pt idx="4194">
                  <c:v>4.8</c:v>
                </c:pt>
                <c:pt idx="4195">
                  <c:v>2.4</c:v>
                </c:pt>
                <c:pt idx="4196">
                  <c:v>5.4</c:v>
                </c:pt>
                <c:pt idx="4197">
                  <c:v>3.01</c:v>
                </c:pt>
                <c:pt idx="4198">
                  <c:v>4.8</c:v>
                </c:pt>
                <c:pt idx="4199">
                  <c:v>6.61</c:v>
                </c:pt>
                <c:pt idx="4200">
                  <c:v>4.21</c:v>
                </c:pt>
                <c:pt idx="4201">
                  <c:v>4.8</c:v>
                </c:pt>
                <c:pt idx="4202">
                  <c:v>2.4</c:v>
                </c:pt>
                <c:pt idx="4203">
                  <c:v>5.4</c:v>
                </c:pt>
                <c:pt idx="4204">
                  <c:v>3.61</c:v>
                </c:pt>
                <c:pt idx="4205">
                  <c:v>4.21</c:v>
                </c:pt>
                <c:pt idx="4206">
                  <c:v>7.21</c:v>
                </c:pt>
                <c:pt idx="4207">
                  <c:v>2.4</c:v>
                </c:pt>
                <c:pt idx="4208">
                  <c:v>4.21</c:v>
                </c:pt>
                <c:pt idx="4209">
                  <c:v>4.21</c:v>
                </c:pt>
                <c:pt idx="4210">
                  <c:v>6.01</c:v>
                </c:pt>
                <c:pt idx="4211">
                  <c:v>7.21</c:v>
                </c:pt>
                <c:pt idx="4212">
                  <c:v>6.61</c:v>
                </c:pt>
                <c:pt idx="4213">
                  <c:v>5.4</c:v>
                </c:pt>
                <c:pt idx="4214">
                  <c:v>5.4</c:v>
                </c:pt>
                <c:pt idx="4215">
                  <c:v>4.21</c:v>
                </c:pt>
                <c:pt idx="4216">
                  <c:v>7.8</c:v>
                </c:pt>
                <c:pt idx="4217">
                  <c:v>5.4</c:v>
                </c:pt>
                <c:pt idx="4218">
                  <c:v>4.8</c:v>
                </c:pt>
                <c:pt idx="4219">
                  <c:v>5.4</c:v>
                </c:pt>
                <c:pt idx="4220">
                  <c:v>5.4</c:v>
                </c:pt>
                <c:pt idx="4221">
                  <c:v>4.21</c:v>
                </c:pt>
                <c:pt idx="4222">
                  <c:v>4.21</c:v>
                </c:pt>
                <c:pt idx="4223">
                  <c:v>4.21</c:v>
                </c:pt>
                <c:pt idx="4224">
                  <c:v>6.01</c:v>
                </c:pt>
                <c:pt idx="4225">
                  <c:v>3.01</c:v>
                </c:pt>
                <c:pt idx="4226">
                  <c:v>4.21</c:v>
                </c:pt>
                <c:pt idx="4227">
                  <c:v>1.8</c:v>
                </c:pt>
                <c:pt idx="4228">
                  <c:v>3.61</c:v>
                </c:pt>
                <c:pt idx="4229">
                  <c:v>5.4</c:v>
                </c:pt>
                <c:pt idx="4230">
                  <c:v>3.61</c:v>
                </c:pt>
                <c:pt idx="4231">
                  <c:v>6.01</c:v>
                </c:pt>
                <c:pt idx="4232">
                  <c:v>4.21</c:v>
                </c:pt>
                <c:pt idx="4233">
                  <c:v>4.21</c:v>
                </c:pt>
                <c:pt idx="4234">
                  <c:v>3.01</c:v>
                </c:pt>
                <c:pt idx="4235">
                  <c:v>3.61</c:v>
                </c:pt>
                <c:pt idx="4236">
                  <c:v>6.61</c:v>
                </c:pt>
                <c:pt idx="4237">
                  <c:v>3.61</c:v>
                </c:pt>
                <c:pt idx="4238">
                  <c:v>3.61</c:v>
                </c:pt>
                <c:pt idx="4239">
                  <c:v>2.4</c:v>
                </c:pt>
                <c:pt idx="4240">
                  <c:v>4.8</c:v>
                </c:pt>
                <c:pt idx="4241">
                  <c:v>3.01</c:v>
                </c:pt>
                <c:pt idx="4242">
                  <c:v>3.01</c:v>
                </c:pt>
                <c:pt idx="4243">
                  <c:v>2.4</c:v>
                </c:pt>
                <c:pt idx="4244">
                  <c:v>4.8</c:v>
                </c:pt>
                <c:pt idx="4245">
                  <c:v>4.21</c:v>
                </c:pt>
                <c:pt idx="4246">
                  <c:v>4.21</c:v>
                </c:pt>
                <c:pt idx="4247">
                  <c:v>4.8</c:v>
                </c:pt>
                <c:pt idx="4248">
                  <c:v>1.8</c:v>
                </c:pt>
                <c:pt idx="4249">
                  <c:v>6.61</c:v>
                </c:pt>
                <c:pt idx="4250">
                  <c:v>4.21</c:v>
                </c:pt>
                <c:pt idx="4251">
                  <c:v>3.61</c:v>
                </c:pt>
                <c:pt idx="4252">
                  <c:v>4.21</c:v>
                </c:pt>
                <c:pt idx="4253">
                  <c:v>4.8</c:v>
                </c:pt>
                <c:pt idx="4254">
                  <c:v>4.8</c:v>
                </c:pt>
                <c:pt idx="4255">
                  <c:v>3.61</c:v>
                </c:pt>
                <c:pt idx="4256">
                  <c:v>3.01</c:v>
                </c:pt>
                <c:pt idx="4257">
                  <c:v>6.61</c:v>
                </c:pt>
                <c:pt idx="4258">
                  <c:v>3.61</c:v>
                </c:pt>
                <c:pt idx="4259">
                  <c:v>3.61</c:v>
                </c:pt>
                <c:pt idx="4260">
                  <c:v>4.8</c:v>
                </c:pt>
                <c:pt idx="4261">
                  <c:v>3.61</c:v>
                </c:pt>
                <c:pt idx="4262">
                  <c:v>3.01</c:v>
                </c:pt>
                <c:pt idx="4263">
                  <c:v>3.61</c:v>
                </c:pt>
                <c:pt idx="4264">
                  <c:v>6.61</c:v>
                </c:pt>
                <c:pt idx="4265">
                  <c:v>6.61</c:v>
                </c:pt>
                <c:pt idx="4266">
                  <c:v>5.4</c:v>
                </c:pt>
                <c:pt idx="4267">
                  <c:v>3.01</c:v>
                </c:pt>
                <c:pt idx="4268">
                  <c:v>2.4</c:v>
                </c:pt>
                <c:pt idx="4269">
                  <c:v>3.01</c:v>
                </c:pt>
                <c:pt idx="4270">
                  <c:v>5.4</c:v>
                </c:pt>
                <c:pt idx="4271">
                  <c:v>4.8</c:v>
                </c:pt>
                <c:pt idx="4272">
                  <c:v>4.8</c:v>
                </c:pt>
                <c:pt idx="4273">
                  <c:v>5.4</c:v>
                </c:pt>
                <c:pt idx="4274">
                  <c:v>4.8</c:v>
                </c:pt>
                <c:pt idx="4275">
                  <c:v>4.8</c:v>
                </c:pt>
                <c:pt idx="4276">
                  <c:v>4.8</c:v>
                </c:pt>
                <c:pt idx="4277">
                  <c:v>3.61</c:v>
                </c:pt>
                <c:pt idx="4278">
                  <c:v>6.01</c:v>
                </c:pt>
                <c:pt idx="4279">
                  <c:v>4.21</c:v>
                </c:pt>
                <c:pt idx="4280">
                  <c:v>3.61</c:v>
                </c:pt>
                <c:pt idx="4281">
                  <c:v>7.21</c:v>
                </c:pt>
                <c:pt idx="4282">
                  <c:v>4.21</c:v>
                </c:pt>
                <c:pt idx="4283">
                  <c:v>4.8</c:v>
                </c:pt>
                <c:pt idx="4284">
                  <c:v>5.4</c:v>
                </c:pt>
                <c:pt idx="4285">
                  <c:v>2.4</c:v>
                </c:pt>
                <c:pt idx="4286">
                  <c:v>1.21</c:v>
                </c:pt>
                <c:pt idx="4287">
                  <c:v>3.01</c:v>
                </c:pt>
                <c:pt idx="4288">
                  <c:v>3.61</c:v>
                </c:pt>
                <c:pt idx="4289">
                  <c:v>5.4</c:v>
                </c:pt>
                <c:pt idx="4290">
                  <c:v>6.01</c:v>
                </c:pt>
                <c:pt idx="4291">
                  <c:v>2.4</c:v>
                </c:pt>
                <c:pt idx="4292">
                  <c:v>3.61</c:v>
                </c:pt>
                <c:pt idx="4293">
                  <c:v>4.8</c:v>
                </c:pt>
                <c:pt idx="4294">
                  <c:v>4.21</c:v>
                </c:pt>
                <c:pt idx="4295">
                  <c:v>7.21</c:v>
                </c:pt>
                <c:pt idx="4296">
                  <c:v>6.01</c:v>
                </c:pt>
                <c:pt idx="4297">
                  <c:v>3.61</c:v>
                </c:pt>
                <c:pt idx="4298">
                  <c:v>3.61</c:v>
                </c:pt>
                <c:pt idx="4299">
                  <c:v>6.01</c:v>
                </c:pt>
                <c:pt idx="4300">
                  <c:v>5.4</c:v>
                </c:pt>
                <c:pt idx="4301">
                  <c:v>6.61</c:v>
                </c:pt>
                <c:pt idx="4302">
                  <c:v>3.61</c:v>
                </c:pt>
                <c:pt idx="4303">
                  <c:v>3.61</c:v>
                </c:pt>
                <c:pt idx="4304">
                  <c:v>3.61</c:v>
                </c:pt>
                <c:pt idx="4305">
                  <c:v>2.4</c:v>
                </c:pt>
                <c:pt idx="4306">
                  <c:v>4.21</c:v>
                </c:pt>
                <c:pt idx="4307">
                  <c:v>3.01</c:v>
                </c:pt>
                <c:pt idx="4308">
                  <c:v>4.21</c:v>
                </c:pt>
                <c:pt idx="4309">
                  <c:v>4.21</c:v>
                </c:pt>
                <c:pt idx="4310">
                  <c:v>4.21</c:v>
                </c:pt>
                <c:pt idx="4311">
                  <c:v>3.01</c:v>
                </c:pt>
                <c:pt idx="4312">
                  <c:v>4.21</c:v>
                </c:pt>
                <c:pt idx="4313">
                  <c:v>3.61</c:v>
                </c:pt>
                <c:pt idx="4314">
                  <c:v>4.8</c:v>
                </c:pt>
                <c:pt idx="4315">
                  <c:v>6.01</c:v>
                </c:pt>
                <c:pt idx="4316">
                  <c:v>6.01</c:v>
                </c:pt>
                <c:pt idx="4317">
                  <c:v>3.61</c:v>
                </c:pt>
                <c:pt idx="4318">
                  <c:v>3.61</c:v>
                </c:pt>
                <c:pt idx="4319">
                  <c:v>3.61</c:v>
                </c:pt>
                <c:pt idx="4320">
                  <c:v>3.01</c:v>
                </c:pt>
                <c:pt idx="4321">
                  <c:v>6.01</c:v>
                </c:pt>
                <c:pt idx="4322">
                  <c:v>4.8</c:v>
                </c:pt>
                <c:pt idx="4323">
                  <c:v>3.01</c:v>
                </c:pt>
                <c:pt idx="4324">
                  <c:v>4.8</c:v>
                </c:pt>
                <c:pt idx="4325">
                  <c:v>6.01</c:v>
                </c:pt>
                <c:pt idx="4326">
                  <c:v>4.8</c:v>
                </c:pt>
                <c:pt idx="4327">
                  <c:v>4.8</c:v>
                </c:pt>
                <c:pt idx="4328">
                  <c:v>4.21</c:v>
                </c:pt>
                <c:pt idx="4329">
                  <c:v>4.21</c:v>
                </c:pt>
                <c:pt idx="4330">
                  <c:v>1.8</c:v>
                </c:pt>
                <c:pt idx="4331">
                  <c:v>3.01</c:v>
                </c:pt>
                <c:pt idx="4332">
                  <c:v>4.21</c:v>
                </c:pt>
                <c:pt idx="4333">
                  <c:v>5.4</c:v>
                </c:pt>
                <c:pt idx="4334">
                  <c:v>2.4</c:v>
                </c:pt>
                <c:pt idx="4335">
                  <c:v>1.8</c:v>
                </c:pt>
                <c:pt idx="4336">
                  <c:v>3.01</c:v>
                </c:pt>
                <c:pt idx="4337">
                  <c:v>3.61</c:v>
                </c:pt>
                <c:pt idx="4338">
                  <c:v>3.01</c:v>
                </c:pt>
                <c:pt idx="4339">
                  <c:v>4.21</c:v>
                </c:pt>
                <c:pt idx="4340">
                  <c:v>5.4</c:v>
                </c:pt>
                <c:pt idx="4341">
                  <c:v>7.8</c:v>
                </c:pt>
                <c:pt idx="4342">
                  <c:v>3.01</c:v>
                </c:pt>
                <c:pt idx="4343">
                  <c:v>6.01</c:v>
                </c:pt>
                <c:pt idx="4344">
                  <c:v>3.01</c:v>
                </c:pt>
                <c:pt idx="4345">
                  <c:v>4.21</c:v>
                </c:pt>
                <c:pt idx="4346">
                  <c:v>2.4</c:v>
                </c:pt>
                <c:pt idx="4347">
                  <c:v>3.01</c:v>
                </c:pt>
                <c:pt idx="4348">
                  <c:v>4.21</c:v>
                </c:pt>
                <c:pt idx="4349">
                  <c:v>3.61</c:v>
                </c:pt>
                <c:pt idx="4350">
                  <c:v>5.4</c:v>
                </c:pt>
                <c:pt idx="4351">
                  <c:v>4.8</c:v>
                </c:pt>
                <c:pt idx="4352">
                  <c:v>4.8</c:v>
                </c:pt>
                <c:pt idx="4353">
                  <c:v>4.8</c:v>
                </c:pt>
                <c:pt idx="4354">
                  <c:v>4.8</c:v>
                </c:pt>
                <c:pt idx="4355">
                  <c:v>5.4</c:v>
                </c:pt>
                <c:pt idx="4356">
                  <c:v>3.61</c:v>
                </c:pt>
                <c:pt idx="4357">
                  <c:v>5.4</c:v>
                </c:pt>
                <c:pt idx="4358">
                  <c:v>5.4</c:v>
                </c:pt>
                <c:pt idx="4359">
                  <c:v>5.4</c:v>
                </c:pt>
                <c:pt idx="4360">
                  <c:v>4.21</c:v>
                </c:pt>
                <c:pt idx="4361">
                  <c:v>4.21</c:v>
                </c:pt>
                <c:pt idx="4362">
                  <c:v>5.4</c:v>
                </c:pt>
                <c:pt idx="4363">
                  <c:v>3.61</c:v>
                </c:pt>
                <c:pt idx="4364">
                  <c:v>4.8</c:v>
                </c:pt>
                <c:pt idx="4365">
                  <c:v>3.01</c:v>
                </c:pt>
                <c:pt idx="4366">
                  <c:v>4.21</c:v>
                </c:pt>
                <c:pt idx="4367">
                  <c:v>5.4</c:v>
                </c:pt>
                <c:pt idx="4368">
                  <c:v>3.61</c:v>
                </c:pt>
                <c:pt idx="4369">
                  <c:v>2.4</c:v>
                </c:pt>
                <c:pt idx="4370">
                  <c:v>4.8</c:v>
                </c:pt>
                <c:pt idx="4371">
                  <c:v>6.01</c:v>
                </c:pt>
                <c:pt idx="4372">
                  <c:v>5.4</c:v>
                </c:pt>
                <c:pt idx="4373">
                  <c:v>4.21</c:v>
                </c:pt>
                <c:pt idx="4374">
                  <c:v>4.8</c:v>
                </c:pt>
                <c:pt idx="4375">
                  <c:v>6.01</c:v>
                </c:pt>
                <c:pt idx="4376">
                  <c:v>4.21</c:v>
                </c:pt>
                <c:pt idx="4377">
                  <c:v>3.01</c:v>
                </c:pt>
                <c:pt idx="4378">
                  <c:v>4.21</c:v>
                </c:pt>
                <c:pt idx="4379">
                  <c:v>4.21</c:v>
                </c:pt>
                <c:pt idx="4380">
                  <c:v>3.01</c:v>
                </c:pt>
                <c:pt idx="4381">
                  <c:v>4.8</c:v>
                </c:pt>
                <c:pt idx="4382">
                  <c:v>2.4</c:v>
                </c:pt>
                <c:pt idx="4383">
                  <c:v>4.8</c:v>
                </c:pt>
                <c:pt idx="4384">
                  <c:v>5.4</c:v>
                </c:pt>
                <c:pt idx="4385">
                  <c:v>4.21</c:v>
                </c:pt>
                <c:pt idx="4386">
                  <c:v>3.61</c:v>
                </c:pt>
                <c:pt idx="4387">
                  <c:v>5.4</c:v>
                </c:pt>
                <c:pt idx="4388">
                  <c:v>6.01</c:v>
                </c:pt>
                <c:pt idx="4389">
                  <c:v>6.01</c:v>
                </c:pt>
                <c:pt idx="4390">
                  <c:v>4.8</c:v>
                </c:pt>
                <c:pt idx="4391">
                  <c:v>5.4</c:v>
                </c:pt>
                <c:pt idx="4392">
                  <c:v>6.01</c:v>
                </c:pt>
                <c:pt idx="4393">
                  <c:v>4.21</c:v>
                </c:pt>
                <c:pt idx="4394">
                  <c:v>4.21</c:v>
                </c:pt>
                <c:pt idx="4395">
                  <c:v>5.4</c:v>
                </c:pt>
                <c:pt idx="4396">
                  <c:v>4.21</c:v>
                </c:pt>
                <c:pt idx="4397">
                  <c:v>6.61</c:v>
                </c:pt>
                <c:pt idx="4398">
                  <c:v>4.21</c:v>
                </c:pt>
                <c:pt idx="4399">
                  <c:v>6.01</c:v>
                </c:pt>
                <c:pt idx="4400">
                  <c:v>3.61</c:v>
                </c:pt>
                <c:pt idx="4401">
                  <c:v>3.01</c:v>
                </c:pt>
                <c:pt idx="4402">
                  <c:v>4.8</c:v>
                </c:pt>
                <c:pt idx="4403">
                  <c:v>3.01</c:v>
                </c:pt>
                <c:pt idx="4404">
                  <c:v>3.61</c:v>
                </c:pt>
                <c:pt idx="4405">
                  <c:v>4.8</c:v>
                </c:pt>
                <c:pt idx="4406">
                  <c:v>2.4</c:v>
                </c:pt>
                <c:pt idx="4407">
                  <c:v>3.61</c:v>
                </c:pt>
                <c:pt idx="4408">
                  <c:v>3.61</c:v>
                </c:pt>
                <c:pt idx="4409">
                  <c:v>4.21</c:v>
                </c:pt>
                <c:pt idx="4410">
                  <c:v>3.61</c:v>
                </c:pt>
                <c:pt idx="4411">
                  <c:v>3.01</c:v>
                </c:pt>
                <c:pt idx="4412">
                  <c:v>4.21</c:v>
                </c:pt>
                <c:pt idx="4413">
                  <c:v>4.21</c:v>
                </c:pt>
                <c:pt idx="4414">
                  <c:v>3.61</c:v>
                </c:pt>
                <c:pt idx="4415">
                  <c:v>5.4</c:v>
                </c:pt>
                <c:pt idx="4416">
                  <c:v>5.4</c:v>
                </c:pt>
                <c:pt idx="4417">
                  <c:v>5.4</c:v>
                </c:pt>
                <c:pt idx="4418">
                  <c:v>3.01</c:v>
                </c:pt>
                <c:pt idx="4419">
                  <c:v>3.61</c:v>
                </c:pt>
                <c:pt idx="4420">
                  <c:v>3.01</c:v>
                </c:pt>
                <c:pt idx="4421">
                  <c:v>6.01</c:v>
                </c:pt>
                <c:pt idx="4422">
                  <c:v>3.61</c:v>
                </c:pt>
                <c:pt idx="4423">
                  <c:v>4.8</c:v>
                </c:pt>
                <c:pt idx="4424">
                  <c:v>5.4</c:v>
                </c:pt>
                <c:pt idx="4425">
                  <c:v>3.61</c:v>
                </c:pt>
                <c:pt idx="4426">
                  <c:v>3.61</c:v>
                </c:pt>
                <c:pt idx="4427">
                  <c:v>2.4</c:v>
                </c:pt>
                <c:pt idx="4428">
                  <c:v>3.01</c:v>
                </c:pt>
                <c:pt idx="4429">
                  <c:v>4.21</c:v>
                </c:pt>
                <c:pt idx="4430">
                  <c:v>4.8</c:v>
                </c:pt>
                <c:pt idx="4431">
                  <c:v>2.4</c:v>
                </c:pt>
                <c:pt idx="4432">
                  <c:v>4.8</c:v>
                </c:pt>
                <c:pt idx="4433">
                  <c:v>3.61</c:v>
                </c:pt>
                <c:pt idx="4434">
                  <c:v>3.01</c:v>
                </c:pt>
                <c:pt idx="4435">
                  <c:v>3.01</c:v>
                </c:pt>
                <c:pt idx="4436">
                  <c:v>4.21</c:v>
                </c:pt>
                <c:pt idx="4437">
                  <c:v>3.61</c:v>
                </c:pt>
                <c:pt idx="4438">
                  <c:v>4.21</c:v>
                </c:pt>
                <c:pt idx="4439">
                  <c:v>5.4</c:v>
                </c:pt>
                <c:pt idx="4440">
                  <c:v>3.61</c:v>
                </c:pt>
                <c:pt idx="4441">
                  <c:v>4.8</c:v>
                </c:pt>
                <c:pt idx="4442">
                  <c:v>4.21</c:v>
                </c:pt>
                <c:pt idx="4443">
                  <c:v>3.61</c:v>
                </c:pt>
                <c:pt idx="4444">
                  <c:v>5.4</c:v>
                </c:pt>
                <c:pt idx="4445">
                  <c:v>3.61</c:v>
                </c:pt>
                <c:pt idx="4446">
                  <c:v>3.01</c:v>
                </c:pt>
                <c:pt idx="4447">
                  <c:v>3.61</c:v>
                </c:pt>
                <c:pt idx="4448">
                  <c:v>5.4</c:v>
                </c:pt>
                <c:pt idx="4449">
                  <c:v>4.21</c:v>
                </c:pt>
                <c:pt idx="4450">
                  <c:v>4.8</c:v>
                </c:pt>
                <c:pt idx="4451">
                  <c:v>3.61</c:v>
                </c:pt>
                <c:pt idx="4452">
                  <c:v>6.01</c:v>
                </c:pt>
                <c:pt idx="4453">
                  <c:v>4.21</c:v>
                </c:pt>
                <c:pt idx="4454">
                  <c:v>3.61</c:v>
                </c:pt>
                <c:pt idx="4455">
                  <c:v>4.8</c:v>
                </c:pt>
                <c:pt idx="4456">
                  <c:v>4.8</c:v>
                </c:pt>
                <c:pt idx="4457">
                  <c:v>4.8</c:v>
                </c:pt>
                <c:pt idx="4458">
                  <c:v>4.21</c:v>
                </c:pt>
                <c:pt idx="4459">
                  <c:v>3.61</c:v>
                </c:pt>
                <c:pt idx="4460">
                  <c:v>4.21</c:v>
                </c:pt>
                <c:pt idx="4461">
                  <c:v>4.8</c:v>
                </c:pt>
                <c:pt idx="4462">
                  <c:v>3.61</c:v>
                </c:pt>
                <c:pt idx="4463">
                  <c:v>4.8</c:v>
                </c:pt>
                <c:pt idx="4464">
                  <c:v>3.61</c:v>
                </c:pt>
                <c:pt idx="4465">
                  <c:v>4.8</c:v>
                </c:pt>
                <c:pt idx="4466">
                  <c:v>3.01</c:v>
                </c:pt>
                <c:pt idx="4467">
                  <c:v>3.01</c:v>
                </c:pt>
                <c:pt idx="4468">
                  <c:v>4.8</c:v>
                </c:pt>
                <c:pt idx="4469">
                  <c:v>6.01</c:v>
                </c:pt>
                <c:pt idx="4470">
                  <c:v>2.4</c:v>
                </c:pt>
                <c:pt idx="4471">
                  <c:v>3.01</c:v>
                </c:pt>
                <c:pt idx="4472">
                  <c:v>4.21</c:v>
                </c:pt>
                <c:pt idx="4473">
                  <c:v>3.61</c:v>
                </c:pt>
                <c:pt idx="4474">
                  <c:v>4.8</c:v>
                </c:pt>
                <c:pt idx="4475">
                  <c:v>3.01</c:v>
                </c:pt>
                <c:pt idx="4476">
                  <c:v>6.61</c:v>
                </c:pt>
                <c:pt idx="4477">
                  <c:v>5.4</c:v>
                </c:pt>
                <c:pt idx="4478">
                  <c:v>3.61</c:v>
                </c:pt>
                <c:pt idx="4479">
                  <c:v>2.4</c:v>
                </c:pt>
                <c:pt idx="4480">
                  <c:v>3.61</c:v>
                </c:pt>
                <c:pt idx="4481">
                  <c:v>4.21</c:v>
                </c:pt>
                <c:pt idx="4482">
                  <c:v>6.61</c:v>
                </c:pt>
                <c:pt idx="4483">
                  <c:v>4.8</c:v>
                </c:pt>
                <c:pt idx="4484">
                  <c:v>3.01</c:v>
                </c:pt>
                <c:pt idx="4485">
                  <c:v>6.61</c:v>
                </c:pt>
                <c:pt idx="4486">
                  <c:v>1.8</c:v>
                </c:pt>
                <c:pt idx="4487">
                  <c:v>4.8</c:v>
                </c:pt>
                <c:pt idx="4488">
                  <c:v>4.21</c:v>
                </c:pt>
                <c:pt idx="4489">
                  <c:v>5.4</c:v>
                </c:pt>
                <c:pt idx="4490">
                  <c:v>4.21</c:v>
                </c:pt>
                <c:pt idx="4491">
                  <c:v>2.4</c:v>
                </c:pt>
                <c:pt idx="4492">
                  <c:v>4.8</c:v>
                </c:pt>
                <c:pt idx="4493">
                  <c:v>4.8</c:v>
                </c:pt>
                <c:pt idx="4494">
                  <c:v>4.8</c:v>
                </c:pt>
                <c:pt idx="4495">
                  <c:v>4.8</c:v>
                </c:pt>
                <c:pt idx="4496">
                  <c:v>3.01</c:v>
                </c:pt>
                <c:pt idx="4497">
                  <c:v>3.01</c:v>
                </c:pt>
                <c:pt idx="4498">
                  <c:v>3.61</c:v>
                </c:pt>
                <c:pt idx="4499">
                  <c:v>3.61</c:v>
                </c:pt>
                <c:pt idx="4500">
                  <c:v>3.01</c:v>
                </c:pt>
                <c:pt idx="4501">
                  <c:v>3.61</c:v>
                </c:pt>
                <c:pt idx="4502">
                  <c:v>4.21</c:v>
                </c:pt>
                <c:pt idx="4503">
                  <c:v>4.8</c:v>
                </c:pt>
                <c:pt idx="4504">
                  <c:v>4.8</c:v>
                </c:pt>
                <c:pt idx="4505">
                  <c:v>3.61</c:v>
                </c:pt>
                <c:pt idx="4506">
                  <c:v>3.61</c:v>
                </c:pt>
                <c:pt idx="4507">
                  <c:v>4.21</c:v>
                </c:pt>
                <c:pt idx="4508">
                  <c:v>5.4</c:v>
                </c:pt>
                <c:pt idx="4509">
                  <c:v>4.8</c:v>
                </c:pt>
                <c:pt idx="4510">
                  <c:v>6.01</c:v>
                </c:pt>
                <c:pt idx="4511">
                  <c:v>4.8</c:v>
                </c:pt>
                <c:pt idx="4512">
                  <c:v>4.8</c:v>
                </c:pt>
                <c:pt idx="4513">
                  <c:v>4.21</c:v>
                </c:pt>
                <c:pt idx="4514">
                  <c:v>1.21</c:v>
                </c:pt>
                <c:pt idx="4515">
                  <c:v>6.01</c:v>
                </c:pt>
                <c:pt idx="4516">
                  <c:v>5.4</c:v>
                </c:pt>
                <c:pt idx="4517">
                  <c:v>4.21</c:v>
                </c:pt>
                <c:pt idx="4518">
                  <c:v>2.4</c:v>
                </c:pt>
                <c:pt idx="4519">
                  <c:v>4.21</c:v>
                </c:pt>
                <c:pt idx="4520">
                  <c:v>3.61</c:v>
                </c:pt>
                <c:pt idx="4521">
                  <c:v>4.21</c:v>
                </c:pt>
                <c:pt idx="4522">
                  <c:v>6.01</c:v>
                </c:pt>
                <c:pt idx="4523">
                  <c:v>5.4</c:v>
                </c:pt>
                <c:pt idx="4524">
                  <c:v>6.01</c:v>
                </c:pt>
                <c:pt idx="4525">
                  <c:v>3.01</c:v>
                </c:pt>
                <c:pt idx="4526">
                  <c:v>4.21</c:v>
                </c:pt>
                <c:pt idx="4527">
                  <c:v>1.8</c:v>
                </c:pt>
                <c:pt idx="4528">
                  <c:v>4.21</c:v>
                </c:pt>
                <c:pt idx="4529">
                  <c:v>4.8</c:v>
                </c:pt>
                <c:pt idx="4530">
                  <c:v>4.21</c:v>
                </c:pt>
                <c:pt idx="4531">
                  <c:v>4.8</c:v>
                </c:pt>
                <c:pt idx="4532">
                  <c:v>7.8</c:v>
                </c:pt>
                <c:pt idx="4533">
                  <c:v>5.4</c:v>
                </c:pt>
                <c:pt idx="4534">
                  <c:v>4.21</c:v>
                </c:pt>
                <c:pt idx="4535">
                  <c:v>3.01</c:v>
                </c:pt>
                <c:pt idx="4536">
                  <c:v>3.61</c:v>
                </c:pt>
                <c:pt idx="4537">
                  <c:v>4.21</c:v>
                </c:pt>
                <c:pt idx="4538">
                  <c:v>3.61</c:v>
                </c:pt>
                <c:pt idx="4539">
                  <c:v>2.4</c:v>
                </c:pt>
                <c:pt idx="4540">
                  <c:v>4.8</c:v>
                </c:pt>
                <c:pt idx="4541">
                  <c:v>5.4</c:v>
                </c:pt>
                <c:pt idx="4542">
                  <c:v>4.21</c:v>
                </c:pt>
                <c:pt idx="4543">
                  <c:v>3.61</c:v>
                </c:pt>
                <c:pt idx="4544">
                  <c:v>3.61</c:v>
                </c:pt>
                <c:pt idx="4545">
                  <c:v>4.21</c:v>
                </c:pt>
                <c:pt idx="4546">
                  <c:v>4.21</c:v>
                </c:pt>
                <c:pt idx="4547">
                  <c:v>6.61</c:v>
                </c:pt>
                <c:pt idx="4548">
                  <c:v>4.21</c:v>
                </c:pt>
                <c:pt idx="4549">
                  <c:v>2.4</c:v>
                </c:pt>
                <c:pt idx="4550">
                  <c:v>4.8</c:v>
                </c:pt>
                <c:pt idx="4551">
                  <c:v>4.8</c:v>
                </c:pt>
                <c:pt idx="4552">
                  <c:v>6.01</c:v>
                </c:pt>
                <c:pt idx="4553">
                  <c:v>3.61</c:v>
                </c:pt>
                <c:pt idx="4554">
                  <c:v>4.21</c:v>
                </c:pt>
                <c:pt idx="4555">
                  <c:v>5.4</c:v>
                </c:pt>
                <c:pt idx="4556">
                  <c:v>5.4</c:v>
                </c:pt>
                <c:pt idx="4557">
                  <c:v>3.01</c:v>
                </c:pt>
                <c:pt idx="4558">
                  <c:v>4.21</c:v>
                </c:pt>
                <c:pt idx="4559">
                  <c:v>2.4</c:v>
                </c:pt>
                <c:pt idx="4560">
                  <c:v>5.4</c:v>
                </c:pt>
                <c:pt idx="4561">
                  <c:v>3.61</c:v>
                </c:pt>
                <c:pt idx="4562">
                  <c:v>3.01</c:v>
                </c:pt>
                <c:pt idx="4563">
                  <c:v>3.61</c:v>
                </c:pt>
                <c:pt idx="4564">
                  <c:v>5.4</c:v>
                </c:pt>
                <c:pt idx="4565">
                  <c:v>4.21</c:v>
                </c:pt>
                <c:pt idx="4566">
                  <c:v>3.61</c:v>
                </c:pt>
                <c:pt idx="4567">
                  <c:v>6.01</c:v>
                </c:pt>
                <c:pt idx="4568">
                  <c:v>5.4</c:v>
                </c:pt>
                <c:pt idx="4569">
                  <c:v>3.01</c:v>
                </c:pt>
                <c:pt idx="4570">
                  <c:v>4.8</c:v>
                </c:pt>
                <c:pt idx="4571">
                  <c:v>6.61</c:v>
                </c:pt>
                <c:pt idx="4572">
                  <c:v>3.01</c:v>
                </c:pt>
                <c:pt idx="4573">
                  <c:v>4.21</c:v>
                </c:pt>
                <c:pt idx="4574">
                  <c:v>3.61</c:v>
                </c:pt>
                <c:pt idx="4575">
                  <c:v>4.8</c:v>
                </c:pt>
                <c:pt idx="4576">
                  <c:v>2.4</c:v>
                </c:pt>
                <c:pt idx="4577">
                  <c:v>4.21</c:v>
                </c:pt>
                <c:pt idx="4578">
                  <c:v>6.01</c:v>
                </c:pt>
                <c:pt idx="4579">
                  <c:v>4.8</c:v>
                </c:pt>
                <c:pt idx="4580">
                  <c:v>6.61</c:v>
                </c:pt>
                <c:pt idx="4581">
                  <c:v>3.61</c:v>
                </c:pt>
                <c:pt idx="4582">
                  <c:v>3.61</c:v>
                </c:pt>
                <c:pt idx="4583">
                  <c:v>4.8</c:v>
                </c:pt>
                <c:pt idx="4584">
                  <c:v>3.01</c:v>
                </c:pt>
                <c:pt idx="4585">
                  <c:v>7.21</c:v>
                </c:pt>
                <c:pt idx="4586">
                  <c:v>4.21</c:v>
                </c:pt>
                <c:pt idx="4587">
                  <c:v>4.21</c:v>
                </c:pt>
                <c:pt idx="4588">
                  <c:v>4.21</c:v>
                </c:pt>
                <c:pt idx="4589">
                  <c:v>5.4</c:v>
                </c:pt>
                <c:pt idx="4590">
                  <c:v>5.4</c:v>
                </c:pt>
                <c:pt idx="4591">
                  <c:v>4.21</c:v>
                </c:pt>
                <c:pt idx="4592">
                  <c:v>3.61</c:v>
                </c:pt>
                <c:pt idx="4593">
                  <c:v>3.61</c:v>
                </c:pt>
                <c:pt idx="4594">
                  <c:v>6.01</c:v>
                </c:pt>
                <c:pt idx="4595">
                  <c:v>6.01</c:v>
                </c:pt>
                <c:pt idx="4596">
                  <c:v>3.01</c:v>
                </c:pt>
                <c:pt idx="4597">
                  <c:v>3.61</c:v>
                </c:pt>
                <c:pt idx="4598">
                  <c:v>4.8</c:v>
                </c:pt>
                <c:pt idx="4599">
                  <c:v>4.21</c:v>
                </c:pt>
                <c:pt idx="4600">
                  <c:v>4.8</c:v>
                </c:pt>
                <c:pt idx="4601">
                  <c:v>4.8</c:v>
                </c:pt>
                <c:pt idx="4602">
                  <c:v>4.8</c:v>
                </c:pt>
                <c:pt idx="4603">
                  <c:v>3.61</c:v>
                </c:pt>
                <c:pt idx="4604">
                  <c:v>3.61</c:v>
                </c:pt>
                <c:pt idx="4605">
                  <c:v>4.8</c:v>
                </c:pt>
                <c:pt idx="4606">
                  <c:v>3.01</c:v>
                </c:pt>
                <c:pt idx="4607">
                  <c:v>6.01</c:v>
                </c:pt>
                <c:pt idx="4608">
                  <c:v>4.21</c:v>
                </c:pt>
                <c:pt idx="4609">
                  <c:v>5.4</c:v>
                </c:pt>
                <c:pt idx="4610">
                  <c:v>3.01</c:v>
                </c:pt>
                <c:pt idx="4611">
                  <c:v>4.21</c:v>
                </c:pt>
                <c:pt idx="4612">
                  <c:v>4.8</c:v>
                </c:pt>
                <c:pt idx="4613">
                  <c:v>5.4</c:v>
                </c:pt>
                <c:pt idx="4614">
                  <c:v>3.01</c:v>
                </c:pt>
                <c:pt idx="4615">
                  <c:v>3.01</c:v>
                </c:pt>
                <c:pt idx="4616">
                  <c:v>3.61</c:v>
                </c:pt>
                <c:pt idx="4617">
                  <c:v>4.21</c:v>
                </c:pt>
                <c:pt idx="4618">
                  <c:v>3.61</c:v>
                </c:pt>
                <c:pt idx="4619">
                  <c:v>3.61</c:v>
                </c:pt>
                <c:pt idx="4620">
                  <c:v>4.8</c:v>
                </c:pt>
                <c:pt idx="4621">
                  <c:v>3.61</c:v>
                </c:pt>
                <c:pt idx="4622">
                  <c:v>3.61</c:v>
                </c:pt>
                <c:pt idx="4623">
                  <c:v>3.01</c:v>
                </c:pt>
                <c:pt idx="4624">
                  <c:v>6.61</c:v>
                </c:pt>
                <c:pt idx="4625">
                  <c:v>6.61</c:v>
                </c:pt>
                <c:pt idx="4626">
                  <c:v>4.21</c:v>
                </c:pt>
                <c:pt idx="4627">
                  <c:v>4.8</c:v>
                </c:pt>
                <c:pt idx="4628">
                  <c:v>4.8</c:v>
                </c:pt>
                <c:pt idx="4629">
                  <c:v>4.8</c:v>
                </c:pt>
                <c:pt idx="4630">
                  <c:v>6.01</c:v>
                </c:pt>
                <c:pt idx="4631">
                  <c:v>5.4</c:v>
                </c:pt>
                <c:pt idx="4632">
                  <c:v>2.4</c:v>
                </c:pt>
                <c:pt idx="4633">
                  <c:v>3.61</c:v>
                </c:pt>
                <c:pt idx="4634">
                  <c:v>3.61</c:v>
                </c:pt>
                <c:pt idx="4635">
                  <c:v>4.21</c:v>
                </c:pt>
                <c:pt idx="4636">
                  <c:v>3.61</c:v>
                </c:pt>
                <c:pt idx="4637">
                  <c:v>4.21</c:v>
                </c:pt>
                <c:pt idx="4638">
                  <c:v>5.4</c:v>
                </c:pt>
                <c:pt idx="4639">
                  <c:v>5.4</c:v>
                </c:pt>
                <c:pt idx="4640">
                  <c:v>5.4</c:v>
                </c:pt>
                <c:pt idx="4641">
                  <c:v>4.8</c:v>
                </c:pt>
                <c:pt idx="4642">
                  <c:v>6.01</c:v>
                </c:pt>
                <c:pt idx="4643">
                  <c:v>5.4</c:v>
                </c:pt>
                <c:pt idx="4644">
                  <c:v>4.8</c:v>
                </c:pt>
                <c:pt idx="4645">
                  <c:v>3.61</c:v>
                </c:pt>
                <c:pt idx="4646">
                  <c:v>5.4</c:v>
                </c:pt>
                <c:pt idx="4647">
                  <c:v>4.21</c:v>
                </c:pt>
                <c:pt idx="4648">
                  <c:v>3.61</c:v>
                </c:pt>
                <c:pt idx="4649">
                  <c:v>7.21</c:v>
                </c:pt>
                <c:pt idx="4650">
                  <c:v>2.4</c:v>
                </c:pt>
                <c:pt idx="4651">
                  <c:v>6.01</c:v>
                </c:pt>
                <c:pt idx="4652">
                  <c:v>6.01</c:v>
                </c:pt>
                <c:pt idx="4653">
                  <c:v>4.21</c:v>
                </c:pt>
                <c:pt idx="4654">
                  <c:v>3.61</c:v>
                </c:pt>
                <c:pt idx="4655">
                  <c:v>4.21</c:v>
                </c:pt>
                <c:pt idx="4656">
                  <c:v>5.4</c:v>
                </c:pt>
                <c:pt idx="4657">
                  <c:v>6.01</c:v>
                </c:pt>
                <c:pt idx="4658">
                  <c:v>4.21</c:v>
                </c:pt>
                <c:pt idx="4659">
                  <c:v>4.21</c:v>
                </c:pt>
                <c:pt idx="4660">
                  <c:v>5.4</c:v>
                </c:pt>
                <c:pt idx="4661">
                  <c:v>3.61</c:v>
                </c:pt>
                <c:pt idx="4662">
                  <c:v>3.61</c:v>
                </c:pt>
                <c:pt idx="4663">
                  <c:v>3.01</c:v>
                </c:pt>
                <c:pt idx="4664">
                  <c:v>6.61</c:v>
                </c:pt>
                <c:pt idx="4665">
                  <c:v>6.61</c:v>
                </c:pt>
                <c:pt idx="4666">
                  <c:v>3.61</c:v>
                </c:pt>
                <c:pt idx="4667">
                  <c:v>6.01</c:v>
                </c:pt>
                <c:pt idx="4668">
                  <c:v>4.21</c:v>
                </c:pt>
                <c:pt idx="4669">
                  <c:v>6.61</c:v>
                </c:pt>
                <c:pt idx="4670">
                  <c:v>6.01</c:v>
                </c:pt>
                <c:pt idx="4671">
                  <c:v>3.61</c:v>
                </c:pt>
                <c:pt idx="4672">
                  <c:v>4.21</c:v>
                </c:pt>
                <c:pt idx="4673">
                  <c:v>4.21</c:v>
                </c:pt>
                <c:pt idx="4674">
                  <c:v>3.61</c:v>
                </c:pt>
                <c:pt idx="4675">
                  <c:v>5.4</c:v>
                </c:pt>
                <c:pt idx="4676">
                  <c:v>3.01</c:v>
                </c:pt>
                <c:pt idx="4677">
                  <c:v>4.21</c:v>
                </c:pt>
                <c:pt idx="4678">
                  <c:v>1.21</c:v>
                </c:pt>
                <c:pt idx="4679">
                  <c:v>3.01</c:v>
                </c:pt>
                <c:pt idx="4680">
                  <c:v>4.8</c:v>
                </c:pt>
                <c:pt idx="4681">
                  <c:v>3.61</c:v>
                </c:pt>
                <c:pt idx="4682">
                  <c:v>3.61</c:v>
                </c:pt>
                <c:pt idx="4683">
                  <c:v>3.01</c:v>
                </c:pt>
                <c:pt idx="4684">
                  <c:v>4.21</c:v>
                </c:pt>
                <c:pt idx="4685">
                  <c:v>3.61</c:v>
                </c:pt>
                <c:pt idx="4686">
                  <c:v>4.21</c:v>
                </c:pt>
                <c:pt idx="4687">
                  <c:v>4.21</c:v>
                </c:pt>
                <c:pt idx="4688">
                  <c:v>6.61</c:v>
                </c:pt>
                <c:pt idx="4689">
                  <c:v>4.8</c:v>
                </c:pt>
                <c:pt idx="4690">
                  <c:v>4.8</c:v>
                </c:pt>
                <c:pt idx="4691">
                  <c:v>1.8</c:v>
                </c:pt>
                <c:pt idx="4692">
                  <c:v>3.01</c:v>
                </c:pt>
                <c:pt idx="4693">
                  <c:v>4.21</c:v>
                </c:pt>
                <c:pt idx="4694">
                  <c:v>4.21</c:v>
                </c:pt>
                <c:pt idx="4695">
                  <c:v>3.61</c:v>
                </c:pt>
                <c:pt idx="4696">
                  <c:v>4.8</c:v>
                </c:pt>
                <c:pt idx="4697">
                  <c:v>4.8</c:v>
                </c:pt>
                <c:pt idx="4698">
                  <c:v>5.4</c:v>
                </c:pt>
                <c:pt idx="4699">
                  <c:v>5.4</c:v>
                </c:pt>
                <c:pt idx="4700">
                  <c:v>4.21</c:v>
                </c:pt>
                <c:pt idx="4701">
                  <c:v>4.21</c:v>
                </c:pt>
                <c:pt idx="4702">
                  <c:v>5.4</c:v>
                </c:pt>
                <c:pt idx="4703">
                  <c:v>5.4</c:v>
                </c:pt>
                <c:pt idx="4704">
                  <c:v>4.21</c:v>
                </c:pt>
                <c:pt idx="4705">
                  <c:v>4.8</c:v>
                </c:pt>
                <c:pt idx="4706">
                  <c:v>3.61</c:v>
                </c:pt>
                <c:pt idx="4707">
                  <c:v>4.8</c:v>
                </c:pt>
                <c:pt idx="4708">
                  <c:v>4.8</c:v>
                </c:pt>
                <c:pt idx="4709">
                  <c:v>3.61</c:v>
                </c:pt>
                <c:pt idx="4710">
                  <c:v>4.8</c:v>
                </c:pt>
                <c:pt idx="4711">
                  <c:v>4.8</c:v>
                </c:pt>
                <c:pt idx="4712">
                  <c:v>3.61</c:v>
                </c:pt>
                <c:pt idx="4713">
                  <c:v>3.01</c:v>
                </c:pt>
                <c:pt idx="4714">
                  <c:v>3.01</c:v>
                </c:pt>
                <c:pt idx="4715">
                  <c:v>2.4</c:v>
                </c:pt>
                <c:pt idx="4716">
                  <c:v>6.01</c:v>
                </c:pt>
                <c:pt idx="4717">
                  <c:v>4.8</c:v>
                </c:pt>
                <c:pt idx="4718">
                  <c:v>3.01</c:v>
                </c:pt>
                <c:pt idx="4719">
                  <c:v>3.61</c:v>
                </c:pt>
                <c:pt idx="4720">
                  <c:v>5.4</c:v>
                </c:pt>
                <c:pt idx="4721">
                  <c:v>4.8</c:v>
                </c:pt>
                <c:pt idx="4722">
                  <c:v>3.01</c:v>
                </c:pt>
                <c:pt idx="4723">
                  <c:v>3.61</c:v>
                </c:pt>
                <c:pt idx="4724">
                  <c:v>6.01</c:v>
                </c:pt>
                <c:pt idx="4725">
                  <c:v>4.8</c:v>
                </c:pt>
                <c:pt idx="4726">
                  <c:v>3.01</c:v>
                </c:pt>
                <c:pt idx="4727">
                  <c:v>4.8</c:v>
                </c:pt>
                <c:pt idx="4728">
                  <c:v>3.01</c:v>
                </c:pt>
                <c:pt idx="4729">
                  <c:v>1.8</c:v>
                </c:pt>
                <c:pt idx="4730">
                  <c:v>3.61</c:v>
                </c:pt>
                <c:pt idx="4731">
                  <c:v>6.01</c:v>
                </c:pt>
                <c:pt idx="4732">
                  <c:v>5.4</c:v>
                </c:pt>
                <c:pt idx="4733">
                  <c:v>4.21</c:v>
                </c:pt>
                <c:pt idx="4734">
                  <c:v>4.8</c:v>
                </c:pt>
                <c:pt idx="4735">
                  <c:v>5.4</c:v>
                </c:pt>
                <c:pt idx="4736">
                  <c:v>4.21</c:v>
                </c:pt>
                <c:pt idx="4737">
                  <c:v>4.8</c:v>
                </c:pt>
                <c:pt idx="4738">
                  <c:v>4.8</c:v>
                </c:pt>
                <c:pt idx="4739">
                  <c:v>3.61</c:v>
                </c:pt>
                <c:pt idx="4740">
                  <c:v>4.8</c:v>
                </c:pt>
                <c:pt idx="4741">
                  <c:v>4.21</c:v>
                </c:pt>
                <c:pt idx="4742">
                  <c:v>6.01</c:v>
                </c:pt>
                <c:pt idx="4743">
                  <c:v>3.01</c:v>
                </c:pt>
                <c:pt idx="4744">
                  <c:v>4.21</c:v>
                </c:pt>
                <c:pt idx="4745">
                  <c:v>3.61</c:v>
                </c:pt>
                <c:pt idx="4746">
                  <c:v>5.4</c:v>
                </c:pt>
                <c:pt idx="4747">
                  <c:v>4.8</c:v>
                </c:pt>
                <c:pt idx="4748">
                  <c:v>6.01</c:v>
                </c:pt>
                <c:pt idx="4749">
                  <c:v>4.21</c:v>
                </c:pt>
                <c:pt idx="4750">
                  <c:v>6.61</c:v>
                </c:pt>
                <c:pt idx="4751">
                  <c:v>3.01</c:v>
                </c:pt>
                <c:pt idx="4752">
                  <c:v>4.21</c:v>
                </c:pt>
                <c:pt idx="4753">
                  <c:v>2.4</c:v>
                </c:pt>
                <c:pt idx="4754">
                  <c:v>6.61</c:v>
                </c:pt>
                <c:pt idx="4755">
                  <c:v>5.4</c:v>
                </c:pt>
                <c:pt idx="4756">
                  <c:v>5.4</c:v>
                </c:pt>
                <c:pt idx="4757">
                  <c:v>4.21</c:v>
                </c:pt>
                <c:pt idx="4758">
                  <c:v>3.61</c:v>
                </c:pt>
                <c:pt idx="4759">
                  <c:v>3.61</c:v>
                </c:pt>
                <c:pt idx="4760">
                  <c:v>6.01</c:v>
                </c:pt>
                <c:pt idx="4761">
                  <c:v>3.01</c:v>
                </c:pt>
                <c:pt idx="4762">
                  <c:v>4.21</c:v>
                </c:pt>
                <c:pt idx="4763">
                  <c:v>5.4</c:v>
                </c:pt>
                <c:pt idx="4764">
                  <c:v>4.8</c:v>
                </c:pt>
                <c:pt idx="4765">
                  <c:v>6.01</c:v>
                </c:pt>
                <c:pt idx="4766">
                  <c:v>6.01</c:v>
                </c:pt>
                <c:pt idx="4767">
                  <c:v>5.4</c:v>
                </c:pt>
                <c:pt idx="4768">
                  <c:v>5.4</c:v>
                </c:pt>
                <c:pt idx="4769">
                  <c:v>4.21</c:v>
                </c:pt>
                <c:pt idx="4770">
                  <c:v>3.61</c:v>
                </c:pt>
                <c:pt idx="4771">
                  <c:v>3.01</c:v>
                </c:pt>
                <c:pt idx="4772">
                  <c:v>3.61</c:v>
                </c:pt>
                <c:pt idx="4773">
                  <c:v>4.21</c:v>
                </c:pt>
                <c:pt idx="4774">
                  <c:v>4.21</c:v>
                </c:pt>
                <c:pt idx="4775">
                  <c:v>5.4</c:v>
                </c:pt>
                <c:pt idx="4776">
                  <c:v>3.01</c:v>
                </c:pt>
                <c:pt idx="4777">
                  <c:v>4.21</c:v>
                </c:pt>
                <c:pt idx="4778">
                  <c:v>4.8</c:v>
                </c:pt>
                <c:pt idx="4779">
                  <c:v>4.8</c:v>
                </c:pt>
                <c:pt idx="4780">
                  <c:v>5.4</c:v>
                </c:pt>
                <c:pt idx="4781">
                  <c:v>2.4</c:v>
                </c:pt>
                <c:pt idx="4782">
                  <c:v>4.21</c:v>
                </c:pt>
                <c:pt idx="4783">
                  <c:v>6.01</c:v>
                </c:pt>
                <c:pt idx="4784">
                  <c:v>2.4</c:v>
                </c:pt>
                <c:pt idx="4785">
                  <c:v>2.4</c:v>
                </c:pt>
                <c:pt idx="4786">
                  <c:v>4.21</c:v>
                </c:pt>
                <c:pt idx="4787">
                  <c:v>4.21</c:v>
                </c:pt>
                <c:pt idx="4788">
                  <c:v>6.01</c:v>
                </c:pt>
                <c:pt idx="4789">
                  <c:v>3.01</c:v>
                </c:pt>
                <c:pt idx="4790">
                  <c:v>5.4</c:v>
                </c:pt>
                <c:pt idx="4791">
                  <c:v>4.8</c:v>
                </c:pt>
                <c:pt idx="4792">
                  <c:v>1.21</c:v>
                </c:pt>
                <c:pt idx="4793">
                  <c:v>4.8</c:v>
                </c:pt>
                <c:pt idx="4794">
                  <c:v>6.01</c:v>
                </c:pt>
                <c:pt idx="4795">
                  <c:v>4.8</c:v>
                </c:pt>
                <c:pt idx="4796">
                  <c:v>3.61</c:v>
                </c:pt>
                <c:pt idx="4797">
                  <c:v>4.8</c:v>
                </c:pt>
                <c:pt idx="4798">
                  <c:v>0.01</c:v>
                </c:pt>
                <c:pt idx="4799">
                  <c:v>4.21</c:v>
                </c:pt>
                <c:pt idx="4800">
                  <c:v>6.01</c:v>
                </c:pt>
                <c:pt idx="4801">
                  <c:v>4.21</c:v>
                </c:pt>
                <c:pt idx="4802">
                  <c:v>6.01</c:v>
                </c:pt>
                <c:pt idx="4803">
                  <c:v>5.4</c:v>
                </c:pt>
                <c:pt idx="4804">
                  <c:v>6.01</c:v>
                </c:pt>
                <c:pt idx="4805">
                  <c:v>2.4</c:v>
                </c:pt>
                <c:pt idx="4806">
                  <c:v>4.8</c:v>
                </c:pt>
                <c:pt idx="4807">
                  <c:v>5.4</c:v>
                </c:pt>
                <c:pt idx="4808">
                  <c:v>4.21</c:v>
                </c:pt>
                <c:pt idx="4809">
                  <c:v>4.8</c:v>
                </c:pt>
                <c:pt idx="4810">
                  <c:v>4.8</c:v>
                </c:pt>
                <c:pt idx="4811">
                  <c:v>2.4</c:v>
                </c:pt>
                <c:pt idx="4812">
                  <c:v>4.21</c:v>
                </c:pt>
                <c:pt idx="4813">
                  <c:v>4.21</c:v>
                </c:pt>
                <c:pt idx="4814">
                  <c:v>4.21</c:v>
                </c:pt>
                <c:pt idx="4815">
                  <c:v>5.4</c:v>
                </c:pt>
                <c:pt idx="4816">
                  <c:v>5.4</c:v>
                </c:pt>
                <c:pt idx="4817">
                  <c:v>3.01</c:v>
                </c:pt>
                <c:pt idx="4818">
                  <c:v>6.01</c:v>
                </c:pt>
                <c:pt idx="4819">
                  <c:v>3.61</c:v>
                </c:pt>
                <c:pt idx="4820">
                  <c:v>4.21</c:v>
                </c:pt>
                <c:pt idx="4821">
                  <c:v>6.01</c:v>
                </c:pt>
                <c:pt idx="4822">
                  <c:v>3.61</c:v>
                </c:pt>
                <c:pt idx="4823">
                  <c:v>3.61</c:v>
                </c:pt>
                <c:pt idx="4824">
                  <c:v>3.61</c:v>
                </c:pt>
                <c:pt idx="4825">
                  <c:v>3.61</c:v>
                </c:pt>
                <c:pt idx="4826">
                  <c:v>6.01</c:v>
                </c:pt>
                <c:pt idx="4827">
                  <c:v>4.8</c:v>
                </c:pt>
                <c:pt idx="4828">
                  <c:v>4.21</c:v>
                </c:pt>
                <c:pt idx="4829">
                  <c:v>4.21</c:v>
                </c:pt>
                <c:pt idx="4830">
                  <c:v>4.21</c:v>
                </c:pt>
                <c:pt idx="4831">
                  <c:v>2.4</c:v>
                </c:pt>
                <c:pt idx="4832">
                  <c:v>6.01</c:v>
                </c:pt>
                <c:pt idx="4833">
                  <c:v>3.61</c:v>
                </c:pt>
                <c:pt idx="4834">
                  <c:v>4.8</c:v>
                </c:pt>
                <c:pt idx="4835">
                  <c:v>5.4</c:v>
                </c:pt>
                <c:pt idx="4836">
                  <c:v>5.4</c:v>
                </c:pt>
                <c:pt idx="4837">
                  <c:v>4.8</c:v>
                </c:pt>
                <c:pt idx="4838">
                  <c:v>4.21</c:v>
                </c:pt>
                <c:pt idx="4839">
                  <c:v>2.4</c:v>
                </c:pt>
                <c:pt idx="4840">
                  <c:v>3.61</c:v>
                </c:pt>
                <c:pt idx="4841">
                  <c:v>3.61</c:v>
                </c:pt>
                <c:pt idx="4842">
                  <c:v>3.01</c:v>
                </c:pt>
                <c:pt idx="4843">
                  <c:v>4.8</c:v>
                </c:pt>
                <c:pt idx="4844">
                  <c:v>6.01</c:v>
                </c:pt>
                <c:pt idx="4845">
                  <c:v>5.4</c:v>
                </c:pt>
                <c:pt idx="4846">
                  <c:v>4.8</c:v>
                </c:pt>
                <c:pt idx="4847">
                  <c:v>2.4</c:v>
                </c:pt>
                <c:pt idx="4848">
                  <c:v>1.8</c:v>
                </c:pt>
                <c:pt idx="4849">
                  <c:v>4.21</c:v>
                </c:pt>
                <c:pt idx="4850">
                  <c:v>5.4</c:v>
                </c:pt>
                <c:pt idx="4851">
                  <c:v>6.61</c:v>
                </c:pt>
                <c:pt idx="4852">
                  <c:v>4.21</c:v>
                </c:pt>
                <c:pt idx="4853">
                  <c:v>4.8</c:v>
                </c:pt>
                <c:pt idx="4854">
                  <c:v>3.61</c:v>
                </c:pt>
                <c:pt idx="4855">
                  <c:v>3.61</c:v>
                </c:pt>
                <c:pt idx="4856">
                  <c:v>2.4</c:v>
                </c:pt>
                <c:pt idx="4857">
                  <c:v>3.01</c:v>
                </c:pt>
                <c:pt idx="4858">
                  <c:v>4.21</c:v>
                </c:pt>
                <c:pt idx="4859">
                  <c:v>6.01</c:v>
                </c:pt>
                <c:pt idx="4860">
                  <c:v>3.61</c:v>
                </c:pt>
                <c:pt idx="4861">
                  <c:v>4.21</c:v>
                </c:pt>
                <c:pt idx="4862">
                  <c:v>6.01</c:v>
                </c:pt>
                <c:pt idx="4863">
                  <c:v>5.4</c:v>
                </c:pt>
                <c:pt idx="4864">
                  <c:v>5.4</c:v>
                </c:pt>
                <c:pt idx="4865">
                  <c:v>2.4</c:v>
                </c:pt>
                <c:pt idx="4866">
                  <c:v>5.4</c:v>
                </c:pt>
                <c:pt idx="4867">
                  <c:v>3.61</c:v>
                </c:pt>
                <c:pt idx="4868">
                  <c:v>3.61</c:v>
                </c:pt>
                <c:pt idx="4869">
                  <c:v>1.8</c:v>
                </c:pt>
                <c:pt idx="4870">
                  <c:v>4.8</c:v>
                </c:pt>
                <c:pt idx="4871">
                  <c:v>5.4</c:v>
                </c:pt>
                <c:pt idx="4872">
                  <c:v>3.61</c:v>
                </c:pt>
                <c:pt idx="4873">
                  <c:v>4.8</c:v>
                </c:pt>
                <c:pt idx="4874">
                  <c:v>5.4</c:v>
                </c:pt>
                <c:pt idx="4875">
                  <c:v>4.21</c:v>
                </c:pt>
                <c:pt idx="4876">
                  <c:v>3.61</c:v>
                </c:pt>
                <c:pt idx="4877">
                  <c:v>3.01</c:v>
                </c:pt>
                <c:pt idx="4878">
                  <c:v>6.01</c:v>
                </c:pt>
                <c:pt idx="4879">
                  <c:v>4.21</c:v>
                </c:pt>
                <c:pt idx="4880">
                  <c:v>4.8</c:v>
                </c:pt>
                <c:pt idx="4881">
                  <c:v>5.4</c:v>
                </c:pt>
                <c:pt idx="4882">
                  <c:v>3.01</c:v>
                </c:pt>
                <c:pt idx="4883">
                  <c:v>4.21</c:v>
                </c:pt>
                <c:pt idx="4884">
                  <c:v>3.61</c:v>
                </c:pt>
                <c:pt idx="4885">
                  <c:v>3.61</c:v>
                </c:pt>
                <c:pt idx="4886">
                  <c:v>2.4</c:v>
                </c:pt>
                <c:pt idx="4887">
                  <c:v>4.21</c:v>
                </c:pt>
                <c:pt idx="4888">
                  <c:v>4.21</c:v>
                </c:pt>
                <c:pt idx="4889">
                  <c:v>4.21</c:v>
                </c:pt>
                <c:pt idx="4890">
                  <c:v>6.01</c:v>
                </c:pt>
                <c:pt idx="4891">
                  <c:v>6.61</c:v>
                </c:pt>
                <c:pt idx="4892">
                  <c:v>3.61</c:v>
                </c:pt>
                <c:pt idx="4893">
                  <c:v>4.8</c:v>
                </c:pt>
                <c:pt idx="4894">
                  <c:v>5.4</c:v>
                </c:pt>
                <c:pt idx="4895">
                  <c:v>5.4</c:v>
                </c:pt>
                <c:pt idx="4896">
                  <c:v>4.8</c:v>
                </c:pt>
                <c:pt idx="4897">
                  <c:v>4.21</c:v>
                </c:pt>
                <c:pt idx="4898">
                  <c:v>4.8</c:v>
                </c:pt>
                <c:pt idx="4899">
                  <c:v>4.8</c:v>
                </c:pt>
                <c:pt idx="4900">
                  <c:v>5.4</c:v>
                </c:pt>
                <c:pt idx="4901">
                  <c:v>4.21</c:v>
                </c:pt>
                <c:pt idx="4902">
                  <c:v>5.4</c:v>
                </c:pt>
                <c:pt idx="4903">
                  <c:v>3.01</c:v>
                </c:pt>
                <c:pt idx="4904">
                  <c:v>4.8</c:v>
                </c:pt>
                <c:pt idx="4905">
                  <c:v>3.61</c:v>
                </c:pt>
                <c:pt idx="4906">
                  <c:v>3.01</c:v>
                </c:pt>
                <c:pt idx="4907">
                  <c:v>5.4</c:v>
                </c:pt>
                <c:pt idx="4908">
                  <c:v>4.21</c:v>
                </c:pt>
                <c:pt idx="4909">
                  <c:v>2.4</c:v>
                </c:pt>
                <c:pt idx="4910">
                  <c:v>4.8</c:v>
                </c:pt>
                <c:pt idx="4911">
                  <c:v>6.01</c:v>
                </c:pt>
                <c:pt idx="4912">
                  <c:v>4.21</c:v>
                </c:pt>
                <c:pt idx="4913">
                  <c:v>5.4</c:v>
                </c:pt>
                <c:pt idx="4914">
                  <c:v>4.8</c:v>
                </c:pt>
                <c:pt idx="4915">
                  <c:v>3.01</c:v>
                </c:pt>
                <c:pt idx="4916">
                  <c:v>3.61</c:v>
                </c:pt>
                <c:pt idx="4917">
                  <c:v>6.61</c:v>
                </c:pt>
                <c:pt idx="4918">
                  <c:v>3.61</c:v>
                </c:pt>
                <c:pt idx="4919">
                  <c:v>2.4</c:v>
                </c:pt>
                <c:pt idx="4920">
                  <c:v>5.4</c:v>
                </c:pt>
                <c:pt idx="4921">
                  <c:v>3.61</c:v>
                </c:pt>
                <c:pt idx="4922">
                  <c:v>4.8</c:v>
                </c:pt>
                <c:pt idx="4923">
                  <c:v>6.01</c:v>
                </c:pt>
                <c:pt idx="4924">
                  <c:v>4.8</c:v>
                </c:pt>
                <c:pt idx="4925">
                  <c:v>5.4</c:v>
                </c:pt>
                <c:pt idx="4926">
                  <c:v>4.21</c:v>
                </c:pt>
                <c:pt idx="4927">
                  <c:v>5.4</c:v>
                </c:pt>
                <c:pt idx="4928">
                  <c:v>5.4</c:v>
                </c:pt>
                <c:pt idx="4929">
                  <c:v>5.4</c:v>
                </c:pt>
                <c:pt idx="4930">
                  <c:v>5.4</c:v>
                </c:pt>
                <c:pt idx="4931">
                  <c:v>4.8</c:v>
                </c:pt>
                <c:pt idx="4932">
                  <c:v>3.61</c:v>
                </c:pt>
                <c:pt idx="4933">
                  <c:v>4.21</c:v>
                </c:pt>
                <c:pt idx="4934">
                  <c:v>3.61</c:v>
                </c:pt>
                <c:pt idx="4935">
                  <c:v>4.21</c:v>
                </c:pt>
                <c:pt idx="4936">
                  <c:v>4.21</c:v>
                </c:pt>
                <c:pt idx="4937">
                  <c:v>5.4</c:v>
                </c:pt>
                <c:pt idx="4938">
                  <c:v>4.8</c:v>
                </c:pt>
                <c:pt idx="4939">
                  <c:v>5.4</c:v>
                </c:pt>
                <c:pt idx="4940">
                  <c:v>4.21</c:v>
                </c:pt>
                <c:pt idx="4941">
                  <c:v>3.01</c:v>
                </c:pt>
                <c:pt idx="4942">
                  <c:v>7.21</c:v>
                </c:pt>
                <c:pt idx="4943">
                  <c:v>3.61</c:v>
                </c:pt>
                <c:pt idx="4944">
                  <c:v>5.4</c:v>
                </c:pt>
                <c:pt idx="4945">
                  <c:v>4.8</c:v>
                </c:pt>
                <c:pt idx="4946">
                  <c:v>6.01</c:v>
                </c:pt>
                <c:pt idx="4947">
                  <c:v>4.21</c:v>
                </c:pt>
                <c:pt idx="4948">
                  <c:v>4.8</c:v>
                </c:pt>
                <c:pt idx="4949">
                  <c:v>4.8</c:v>
                </c:pt>
                <c:pt idx="4950">
                  <c:v>5.4</c:v>
                </c:pt>
                <c:pt idx="4951">
                  <c:v>4.8</c:v>
                </c:pt>
                <c:pt idx="4952">
                  <c:v>3.61</c:v>
                </c:pt>
                <c:pt idx="4953">
                  <c:v>4.21</c:v>
                </c:pt>
                <c:pt idx="4954">
                  <c:v>4.8</c:v>
                </c:pt>
                <c:pt idx="4955">
                  <c:v>3.61</c:v>
                </c:pt>
                <c:pt idx="4956">
                  <c:v>3.01</c:v>
                </c:pt>
                <c:pt idx="4957">
                  <c:v>4.8</c:v>
                </c:pt>
                <c:pt idx="4958">
                  <c:v>3.01</c:v>
                </c:pt>
                <c:pt idx="4959">
                  <c:v>4.8</c:v>
                </c:pt>
                <c:pt idx="4960">
                  <c:v>4.21</c:v>
                </c:pt>
                <c:pt idx="4961">
                  <c:v>2.4</c:v>
                </c:pt>
                <c:pt idx="4962">
                  <c:v>1.8</c:v>
                </c:pt>
                <c:pt idx="4963">
                  <c:v>3.01</c:v>
                </c:pt>
                <c:pt idx="4964">
                  <c:v>4.8</c:v>
                </c:pt>
                <c:pt idx="4965">
                  <c:v>4.21</c:v>
                </c:pt>
                <c:pt idx="4966">
                  <c:v>4.21</c:v>
                </c:pt>
                <c:pt idx="4967">
                  <c:v>4.21</c:v>
                </c:pt>
                <c:pt idx="4968">
                  <c:v>3.61</c:v>
                </c:pt>
                <c:pt idx="4969">
                  <c:v>4.8</c:v>
                </c:pt>
                <c:pt idx="4970">
                  <c:v>6.01</c:v>
                </c:pt>
                <c:pt idx="4971">
                  <c:v>4.21</c:v>
                </c:pt>
                <c:pt idx="4972">
                  <c:v>4.21</c:v>
                </c:pt>
                <c:pt idx="4973">
                  <c:v>4.21</c:v>
                </c:pt>
                <c:pt idx="4974">
                  <c:v>4.8</c:v>
                </c:pt>
                <c:pt idx="4975">
                  <c:v>4.8</c:v>
                </c:pt>
                <c:pt idx="4976">
                  <c:v>6.61</c:v>
                </c:pt>
                <c:pt idx="4977">
                  <c:v>4.8</c:v>
                </c:pt>
                <c:pt idx="4978">
                  <c:v>5.4</c:v>
                </c:pt>
                <c:pt idx="4979">
                  <c:v>4.8</c:v>
                </c:pt>
                <c:pt idx="4980">
                  <c:v>4.8</c:v>
                </c:pt>
                <c:pt idx="4981">
                  <c:v>4.8</c:v>
                </c:pt>
                <c:pt idx="4982">
                  <c:v>5.4</c:v>
                </c:pt>
                <c:pt idx="4983">
                  <c:v>5.4</c:v>
                </c:pt>
                <c:pt idx="4984">
                  <c:v>6.01</c:v>
                </c:pt>
                <c:pt idx="4985">
                  <c:v>4.21</c:v>
                </c:pt>
                <c:pt idx="4986">
                  <c:v>3.61</c:v>
                </c:pt>
                <c:pt idx="4987">
                  <c:v>5.4</c:v>
                </c:pt>
                <c:pt idx="4988">
                  <c:v>4.8</c:v>
                </c:pt>
                <c:pt idx="4989">
                  <c:v>4.21</c:v>
                </c:pt>
                <c:pt idx="4990">
                  <c:v>6.61</c:v>
                </c:pt>
                <c:pt idx="4991">
                  <c:v>4.21</c:v>
                </c:pt>
                <c:pt idx="4992">
                  <c:v>4.8</c:v>
                </c:pt>
                <c:pt idx="4993">
                  <c:v>6.61</c:v>
                </c:pt>
                <c:pt idx="4994">
                  <c:v>5.4</c:v>
                </c:pt>
                <c:pt idx="4995">
                  <c:v>3.61</c:v>
                </c:pt>
                <c:pt idx="4996">
                  <c:v>6.01</c:v>
                </c:pt>
                <c:pt idx="4997">
                  <c:v>3.61</c:v>
                </c:pt>
                <c:pt idx="4998">
                  <c:v>7.21</c:v>
                </c:pt>
                <c:pt idx="4999">
                  <c:v>5.4</c:v>
                </c:pt>
              </c:numCache>
            </c:numRef>
          </c:yVal>
          <c:smooth val="1"/>
          <c:extLst>
            <c:ext xmlns:c16="http://schemas.microsoft.com/office/drawing/2014/chart" uri="{C3380CC4-5D6E-409C-BE32-E72D297353CC}">
              <c16:uniqueId val="{00000000-ADAB-43DA-B4FD-9B2CD11B1D63}"/>
            </c:ext>
          </c:extLst>
        </c:ser>
        <c:ser>
          <c:idx val="1"/>
          <c:order val="1"/>
          <c:tx>
            <c:strRef>
              <c:f>'4-Pin vs 3-Pin waveform'!$S$2</c:f>
              <c:strCache>
                <c:ptCount val="1"/>
                <c:pt idx="0">
                  <c:v>IKZA40N120CH7 - U [V]</c:v>
                </c:pt>
              </c:strCache>
            </c:strRef>
          </c:tx>
          <c:spPr>
            <a:ln w="19050" cap="rnd">
              <a:solidFill>
                <a:srgbClr val="0A8276"/>
              </a:solidFill>
              <a:round/>
            </a:ln>
            <a:effectLst/>
          </c:spPr>
          <c:marker>
            <c:symbol val="none"/>
          </c:marker>
          <c:xVal>
            <c:numRef>
              <c:f>'4-Pin vs 3-Pin waveform'!$A$3:$A$5002</c:f>
              <c:numCache>
                <c:formatCode>General</c:formatCode>
                <c:ptCount val="5000"/>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8.9999999999999993E-3</c:v>
                </c:pt>
                <c:pt idx="10">
                  <c:v>0.01</c:v>
                </c:pt>
                <c:pt idx="11">
                  <c:v>1.0999999999999999E-2</c:v>
                </c:pt>
                <c:pt idx="12">
                  <c:v>1.2E-2</c:v>
                </c:pt>
                <c:pt idx="13">
                  <c:v>1.2999999999999999E-2</c:v>
                </c:pt>
                <c:pt idx="14">
                  <c:v>1.4E-2</c:v>
                </c:pt>
                <c:pt idx="15">
                  <c:v>1.4999999999999999E-2</c:v>
                </c:pt>
                <c:pt idx="16">
                  <c:v>1.6E-2</c:v>
                </c:pt>
                <c:pt idx="17">
                  <c:v>1.7000000000000001E-2</c:v>
                </c:pt>
                <c:pt idx="18">
                  <c:v>1.7999999999999999E-2</c:v>
                </c:pt>
                <c:pt idx="19">
                  <c:v>1.9E-2</c:v>
                </c:pt>
                <c:pt idx="20">
                  <c:v>0.02</c:v>
                </c:pt>
                <c:pt idx="21">
                  <c:v>2.1000000000000001E-2</c:v>
                </c:pt>
                <c:pt idx="22">
                  <c:v>2.1999999999999999E-2</c:v>
                </c:pt>
                <c:pt idx="23">
                  <c:v>2.3E-2</c:v>
                </c:pt>
                <c:pt idx="24">
                  <c:v>2.4E-2</c:v>
                </c:pt>
                <c:pt idx="25">
                  <c:v>2.5000000000000001E-2</c:v>
                </c:pt>
                <c:pt idx="26">
                  <c:v>2.5999999999999999E-2</c:v>
                </c:pt>
                <c:pt idx="27">
                  <c:v>2.7E-2</c:v>
                </c:pt>
                <c:pt idx="28">
                  <c:v>2.8000000000000001E-2</c:v>
                </c:pt>
                <c:pt idx="29">
                  <c:v>2.9000000000000001E-2</c:v>
                </c:pt>
                <c:pt idx="30">
                  <c:v>0.03</c:v>
                </c:pt>
                <c:pt idx="31">
                  <c:v>3.1E-2</c:v>
                </c:pt>
                <c:pt idx="32">
                  <c:v>3.2000000000000001E-2</c:v>
                </c:pt>
                <c:pt idx="33">
                  <c:v>3.3000000000000002E-2</c:v>
                </c:pt>
                <c:pt idx="34">
                  <c:v>3.4000000000000002E-2</c:v>
                </c:pt>
                <c:pt idx="35">
                  <c:v>3.5000000000000003E-2</c:v>
                </c:pt>
                <c:pt idx="36">
                  <c:v>3.5999999999999997E-2</c:v>
                </c:pt>
                <c:pt idx="37">
                  <c:v>3.6999999999999998E-2</c:v>
                </c:pt>
                <c:pt idx="38">
                  <c:v>3.7999999999999999E-2</c:v>
                </c:pt>
                <c:pt idx="39">
                  <c:v>3.9E-2</c:v>
                </c:pt>
                <c:pt idx="40">
                  <c:v>0.04</c:v>
                </c:pt>
                <c:pt idx="41">
                  <c:v>4.1000000000000002E-2</c:v>
                </c:pt>
                <c:pt idx="42">
                  <c:v>4.2000000000000003E-2</c:v>
                </c:pt>
                <c:pt idx="43">
                  <c:v>4.2999999999999997E-2</c:v>
                </c:pt>
                <c:pt idx="44">
                  <c:v>4.3999999999999997E-2</c:v>
                </c:pt>
                <c:pt idx="45">
                  <c:v>4.4999999999999998E-2</c:v>
                </c:pt>
                <c:pt idx="46">
                  <c:v>4.5999999999999999E-2</c:v>
                </c:pt>
                <c:pt idx="47">
                  <c:v>4.7E-2</c:v>
                </c:pt>
                <c:pt idx="48">
                  <c:v>4.8000000000000001E-2</c:v>
                </c:pt>
                <c:pt idx="49">
                  <c:v>4.9000000000000002E-2</c:v>
                </c:pt>
                <c:pt idx="50">
                  <c:v>0.05</c:v>
                </c:pt>
                <c:pt idx="51">
                  <c:v>5.0999999999999997E-2</c:v>
                </c:pt>
                <c:pt idx="52">
                  <c:v>5.1999999999999998E-2</c:v>
                </c:pt>
                <c:pt idx="53">
                  <c:v>5.2999999999999999E-2</c:v>
                </c:pt>
                <c:pt idx="54">
                  <c:v>5.3999999999999999E-2</c:v>
                </c:pt>
                <c:pt idx="55">
                  <c:v>5.5E-2</c:v>
                </c:pt>
                <c:pt idx="56">
                  <c:v>5.6000000000000001E-2</c:v>
                </c:pt>
                <c:pt idx="57">
                  <c:v>5.7000000000000002E-2</c:v>
                </c:pt>
                <c:pt idx="58">
                  <c:v>5.8000000000000003E-2</c:v>
                </c:pt>
                <c:pt idx="59">
                  <c:v>5.8999999999999997E-2</c:v>
                </c:pt>
                <c:pt idx="60">
                  <c:v>0.06</c:v>
                </c:pt>
                <c:pt idx="61">
                  <c:v>6.0999999999999999E-2</c:v>
                </c:pt>
                <c:pt idx="62">
                  <c:v>6.2E-2</c:v>
                </c:pt>
                <c:pt idx="63">
                  <c:v>6.3E-2</c:v>
                </c:pt>
                <c:pt idx="64">
                  <c:v>6.4000000000000001E-2</c:v>
                </c:pt>
                <c:pt idx="65">
                  <c:v>6.5000000000000002E-2</c:v>
                </c:pt>
                <c:pt idx="66">
                  <c:v>6.6000000000000003E-2</c:v>
                </c:pt>
                <c:pt idx="67">
                  <c:v>6.7000000000000004E-2</c:v>
                </c:pt>
                <c:pt idx="68">
                  <c:v>6.8000000000000005E-2</c:v>
                </c:pt>
                <c:pt idx="69">
                  <c:v>6.9000000000000006E-2</c:v>
                </c:pt>
                <c:pt idx="70">
                  <c:v>7.0000000000000007E-2</c:v>
                </c:pt>
                <c:pt idx="71">
                  <c:v>7.0999999999999994E-2</c:v>
                </c:pt>
                <c:pt idx="72">
                  <c:v>7.1999999999999995E-2</c:v>
                </c:pt>
                <c:pt idx="73">
                  <c:v>7.2999999999999995E-2</c:v>
                </c:pt>
                <c:pt idx="74">
                  <c:v>7.3999999999999996E-2</c:v>
                </c:pt>
                <c:pt idx="75">
                  <c:v>7.4999999999999997E-2</c:v>
                </c:pt>
                <c:pt idx="76">
                  <c:v>7.5999999999999998E-2</c:v>
                </c:pt>
                <c:pt idx="77">
                  <c:v>7.6999999999999999E-2</c:v>
                </c:pt>
                <c:pt idx="78">
                  <c:v>7.8E-2</c:v>
                </c:pt>
                <c:pt idx="79">
                  <c:v>7.9000000000000001E-2</c:v>
                </c:pt>
                <c:pt idx="80">
                  <c:v>0.08</c:v>
                </c:pt>
                <c:pt idx="81">
                  <c:v>8.1000000000000003E-2</c:v>
                </c:pt>
                <c:pt idx="82">
                  <c:v>8.2000000000000003E-2</c:v>
                </c:pt>
                <c:pt idx="83">
                  <c:v>8.3000000000000004E-2</c:v>
                </c:pt>
                <c:pt idx="84">
                  <c:v>8.4000000000000005E-2</c:v>
                </c:pt>
                <c:pt idx="85">
                  <c:v>8.5000000000000006E-2</c:v>
                </c:pt>
                <c:pt idx="86">
                  <c:v>8.5999999999999993E-2</c:v>
                </c:pt>
                <c:pt idx="87">
                  <c:v>8.6999999999999994E-2</c:v>
                </c:pt>
                <c:pt idx="88">
                  <c:v>8.7999999999999995E-2</c:v>
                </c:pt>
                <c:pt idx="89">
                  <c:v>8.8999999999999996E-2</c:v>
                </c:pt>
                <c:pt idx="90">
                  <c:v>0.09</c:v>
                </c:pt>
                <c:pt idx="91">
                  <c:v>9.0999999999999998E-2</c:v>
                </c:pt>
                <c:pt idx="92">
                  <c:v>9.1999999999999998E-2</c:v>
                </c:pt>
                <c:pt idx="93">
                  <c:v>9.2999999999999999E-2</c:v>
                </c:pt>
                <c:pt idx="94">
                  <c:v>9.4E-2</c:v>
                </c:pt>
                <c:pt idx="95">
                  <c:v>9.5000000000000001E-2</c:v>
                </c:pt>
                <c:pt idx="96">
                  <c:v>9.6000000000000002E-2</c:v>
                </c:pt>
                <c:pt idx="97">
                  <c:v>9.7000000000000003E-2</c:v>
                </c:pt>
                <c:pt idx="98">
                  <c:v>9.8000000000000004E-2</c:v>
                </c:pt>
                <c:pt idx="99">
                  <c:v>9.9000000000000005E-2</c:v>
                </c:pt>
                <c:pt idx="100">
                  <c:v>0.1</c:v>
                </c:pt>
                <c:pt idx="101">
                  <c:v>0.10100000000000001</c:v>
                </c:pt>
                <c:pt idx="102">
                  <c:v>0.10199999999999999</c:v>
                </c:pt>
                <c:pt idx="103">
                  <c:v>0.10299999999999999</c:v>
                </c:pt>
                <c:pt idx="104">
                  <c:v>0.104</c:v>
                </c:pt>
                <c:pt idx="105">
                  <c:v>0.105</c:v>
                </c:pt>
                <c:pt idx="106">
                  <c:v>0.106</c:v>
                </c:pt>
                <c:pt idx="107">
                  <c:v>0.107</c:v>
                </c:pt>
                <c:pt idx="108">
                  <c:v>0.108</c:v>
                </c:pt>
                <c:pt idx="109">
                  <c:v>0.109</c:v>
                </c:pt>
                <c:pt idx="110">
                  <c:v>0.11</c:v>
                </c:pt>
                <c:pt idx="111">
                  <c:v>0.111</c:v>
                </c:pt>
                <c:pt idx="112">
                  <c:v>0.112</c:v>
                </c:pt>
                <c:pt idx="113">
                  <c:v>0.113</c:v>
                </c:pt>
                <c:pt idx="114">
                  <c:v>0.114</c:v>
                </c:pt>
                <c:pt idx="115">
                  <c:v>0.115</c:v>
                </c:pt>
                <c:pt idx="116">
                  <c:v>0.11600000000000001</c:v>
                </c:pt>
                <c:pt idx="117">
                  <c:v>0.11700000000000001</c:v>
                </c:pt>
                <c:pt idx="118">
                  <c:v>0.11799999999999999</c:v>
                </c:pt>
                <c:pt idx="119">
                  <c:v>0.11899999999999999</c:v>
                </c:pt>
                <c:pt idx="120">
                  <c:v>0.12</c:v>
                </c:pt>
                <c:pt idx="121">
                  <c:v>0.121</c:v>
                </c:pt>
                <c:pt idx="122">
                  <c:v>0.122</c:v>
                </c:pt>
                <c:pt idx="123">
                  <c:v>0.123</c:v>
                </c:pt>
                <c:pt idx="124">
                  <c:v>0.124</c:v>
                </c:pt>
                <c:pt idx="125">
                  <c:v>0.125</c:v>
                </c:pt>
                <c:pt idx="126">
                  <c:v>0.126</c:v>
                </c:pt>
                <c:pt idx="127">
                  <c:v>0.127</c:v>
                </c:pt>
                <c:pt idx="128">
                  <c:v>0.128</c:v>
                </c:pt>
                <c:pt idx="129">
                  <c:v>0.129</c:v>
                </c:pt>
                <c:pt idx="130">
                  <c:v>0.13</c:v>
                </c:pt>
                <c:pt idx="131">
                  <c:v>0.13100000000000001</c:v>
                </c:pt>
                <c:pt idx="132">
                  <c:v>0.13200000000000001</c:v>
                </c:pt>
                <c:pt idx="133">
                  <c:v>0.13300000000000001</c:v>
                </c:pt>
                <c:pt idx="134">
                  <c:v>0.13400000000000001</c:v>
                </c:pt>
                <c:pt idx="135">
                  <c:v>0.13500000000000001</c:v>
                </c:pt>
                <c:pt idx="136">
                  <c:v>0.13600000000000001</c:v>
                </c:pt>
                <c:pt idx="137">
                  <c:v>0.13700000000000001</c:v>
                </c:pt>
                <c:pt idx="138">
                  <c:v>0.13800000000000001</c:v>
                </c:pt>
                <c:pt idx="139">
                  <c:v>0.13900000000000001</c:v>
                </c:pt>
                <c:pt idx="140">
                  <c:v>0.14000000000000001</c:v>
                </c:pt>
                <c:pt idx="141">
                  <c:v>0.14099999999999999</c:v>
                </c:pt>
                <c:pt idx="142">
                  <c:v>0.14199999999999999</c:v>
                </c:pt>
                <c:pt idx="143">
                  <c:v>0.14299999999999999</c:v>
                </c:pt>
                <c:pt idx="144">
                  <c:v>0.14399999999999999</c:v>
                </c:pt>
                <c:pt idx="145">
                  <c:v>0.14499999999999999</c:v>
                </c:pt>
                <c:pt idx="146">
                  <c:v>0.14599999999999999</c:v>
                </c:pt>
                <c:pt idx="147">
                  <c:v>0.14699999999999999</c:v>
                </c:pt>
                <c:pt idx="148">
                  <c:v>0.14799999999999999</c:v>
                </c:pt>
                <c:pt idx="149">
                  <c:v>0.14899999999999999</c:v>
                </c:pt>
                <c:pt idx="150">
                  <c:v>0.15</c:v>
                </c:pt>
                <c:pt idx="151">
                  <c:v>0.151</c:v>
                </c:pt>
                <c:pt idx="152">
                  <c:v>0.152</c:v>
                </c:pt>
                <c:pt idx="153">
                  <c:v>0.153</c:v>
                </c:pt>
                <c:pt idx="154">
                  <c:v>0.154</c:v>
                </c:pt>
                <c:pt idx="155">
                  <c:v>0.155</c:v>
                </c:pt>
                <c:pt idx="156">
                  <c:v>0.156</c:v>
                </c:pt>
                <c:pt idx="157">
                  <c:v>0.157</c:v>
                </c:pt>
                <c:pt idx="158">
                  <c:v>0.158</c:v>
                </c:pt>
                <c:pt idx="159">
                  <c:v>0.159</c:v>
                </c:pt>
                <c:pt idx="160">
                  <c:v>0.16</c:v>
                </c:pt>
                <c:pt idx="161">
                  <c:v>0.161</c:v>
                </c:pt>
                <c:pt idx="162">
                  <c:v>0.16200000000000001</c:v>
                </c:pt>
                <c:pt idx="163">
                  <c:v>0.16300000000000001</c:v>
                </c:pt>
                <c:pt idx="164">
                  <c:v>0.16400000000000001</c:v>
                </c:pt>
                <c:pt idx="165">
                  <c:v>0.16500000000000001</c:v>
                </c:pt>
                <c:pt idx="166">
                  <c:v>0.16600000000000001</c:v>
                </c:pt>
                <c:pt idx="167">
                  <c:v>0.16700000000000001</c:v>
                </c:pt>
                <c:pt idx="168">
                  <c:v>0.16800000000000001</c:v>
                </c:pt>
                <c:pt idx="169">
                  <c:v>0.16900000000000001</c:v>
                </c:pt>
                <c:pt idx="170">
                  <c:v>0.17</c:v>
                </c:pt>
                <c:pt idx="171">
                  <c:v>0.17100000000000001</c:v>
                </c:pt>
                <c:pt idx="172">
                  <c:v>0.17199999999999999</c:v>
                </c:pt>
                <c:pt idx="173">
                  <c:v>0.17299999999999999</c:v>
                </c:pt>
                <c:pt idx="174">
                  <c:v>0.17399999999999999</c:v>
                </c:pt>
                <c:pt idx="175">
                  <c:v>0.17499999999999999</c:v>
                </c:pt>
                <c:pt idx="176">
                  <c:v>0.17599999999999999</c:v>
                </c:pt>
                <c:pt idx="177">
                  <c:v>0.17699999999999999</c:v>
                </c:pt>
                <c:pt idx="178">
                  <c:v>0.17799999999999999</c:v>
                </c:pt>
                <c:pt idx="179">
                  <c:v>0.17899999999999999</c:v>
                </c:pt>
                <c:pt idx="180">
                  <c:v>0.18</c:v>
                </c:pt>
                <c:pt idx="181">
                  <c:v>0.18099999999999999</c:v>
                </c:pt>
                <c:pt idx="182">
                  <c:v>0.182</c:v>
                </c:pt>
                <c:pt idx="183">
                  <c:v>0.183</c:v>
                </c:pt>
                <c:pt idx="184">
                  <c:v>0.184</c:v>
                </c:pt>
                <c:pt idx="185">
                  <c:v>0.185</c:v>
                </c:pt>
                <c:pt idx="186">
                  <c:v>0.186</c:v>
                </c:pt>
                <c:pt idx="187">
                  <c:v>0.187</c:v>
                </c:pt>
                <c:pt idx="188">
                  <c:v>0.188</c:v>
                </c:pt>
                <c:pt idx="189">
                  <c:v>0.189</c:v>
                </c:pt>
                <c:pt idx="190">
                  <c:v>0.19</c:v>
                </c:pt>
                <c:pt idx="191">
                  <c:v>0.191</c:v>
                </c:pt>
                <c:pt idx="192">
                  <c:v>0.192</c:v>
                </c:pt>
                <c:pt idx="193">
                  <c:v>0.193</c:v>
                </c:pt>
                <c:pt idx="194">
                  <c:v>0.19400000000000001</c:v>
                </c:pt>
                <c:pt idx="195">
                  <c:v>0.19500000000000001</c:v>
                </c:pt>
                <c:pt idx="196">
                  <c:v>0.19600000000000001</c:v>
                </c:pt>
                <c:pt idx="197">
                  <c:v>0.19700000000000001</c:v>
                </c:pt>
                <c:pt idx="198">
                  <c:v>0.19800000000000001</c:v>
                </c:pt>
                <c:pt idx="199">
                  <c:v>0.19900000000000001</c:v>
                </c:pt>
                <c:pt idx="200">
                  <c:v>0.2</c:v>
                </c:pt>
                <c:pt idx="201">
                  <c:v>0.20100000000000001</c:v>
                </c:pt>
                <c:pt idx="202">
                  <c:v>0.20200000000000001</c:v>
                </c:pt>
                <c:pt idx="203">
                  <c:v>0.20300000000000001</c:v>
                </c:pt>
                <c:pt idx="204">
                  <c:v>0.20399999999999999</c:v>
                </c:pt>
                <c:pt idx="205">
                  <c:v>0.20499999999999999</c:v>
                </c:pt>
                <c:pt idx="206">
                  <c:v>0.20599999999999999</c:v>
                </c:pt>
                <c:pt idx="207">
                  <c:v>0.20699999999999999</c:v>
                </c:pt>
                <c:pt idx="208">
                  <c:v>0.20799999999999999</c:v>
                </c:pt>
                <c:pt idx="209">
                  <c:v>0.20899999999999999</c:v>
                </c:pt>
                <c:pt idx="210">
                  <c:v>0.21</c:v>
                </c:pt>
                <c:pt idx="211">
                  <c:v>0.21099999999999999</c:v>
                </c:pt>
                <c:pt idx="212">
                  <c:v>0.21199999999999999</c:v>
                </c:pt>
                <c:pt idx="213">
                  <c:v>0.21299999999999999</c:v>
                </c:pt>
                <c:pt idx="214">
                  <c:v>0.214</c:v>
                </c:pt>
                <c:pt idx="215">
                  <c:v>0.215</c:v>
                </c:pt>
                <c:pt idx="216">
                  <c:v>0.216</c:v>
                </c:pt>
                <c:pt idx="217">
                  <c:v>0.217</c:v>
                </c:pt>
                <c:pt idx="218">
                  <c:v>0.218</c:v>
                </c:pt>
                <c:pt idx="219">
                  <c:v>0.219</c:v>
                </c:pt>
                <c:pt idx="220">
                  <c:v>0.22</c:v>
                </c:pt>
                <c:pt idx="221">
                  <c:v>0.221</c:v>
                </c:pt>
                <c:pt idx="222">
                  <c:v>0.222</c:v>
                </c:pt>
                <c:pt idx="223">
                  <c:v>0.223</c:v>
                </c:pt>
                <c:pt idx="224">
                  <c:v>0.224</c:v>
                </c:pt>
                <c:pt idx="225">
                  <c:v>0.22500000000000001</c:v>
                </c:pt>
                <c:pt idx="226">
                  <c:v>0.22600000000000001</c:v>
                </c:pt>
                <c:pt idx="227">
                  <c:v>0.22700000000000001</c:v>
                </c:pt>
                <c:pt idx="228">
                  <c:v>0.22800000000000001</c:v>
                </c:pt>
                <c:pt idx="229">
                  <c:v>0.22900000000000001</c:v>
                </c:pt>
                <c:pt idx="230">
                  <c:v>0.23</c:v>
                </c:pt>
                <c:pt idx="231">
                  <c:v>0.23100000000000001</c:v>
                </c:pt>
                <c:pt idx="232">
                  <c:v>0.23200000000000001</c:v>
                </c:pt>
                <c:pt idx="233">
                  <c:v>0.23300000000000001</c:v>
                </c:pt>
                <c:pt idx="234">
                  <c:v>0.23400000000000001</c:v>
                </c:pt>
                <c:pt idx="235">
                  <c:v>0.23499999999999999</c:v>
                </c:pt>
                <c:pt idx="236">
                  <c:v>0.23599999999999999</c:v>
                </c:pt>
                <c:pt idx="237">
                  <c:v>0.23699999999999999</c:v>
                </c:pt>
                <c:pt idx="238">
                  <c:v>0.23799999999999999</c:v>
                </c:pt>
                <c:pt idx="239">
                  <c:v>0.23899999999999999</c:v>
                </c:pt>
                <c:pt idx="240">
                  <c:v>0.24</c:v>
                </c:pt>
                <c:pt idx="241">
                  <c:v>0.24099999999999999</c:v>
                </c:pt>
                <c:pt idx="242">
                  <c:v>0.24199999999999999</c:v>
                </c:pt>
                <c:pt idx="243">
                  <c:v>0.24299999999999999</c:v>
                </c:pt>
                <c:pt idx="244">
                  <c:v>0.24399999999999999</c:v>
                </c:pt>
                <c:pt idx="245">
                  <c:v>0.245</c:v>
                </c:pt>
                <c:pt idx="246">
                  <c:v>0.246</c:v>
                </c:pt>
                <c:pt idx="247">
                  <c:v>0.247</c:v>
                </c:pt>
                <c:pt idx="248">
                  <c:v>0.248</c:v>
                </c:pt>
                <c:pt idx="249">
                  <c:v>0.249</c:v>
                </c:pt>
                <c:pt idx="250">
                  <c:v>0.25</c:v>
                </c:pt>
                <c:pt idx="251">
                  <c:v>0.251</c:v>
                </c:pt>
                <c:pt idx="252">
                  <c:v>0.252</c:v>
                </c:pt>
                <c:pt idx="253">
                  <c:v>0.253</c:v>
                </c:pt>
                <c:pt idx="254">
                  <c:v>0.254</c:v>
                </c:pt>
                <c:pt idx="255">
                  <c:v>0.255</c:v>
                </c:pt>
                <c:pt idx="256">
                  <c:v>0.25600000000000001</c:v>
                </c:pt>
                <c:pt idx="257">
                  <c:v>0.25700000000000001</c:v>
                </c:pt>
                <c:pt idx="258">
                  <c:v>0.25800000000000001</c:v>
                </c:pt>
                <c:pt idx="259">
                  <c:v>0.25900000000000001</c:v>
                </c:pt>
                <c:pt idx="260">
                  <c:v>0.26</c:v>
                </c:pt>
                <c:pt idx="261">
                  <c:v>0.26100000000000001</c:v>
                </c:pt>
                <c:pt idx="262">
                  <c:v>0.26200000000000001</c:v>
                </c:pt>
                <c:pt idx="263">
                  <c:v>0.26300000000000001</c:v>
                </c:pt>
                <c:pt idx="264">
                  <c:v>0.26400000000000001</c:v>
                </c:pt>
                <c:pt idx="265">
                  <c:v>0.26500000000000001</c:v>
                </c:pt>
                <c:pt idx="266">
                  <c:v>0.26600000000000001</c:v>
                </c:pt>
                <c:pt idx="267">
                  <c:v>0.26700000000000002</c:v>
                </c:pt>
                <c:pt idx="268">
                  <c:v>0.26800000000000002</c:v>
                </c:pt>
                <c:pt idx="269">
                  <c:v>0.26900000000000002</c:v>
                </c:pt>
                <c:pt idx="270">
                  <c:v>0.27</c:v>
                </c:pt>
                <c:pt idx="271">
                  <c:v>0.27100000000000002</c:v>
                </c:pt>
                <c:pt idx="272">
                  <c:v>0.27200000000000002</c:v>
                </c:pt>
                <c:pt idx="273">
                  <c:v>0.27300000000000002</c:v>
                </c:pt>
                <c:pt idx="274">
                  <c:v>0.27400000000000002</c:v>
                </c:pt>
                <c:pt idx="275">
                  <c:v>0.27500000000000002</c:v>
                </c:pt>
                <c:pt idx="276">
                  <c:v>0.27600000000000002</c:v>
                </c:pt>
                <c:pt idx="277">
                  <c:v>0.27700000000000002</c:v>
                </c:pt>
                <c:pt idx="278">
                  <c:v>0.27800000000000002</c:v>
                </c:pt>
                <c:pt idx="279">
                  <c:v>0.27900000000000003</c:v>
                </c:pt>
                <c:pt idx="280">
                  <c:v>0.28000000000000003</c:v>
                </c:pt>
                <c:pt idx="281">
                  <c:v>0.28100000000000003</c:v>
                </c:pt>
                <c:pt idx="282">
                  <c:v>0.28199999999999997</c:v>
                </c:pt>
                <c:pt idx="283">
                  <c:v>0.28299999999999997</c:v>
                </c:pt>
                <c:pt idx="284">
                  <c:v>0.28399999999999997</c:v>
                </c:pt>
                <c:pt idx="285">
                  <c:v>0.28499999999999998</c:v>
                </c:pt>
                <c:pt idx="286">
                  <c:v>0.28599999999999998</c:v>
                </c:pt>
                <c:pt idx="287">
                  <c:v>0.28699999999999998</c:v>
                </c:pt>
                <c:pt idx="288">
                  <c:v>0.28799999999999998</c:v>
                </c:pt>
                <c:pt idx="289">
                  <c:v>0.28899999999999998</c:v>
                </c:pt>
                <c:pt idx="290">
                  <c:v>0.28999999999999998</c:v>
                </c:pt>
                <c:pt idx="291">
                  <c:v>0.29099999999999998</c:v>
                </c:pt>
                <c:pt idx="292">
                  <c:v>0.29199999999999998</c:v>
                </c:pt>
                <c:pt idx="293">
                  <c:v>0.29299999999999998</c:v>
                </c:pt>
                <c:pt idx="294">
                  <c:v>0.29399999999999998</c:v>
                </c:pt>
                <c:pt idx="295">
                  <c:v>0.29499999999999998</c:v>
                </c:pt>
                <c:pt idx="296">
                  <c:v>0.29599999999999999</c:v>
                </c:pt>
                <c:pt idx="297">
                  <c:v>0.29699999999999999</c:v>
                </c:pt>
                <c:pt idx="298">
                  <c:v>0.29799999999999999</c:v>
                </c:pt>
                <c:pt idx="299">
                  <c:v>0.29899999999999999</c:v>
                </c:pt>
                <c:pt idx="300">
                  <c:v>0.3</c:v>
                </c:pt>
                <c:pt idx="301">
                  <c:v>0.30099999999999999</c:v>
                </c:pt>
                <c:pt idx="302">
                  <c:v>0.30199999999999999</c:v>
                </c:pt>
                <c:pt idx="303">
                  <c:v>0.30299999999999999</c:v>
                </c:pt>
                <c:pt idx="304">
                  <c:v>0.30399999999999999</c:v>
                </c:pt>
                <c:pt idx="305">
                  <c:v>0.30499999999999999</c:v>
                </c:pt>
                <c:pt idx="306">
                  <c:v>0.30599999999999999</c:v>
                </c:pt>
                <c:pt idx="307">
                  <c:v>0.307</c:v>
                </c:pt>
                <c:pt idx="308">
                  <c:v>0.308</c:v>
                </c:pt>
                <c:pt idx="309">
                  <c:v>0.309</c:v>
                </c:pt>
                <c:pt idx="310">
                  <c:v>0.31</c:v>
                </c:pt>
                <c:pt idx="311">
                  <c:v>0.311</c:v>
                </c:pt>
                <c:pt idx="312">
                  <c:v>0.312</c:v>
                </c:pt>
                <c:pt idx="313">
                  <c:v>0.313</c:v>
                </c:pt>
                <c:pt idx="314">
                  <c:v>0.314</c:v>
                </c:pt>
                <c:pt idx="315">
                  <c:v>0.315</c:v>
                </c:pt>
                <c:pt idx="316">
                  <c:v>0.316</c:v>
                </c:pt>
                <c:pt idx="317">
                  <c:v>0.317</c:v>
                </c:pt>
                <c:pt idx="318">
                  <c:v>0.318</c:v>
                </c:pt>
                <c:pt idx="319">
                  <c:v>0.31900000000000001</c:v>
                </c:pt>
                <c:pt idx="320">
                  <c:v>0.32</c:v>
                </c:pt>
                <c:pt idx="321">
                  <c:v>0.32100000000000001</c:v>
                </c:pt>
                <c:pt idx="322">
                  <c:v>0.32200000000000001</c:v>
                </c:pt>
                <c:pt idx="323">
                  <c:v>0.32300000000000001</c:v>
                </c:pt>
                <c:pt idx="324">
                  <c:v>0.32400000000000001</c:v>
                </c:pt>
                <c:pt idx="325">
                  <c:v>0.32500000000000001</c:v>
                </c:pt>
                <c:pt idx="326">
                  <c:v>0.32600000000000001</c:v>
                </c:pt>
                <c:pt idx="327">
                  <c:v>0.32700000000000001</c:v>
                </c:pt>
                <c:pt idx="328">
                  <c:v>0.32800000000000001</c:v>
                </c:pt>
                <c:pt idx="329">
                  <c:v>0.32900000000000001</c:v>
                </c:pt>
                <c:pt idx="330">
                  <c:v>0.33</c:v>
                </c:pt>
                <c:pt idx="331">
                  <c:v>0.33100000000000002</c:v>
                </c:pt>
                <c:pt idx="332">
                  <c:v>0.33200000000000002</c:v>
                </c:pt>
                <c:pt idx="333">
                  <c:v>0.33300000000000002</c:v>
                </c:pt>
                <c:pt idx="334">
                  <c:v>0.33400000000000002</c:v>
                </c:pt>
                <c:pt idx="335">
                  <c:v>0.33500000000000002</c:v>
                </c:pt>
                <c:pt idx="336">
                  <c:v>0.33600000000000002</c:v>
                </c:pt>
                <c:pt idx="337">
                  <c:v>0.33700000000000002</c:v>
                </c:pt>
                <c:pt idx="338">
                  <c:v>0.33800000000000002</c:v>
                </c:pt>
                <c:pt idx="339">
                  <c:v>0.33900000000000002</c:v>
                </c:pt>
                <c:pt idx="340">
                  <c:v>0.34</c:v>
                </c:pt>
                <c:pt idx="341">
                  <c:v>0.34100000000000003</c:v>
                </c:pt>
                <c:pt idx="342">
                  <c:v>0.34200000000000003</c:v>
                </c:pt>
                <c:pt idx="343">
                  <c:v>0.34300000000000003</c:v>
                </c:pt>
                <c:pt idx="344">
                  <c:v>0.34399999999999997</c:v>
                </c:pt>
                <c:pt idx="345">
                  <c:v>0.34499999999999997</c:v>
                </c:pt>
                <c:pt idx="346">
                  <c:v>0.34599999999999997</c:v>
                </c:pt>
                <c:pt idx="347">
                  <c:v>0.34699999999999998</c:v>
                </c:pt>
                <c:pt idx="348">
                  <c:v>0.34799999999999998</c:v>
                </c:pt>
                <c:pt idx="349">
                  <c:v>0.34899999999999998</c:v>
                </c:pt>
                <c:pt idx="350">
                  <c:v>0.35</c:v>
                </c:pt>
                <c:pt idx="351">
                  <c:v>0.35099999999999998</c:v>
                </c:pt>
                <c:pt idx="352">
                  <c:v>0.35199999999999998</c:v>
                </c:pt>
                <c:pt idx="353">
                  <c:v>0.35299999999999998</c:v>
                </c:pt>
                <c:pt idx="354">
                  <c:v>0.35399999999999998</c:v>
                </c:pt>
                <c:pt idx="355">
                  <c:v>0.35499999999999998</c:v>
                </c:pt>
                <c:pt idx="356">
                  <c:v>0.35599999999999998</c:v>
                </c:pt>
                <c:pt idx="357">
                  <c:v>0.35699999999999998</c:v>
                </c:pt>
                <c:pt idx="358">
                  <c:v>0.35799999999999998</c:v>
                </c:pt>
                <c:pt idx="359">
                  <c:v>0.35899999999999999</c:v>
                </c:pt>
                <c:pt idx="360">
                  <c:v>0.36</c:v>
                </c:pt>
                <c:pt idx="361">
                  <c:v>0.36099999999999999</c:v>
                </c:pt>
                <c:pt idx="362">
                  <c:v>0.36199999999999999</c:v>
                </c:pt>
                <c:pt idx="363">
                  <c:v>0.36299999999999999</c:v>
                </c:pt>
                <c:pt idx="364">
                  <c:v>0.36399999999999999</c:v>
                </c:pt>
                <c:pt idx="365">
                  <c:v>0.36499999999999999</c:v>
                </c:pt>
                <c:pt idx="366">
                  <c:v>0.36599999999999999</c:v>
                </c:pt>
                <c:pt idx="367">
                  <c:v>0.36699999999999999</c:v>
                </c:pt>
                <c:pt idx="368">
                  <c:v>0.36799999999999999</c:v>
                </c:pt>
                <c:pt idx="369">
                  <c:v>0.36899999999999999</c:v>
                </c:pt>
                <c:pt idx="370">
                  <c:v>0.37</c:v>
                </c:pt>
                <c:pt idx="371">
                  <c:v>0.371</c:v>
                </c:pt>
                <c:pt idx="372">
                  <c:v>0.372</c:v>
                </c:pt>
                <c:pt idx="373">
                  <c:v>0.373</c:v>
                </c:pt>
                <c:pt idx="374">
                  <c:v>0.374</c:v>
                </c:pt>
                <c:pt idx="375">
                  <c:v>0.375</c:v>
                </c:pt>
                <c:pt idx="376">
                  <c:v>0.376</c:v>
                </c:pt>
                <c:pt idx="377">
                  <c:v>0.377</c:v>
                </c:pt>
                <c:pt idx="378">
                  <c:v>0.378</c:v>
                </c:pt>
                <c:pt idx="379">
                  <c:v>0.379</c:v>
                </c:pt>
                <c:pt idx="380">
                  <c:v>0.38</c:v>
                </c:pt>
                <c:pt idx="381">
                  <c:v>0.38100000000000001</c:v>
                </c:pt>
                <c:pt idx="382">
                  <c:v>0.38200000000000001</c:v>
                </c:pt>
                <c:pt idx="383">
                  <c:v>0.38300000000000001</c:v>
                </c:pt>
                <c:pt idx="384">
                  <c:v>0.38400000000000001</c:v>
                </c:pt>
                <c:pt idx="385">
                  <c:v>0.38500000000000001</c:v>
                </c:pt>
                <c:pt idx="386">
                  <c:v>0.38600000000000001</c:v>
                </c:pt>
                <c:pt idx="387">
                  <c:v>0.38700000000000001</c:v>
                </c:pt>
                <c:pt idx="388">
                  <c:v>0.38800000000000001</c:v>
                </c:pt>
                <c:pt idx="389">
                  <c:v>0.38900000000000001</c:v>
                </c:pt>
                <c:pt idx="390">
                  <c:v>0.39</c:v>
                </c:pt>
                <c:pt idx="391">
                  <c:v>0.39100000000000001</c:v>
                </c:pt>
                <c:pt idx="392">
                  <c:v>0.39200000000000002</c:v>
                </c:pt>
                <c:pt idx="393">
                  <c:v>0.39300000000000002</c:v>
                </c:pt>
                <c:pt idx="394">
                  <c:v>0.39400000000000002</c:v>
                </c:pt>
                <c:pt idx="395">
                  <c:v>0.39500000000000002</c:v>
                </c:pt>
                <c:pt idx="396">
                  <c:v>0.39600000000000002</c:v>
                </c:pt>
                <c:pt idx="397">
                  <c:v>0.39700000000000002</c:v>
                </c:pt>
                <c:pt idx="398">
                  <c:v>0.39800000000000002</c:v>
                </c:pt>
                <c:pt idx="399">
                  <c:v>0.39900000000000002</c:v>
                </c:pt>
                <c:pt idx="400">
                  <c:v>0.4</c:v>
                </c:pt>
                <c:pt idx="401">
                  <c:v>0.40100000000000002</c:v>
                </c:pt>
                <c:pt idx="402">
                  <c:v>0.40200000000000002</c:v>
                </c:pt>
                <c:pt idx="403">
                  <c:v>0.40300000000000002</c:v>
                </c:pt>
                <c:pt idx="404">
                  <c:v>0.40400000000000003</c:v>
                </c:pt>
                <c:pt idx="405">
                  <c:v>0.40500000000000003</c:v>
                </c:pt>
                <c:pt idx="406">
                  <c:v>0.40600000000000003</c:v>
                </c:pt>
                <c:pt idx="407">
                  <c:v>0.40699999999999997</c:v>
                </c:pt>
                <c:pt idx="408">
                  <c:v>0.40799999999999997</c:v>
                </c:pt>
                <c:pt idx="409">
                  <c:v>0.40899999999999997</c:v>
                </c:pt>
                <c:pt idx="410">
                  <c:v>0.41</c:v>
                </c:pt>
                <c:pt idx="411">
                  <c:v>0.41099999999999998</c:v>
                </c:pt>
                <c:pt idx="412">
                  <c:v>0.41199999999999998</c:v>
                </c:pt>
                <c:pt idx="413">
                  <c:v>0.41299999999999998</c:v>
                </c:pt>
                <c:pt idx="414">
                  <c:v>0.41399999999999998</c:v>
                </c:pt>
                <c:pt idx="415">
                  <c:v>0.41499999999999998</c:v>
                </c:pt>
                <c:pt idx="416">
                  <c:v>0.41599999999999998</c:v>
                </c:pt>
                <c:pt idx="417">
                  <c:v>0.41699999999999998</c:v>
                </c:pt>
                <c:pt idx="418">
                  <c:v>0.41799999999999998</c:v>
                </c:pt>
                <c:pt idx="419">
                  <c:v>0.41899999999999998</c:v>
                </c:pt>
                <c:pt idx="420">
                  <c:v>0.42</c:v>
                </c:pt>
                <c:pt idx="421">
                  <c:v>0.42099999999999999</c:v>
                </c:pt>
                <c:pt idx="422">
                  <c:v>0.42199999999999999</c:v>
                </c:pt>
                <c:pt idx="423">
                  <c:v>0.42299999999999999</c:v>
                </c:pt>
                <c:pt idx="424">
                  <c:v>0.42399999999999999</c:v>
                </c:pt>
                <c:pt idx="425">
                  <c:v>0.42499999999999999</c:v>
                </c:pt>
                <c:pt idx="426">
                  <c:v>0.42599999999999999</c:v>
                </c:pt>
                <c:pt idx="427">
                  <c:v>0.42699999999999999</c:v>
                </c:pt>
                <c:pt idx="428">
                  <c:v>0.42799999999999999</c:v>
                </c:pt>
                <c:pt idx="429">
                  <c:v>0.42899999999999999</c:v>
                </c:pt>
                <c:pt idx="430">
                  <c:v>0.43</c:v>
                </c:pt>
                <c:pt idx="431">
                  <c:v>0.43099999999999999</c:v>
                </c:pt>
                <c:pt idx="432">
                  <c:v>0.432</c:v>
                </c:pt>
                <c:pt idx="433">
                  <c:v>0.433</c:v>
                </c:pt>
                <c:pt idx="434">
                  <c:v>0.434</c:v>
                </c:pt>
                <c:pt idx="435">
                  <c:v>0.435</c:v>
                </c:pt>
                <c:pt idx="436">
                  <c:v>0.436</c:v>
                </c:pt>
                <c:pt idx="437">
                  <c:v>0.437</c:v>
                </c:pt>
                <c:pt idx="438">
                  <c:v>0.438</c:v>
                </c:pt>
                <c:pt idx="439">
                  <c:v>0.439</c:v>
                </c:pt>
                <c:pt idx="440">
                  <c:v>0.44</c:v>
                </c:pt>
                <c:pt idx="441">
                  <c:v>0.441</c:v>
                </c:pt>
                <c:pt idx="442">
                  <c:v>0.442</c:v>
                </c:pt>
                <c:pt idx="443">
                  <c:v>0.443</c:v>
                </c:pt>
                <c:pt idx="444">
                  <c:v>0.44400000000000001</c:v>
                </c:pt>
                <c:pt idx="445">
                  <c:v>0.44500000000000001</c:v>
                </c:pt>
                <c:pt idx="446">
                  <c:v>0.44600000000000001</c:v>
                </c:pt>
                <c:pt idx="447">
                  <c:v>0.44700000000000001</c:v>
                </c:pt>
                <c:pt idx="448">
                  <c:v>0.44800000000000001</c:v>
                </c:pt>
                <c:pt idx="449">
                  <c:v>0.44900000000000001</c:v>
                </c:pt>
                <c:pt idx="450">
                  <c:v>0.45</c:v>
                </c:pt>
                <c:pt idx="451">
                  <c:v>0.45100000000000001</c:v>
                </c:pt>
                <c:pt idx="452">
                  <c:v>0.45200000000000001</c:v>
                </c:pt>
                <c:pt idx="453">
                  <c:v>0.45300000000000001</c:v>
                </c:pt>
                <c:pt idx="454">
                  <c:v>0.45400000000000001</c:v>
                </c:pt>
                <c:pt idx="455">
                  <c:v>0.45500000000000002</c:v>
                </c:pt>
                <c:pt idx="456">
                  <c:v>0.45600000000000002</c:v>
                </c:pt>
                <c:pt idx="457">
                  <c:v>0.45700000000000002</c:v>
                </c:pt>
                <c:pt idx="458">
                  <c:v>0.45800000000000002</c:v>
                </c:pt>
                <c:pt idx="459">
                  <c:v>0.45900000000000002</c:v>
                </c:pt>
                <c:pt idx="460">
                  <c:v>0.46</c:v>
                </c:pt>
                <c:pt idx="461">
                  <c:v>0.46100000000000002</c:v>
                </c:pt>
                <c:pt idx="462">
                  <c:v>0.46200000000000002</c:v>
                </c:pt>
                <c:pt idx="463">
                  <c:v>0.46300000000000002</c:v>
                </c:pt>
                <c:pt idx="464">
                  <c:v>0.46400000000000002</c:v>
                </c:pt>
                <c:pt idx="465">
                  <c:v>0.46500000000000002</c:v>
                </c:pt>
                <c:pt idx="466">
                  <c:v>0.46600000000000003</c:v>
                </c:pt>
                <c:pt idx="467">
                  <c:v>0.46700000000000003</c:v>
                </c:pt>
                <c:pt idx="468">
                  <c:v>0.46800000000000003</c:v>
                </c:pt>
                <c:pt idx="469">
                  <c:v>0.46899999999999997</c:v>
                </c:pt>
                <c:pt idx="470">
                  <c:v>0.47</c:v>
                </c:pt>
                <c:pt idx="471">
                  <c:v>0.47099999999999997</c:v>
                </c:pt>
                <c:pt idx="472">
                  <c:v>0.47199999999999998</c:v>
                </c:pt>
                <c:pt idx="473">
                  <c:v>0.47299999999999998</c:v>
                </c:pt>
                <c:pt idx="474">
                  <c:v>0.47399999999999998</c:v>
                </c:pt>
                <c:pt idx="475">
                  <c:v>0.47499999999999998</c:v>
                </c:pt>
                <c:pt idx="476">
                  <c:v>0.47599999999999998</c:v>
                </c:pt>
                <c:pt idx="477">
                  <c:v>0.47699999999999998</c:v>
                </c:pt>
                <c:pt idx="478">
                  <c:v>0.47799999999999998</c:v>
                </c:pt>
                <c:pt idx="479">
                  <c:v>0.47899999999999998</c:v>
                </c:pt>
                <c:pt idx="480">
                  <c:v>0.48</c:v>
                </c:pt>
                <c:pt idx="481">
                  <c:v>0.48099999999999998</c:v>
                </c:pt>
                <c:pt idx="482">
                  <c:v>0.48199999999999998</c:v>
                </c:pt>
                <c:pt idx="483">
                  <c:v>0.48299999999999998</c:v>
                </c:pt>
                <c:pt idx="484">
                  <c:v>0.48399999999999999</c:v>
                </c:pt>
                <c:pt idx="485">
                  <c:v>0.48499999999999999</c:v>
                </c:pt>
                <c:pt idx="486">
                  <c:v>0.48599999999999999</c:v>
                </c:pt>
                <c:pt idx="487">
                  <c:v>0.48699999999999999</c:v>
                </c:pt>
                <c:pt idx="488">
                  <c:v>0.48799999999999999</c:v>
                </c:pt>
                <c:pt idx="489">
                  <c:v>0.48899999999999999</c:v>
                </c:pt>
                <c:pt idx="490">
                  <c:v>0.49</c:v>
                </c:pt>
                <c:pt idx="491">
                  <c:v>0.49099999999999999</c:v>
                </c:pt>
                <c:pt idx="492">
                  <c:v>0.49199999999999999</c:v>
                </c:pt>
                <c:pt idx="493">
                  <c:v>0.49299999999999999</c:v>
                </c:pt>
                <c:pt idx="494">
                  <c:v>0.49399999999999999</c:v>
                </c:pt>
                <c:pt idx="495">
                  <c:v>0.495</c:v>
                </c:pt>
                <c:pt idx="496">
                  <c:v>0.496</c:v>
                </c:pt>
                <c:pt idx="497">
                  <c:v>0.497</c:v>
                </c:pt>
                <c:pt idx="498">
                  <c:v>0.498</c:v>
                </c:pt>
                <c:pt idx="499">
                  <c:v>0.499</c:v>
                </c:pt>
                <c:pt idx="500">
                  <c:v>0.5</c:v>
                </c:pt>
                <c:pt idx="501">
                  <c:v>0.501</c:v>
                </c:pt>
                <c:pt idx="502">
                  <c:v>0.502</c:v>
                </c:pt>
                <c:pt idx="503">
                  <c:v>0.503</c:v>
                </c:pt>
                <c:pt idx="504">
                  <c:v>0.504</c:v>
                </c:pt>
                <c:pt idx="505">
                  <c:v>0.505</c:v>
                </c:pt>
                <c:pt idx="506">
                  <c:v>0.50600000000000001</c:v>
                </c:pt>
                <c:pt idx="507">
                  <c:v>0.50700000000000001</c:v>
                </c:pt>
                <c:pt idx="508">
                  <c:v>0.50800000000000001</c:v>
                </c:pt>
                <c:pt idx="509">
                  <c:v>0.50900000000000001</c:v>
                </c:pt>
                <c:pt idx="510">
                  <c:v>0.51</c:v>
                </c:pt>
                <c:pt idx="511">
                  <c:v>0.51100000000000001</c:v>
                </c:pt>
                <c:pt idx="512">
                  <c:v>0.51200000000000001</c:v>
                </c:pt>
                <c:pt idx="513">
                  <c:v>0.51300000000000001</c:v>
                </c:pt>
                <c:pt idx="514">
                  <c:v>0.51400000000000001</c:v>
                </c:pt>
                <c:pt idx="515">
                  <c:v>0.51500000000000001</c:v>
                </c:pt>
                <c:pt idx="516">
                  <c:v>0.51600000000000001</c:v>
                </c:pt>
                <c:pt idx="517">
                  <c:v>0.51700000000000002</c:v>
                </c:pt>
                <c:pt idx="518">
                  <c:v>0.51800000000000002</c:v>
                </c:pt>
                <c:pt idx="519">
                  <c:v>0.51900000000000002</c:v>
                </c:pt>
                <c:pt idx="520">
                  <c:v>0.52</c:v>
                </c:pt>
                <c:pt idx="521">
                  <c:v>0.52100000000000002</c:v>
                </c:pt>
                <c:pt idx="522">
                  <c:v>0.52200000000000002</c:v>
                </c:pt>
                <c:pt idx="523">
                  <c:v>0.52300000000000002</c:v>
                </c:pt>
                <c:pt idx="524">
                  <c:v>0.52400000000000002</c:v>
                </c:pt>
                <c:pt idx="525">
                  <c:v>0.52500000000000002</c:v>
                </c:pt>
                <c:pt idx="526">
                  <c:v>0.52600000000000002</c:v>
                </c:pt>
                <c:pt idx="527">
                  <c:v>0.52700000000000002</c:v>
                </c:pt>
                <c:pt idx="528">
                  <c:v>0.52800000000000002</c:v>
                </c:pt>
                <c:pt idx="529">
                  <c:v>0.52900000000000003</c:v>
                </c:pt>
                <c:pt idx="530">
                  <c:v>0.53</c:v>
                </c:pt>
                <c:pt idx="531">
                  <c:v>0.53100000000000003</c:v>
                </c:pt>
                <c:pt idx="532">
                  <c:v>0.53200000000000003</c:v>
                </c:pt>
                <c:pt idx="533">
                  <c:v>0.53300000000000003</c:v>
                </c:pt>
                <c:pt idx="534">
                  <c:v>0.53400000000000003</c:v>
                </c:pt>
                <c:pt idx="535">
                  <c:v>0.53500000000000003</c:v>
                </c:pt>
                <c:pt idx="536">
                  <c:v>0.53600000000000003</c:v>
                </c:pt>
                <c:pt idx="537">
                  <c:v>0.53700000000000003</c:v>
                </c:pt>
                <c:pt idx="538">
                  <c:v>0.53800000000000003</c:v>
                </c:pt>
                <c:pt idx="539">
                  <c:v>0.53900000000000003</c:v>
                </c:pt>
                <c:pt idx="540">
                  <c:v>0.54</c:v>
                </c:pt>
                <c:pt idx="541">
                  <c:v>0.54100000000000004</c:v>
                </c:pt>
                <c:pt idx="542">
                  <c:v>0.54200000000000004</c:v>
                </c:pt>
                <c:pt idx="543">
                  <c:v>0.54300000000000004</c:v>
                </c:pt>
                <c:pt idx="544">
                  <c:v>0.54400000000000004</c:v>
                </c:pt>
                <c:pt idx="545">
                  <c:v>0.54500000000000004</c:v>
                </c:pt>
                <c:pt idx="546">
                  <c:v>0.54600000000000004</c:v>
                </c:pt>
                <c:pt idx="547">
                  <c:v>0.54700000000000004</c:v>
                </c:pt>
                <c:pt idx="548">
                  <c:v>0.54800000000000004</c:v>
                </c:pt>
                <c:pt idx="549">
                  <c:v>0.54900000000000004</c:v>
                </c:pt>
                <c:pt idx="550">
                  <c:v>0.55000000000000004</c:v>
                </c:pt>
                <c:pt idx="551">
                  <c:v>0.55100000000000005</c:v>
                </c:pt>
                <c:pt idx="552">
                  <c:v>0.55200000000000005</c:v>
                </c:pt>
                <c:pt idx="553">
                  <c:v>0.55300000000000005</c:v>
                </c:pt>
                <c:pt idx="554">
                  <c:v>0.55400000000000005</c:v>
                </c:pt>
                <c:pt idx="555">
                  <c:v>0.55500000000000005</c:v>
                </c:pt>
                <c:pt idx="556">
                  <c:v>0.55600000000000005</c:v>
                </c:pt>
                <c:pt idx="557">
                  <c:v>0.55700000000000005</c:v>
                </c:pt>
                <c:pt idx="558">
                  <c:v>0.55800000000000005</c:v>
                </c:pt>
                <c:pt idx="559">
                  <c:v>0.55900000000000005</c:v>
                </c:pt>
                <c:pt idx="560">
                  <c:v>0.56000000000000005</c:v>
                </c:pt>
                <c:pt idx="561">
                  <c:v>0.56100000000000005</c:v>
                </c:pt>
                <c:pt idx="562">
                  <c:v>0.56200000000000006</c:v>
                </c:pt>
                <c:pt idx="563">
                  <c:v>0.56299999999999994</c:v>
                </c:pt>
                <c:pt idx="564">
                  <c:v>0.56399999999999995</c:v>
                </c:pt>
                <c:pt idx="565">
                  <c:v>0.56499999999999995</c:v>
                </c:pt>
                <c:pt idx="566">
                  <c:v>0.56599999999999995</c:v>
                </c:pt>
                <c:pt idx="567">
                  <c:v>0.56699999999999995</c:v>
                </c:pt>
                <c:pt idx="568">
                  <c:v>0.56799999999999995</c:v>
                </c:pt>
                <c:pt idx="569">
                  <c:v>0.56899999999999995</c:v>
                </c:pt>
                <c:pt idx="570">
                  <c:v>0.56999999999999995</c:v>
                </c:pt>
                <c:pt idx="571">
                  <c:v>0.57099999999999995</c:v>
                </c:pt>
                <c:pt idx="572">
                  <c:v>0.57199999999999995</c:v>
                </c:pt>
                <c:pt idx="573">
                  <c:v>0.57299999999999995</c:v>
                </c:pt>
                <c:pt idx="574">
                  <c:v>0.57399999999999995</c:v>
                </c:pt>
                <c:pt idx="575">
                  <c:v>0.57499999999999996</c:v>
                </c:pt>
                <c:pt idx="576">
                  <c:v>0.57599999999999996</c:v>
                </c:pt>
                <c:pt idx="577">
                  <c:v>0.57699999999999996</c:v>
                </c:pt>
                <c:pt idx="578">
                  <c:v>0.57799999999999996</c:v>
                </c:pt>
                <c:pt idx="579">
                  <c:v>0.57899999999999996</c:v>
                </c:pt>
                <c:pt idx="580">
                  <c:v>0.57999999999999996</c:v>
                </c:pt>
                <c:pt idx="581">
                  <c:v>0.58099999999999996</c:v>
                </c:pt>
                <c:pt idx="582">
                  <c:v>0.58199999999999996</c:v>
                </c:pt>
                <c:pt idx="583">
                  <c:v>0.58299999999999996</c:v>
                </c:pt>
                <c:pt idx="584">
                  <c:v>0.58399999999999996</c:v>
                </c:pt>
                <c:pt idx="585">
                  <c:v>0.58499999999999996</c:v>
                </c:pt>
                <c:pt idx="586">
                  <c:v>0.58599999999999997</c:v>
                </c:pt>
                <c:pt idx="587">
                  <c:v>0.58699999999999997</c:v>
                </c:pt>
                <c:pt idx="588">
                  <c:v>0.58799999999999997</c:v>
                </c:pt>
                <c:pt idx="589">
                  <c:v>0.58899999999999997</c:v>
                </c:pt>
                <c:pt idx="590">
                  <c:v>0.59</c:v>
                </c:pt>
                <c:pt idx="591">
                  <c:v>0.59099999999999997</c:v>
                </c:pt>
                <c:pt idx="592">
                  <c:v>0.59199999999999997</c:v>
                </c:pt>
                <c:pt idx="593">
                  <c:v>0.59299999999999997</c:v>
                </c:pt>
                <c:pt idx="594">
                  <c:v>0.59399999999999997</c:v>
                </c:pt>
                <c:pt idx="595">
                  <c:v>0.59499999999999997</c:v>
                </c:pt>
                <c:pt idx="596">
                  <c:v>0.59599999999999997</c:v>
                </c:pt>
                <c:pt idx="597">
                  <c:v>0.59699999999999998</c:v>
                </c:pt>
                <c:pt idx="598">
                  <c:v>0.59799999999999998</c:v>
                </c:pt>
                <c:pt idx="599">
                  <c:v>0.59899999999999998</c:v>
                </c:pt>
                <c:pt idx="600">
                  <c:v>0.6</c:v>
                </c:pt>
                <c:pt idx="601">
                  <c:v>0.60099999999999998</c:v>
                </c:pt>
                <c:pt idx="602">
                  <c:v>0.60199999999999998</c:v>
                </c:pt>
                <c:pt idx="603">
                  <c:v>0.60299999999999998</c:v>
                </c:pt>
                <c:pt idx="604">
                  <c:v>0.60399999999999998</c:v>
                </c:pt>
                <c:pt idx="605">
                  <c:v>0.60499999999999998</c:v>
                </c:pt>
                <c:pt idx="606">
                  <c:v>0.60599999999999998</c:v>
                </c:pt>
                <c:pt idx="607">
                  <c:v>0.60699999999999998</c:v>
                </c:pt>
                <c:pt idx="608">
                  <c:v>0.60799999999999998</c:v>
                </c:pt>
                <c:pt idx="609">
                  <c:v>0.60899999999999999</c:v>
                </c:pt>
                <c:pt idx="610">
                  <c:v>0.61</c:v>
                </c:pt>
                <c:pt idx="611">
                  <c:v>0.61099999999999999</c:v>
                </c:pt>
                <c:pt idx="612">
                  <c:v>0.61199999999999999</c:v>
                </c:pt>
                <c:pt idx="613">
                  <c:v>0.61299999999999999</c:v>
                </c:pt>
                <c:pt idx="614">
                  <c:v>0.61399999999999999</c:v>
                </c:pt>
                <c:pt idx="615">
                  <c:v>0.61499999999999999</c:v>
                </c:pt>
                <c:pt idx="616">
                  <c:v>0.61599999999999999</c:v>
                </c:pt>
                <c:pt idx="617">
                  <c:v>0.61699999999999999</c:v>
                </c:pt>
                <c:pt idx="618">
                  <c:v>0.61799999999999999</c:v>
                </c:pt>
                <c:pt idx="619">
                  <c:v>0.61899999999999999</c:v>
                </c:pt>
                <c:pt idx="620">
                  <c:v>0.62</c:v>
                </c:pt>
                <c:pt idx="621">
                  <c:v>0.621</c:v>
                </c:pt>
                <c:pt idx="622">
                  <c:v>0.622</c:v>
                </c:pt>
                <c:pt idx="623">
                  <c:v>0.623</c:v>
                </c:pt>
                <c:pt idx="624">
                  <c:v>0.624</c:v>
                </c:pt>
                <c:pt idx="625">
                  <c:v>0.625</c:v>
                </c:pt>
                <c:pt idx="626">
                  <c:v>0.626</c:v>
                </c:pt>
                <c:pt idx="627">
                  <c:v>0.627</c:v>
                </c:pt>
                <c:pt idx="628">
                  <c:v>0.628</c:v>
                </c:pt>
                <c:pt idx="629">
                  <c:v>0.629</c:v>
                </c:pt>
                <c:pt idx="630">
                  <c:v>0.63</c:v>
                </c:pt>
                <c:pt idx="631">
                  <c:v>0.63100000000000001</c:v>
                </c:pt>
                <c:pt idx="632">
                  <c:v>0.63200000000000001</c:v>
                </c:pt>
                <c:pt idx="633">
                  <c:v>0.63300000000000001</c:v>
                </c:pt>
                <c:pt idx="634">
                  <c:v>0.63400000000000001</c:v>
                </c:pt>
                <c:pt idx="635">
                  <c:v>0.63500000000000001</c:v>
                </c:pt>
                <c:pt idx="636">
                  <c:v>0.63600000000000001</c:v>
                </c:pt>
                <c:pt idx="637">
                  <c:v>0.63700000000000001</c:v>
                </c:pt>
                <c:pt idx="638">
                  <c:v>0.63800000000000001</c:v>
                </c:pt>
                <c:pt idx="639">
                  <c:v>0.63900000000000001</c:v>
                </c:pt>
                <c:pt idx="640">
                  <c:v>0.64</c:v>
                </c:pt>
                <c:pt idx="641">
                  <c:v>0.64100000000000001</c:v>
                </c:pt>
                <c:pt idx="642">
                  <c:v>0.64200000000000002</c:v>
                </c:pt>
                <c:pt idx="643">
                  <c:v>0.64300000000000002</c:v>
                </c:pt>
                <c:pt idx="644">
                  <c:v>0.64400000000000002</c:v>
                </c:pt>
                <c:pt idx="645">
                  <c:v>0.64500000000000002</c:v>
                </c:pt>
                <c:pt idx="646">
                  <c:v>0.64600000000000002</c:v>
                </c:pt>
                <c:pt idx="647">
                  <c:v>0.64700000000000002</c:v>
                </c:pt>
                <c:pt idx="648">
                  <c:v>0.64800000000000002</c:v>
                </c:pt>
                <c:pt idx="649">
                  <c:v>0.64900000000000002</c:v>
                </c:pt>
                <c:pt idx="650">
                  <c:v>0.65</c:v>
                </c:pt>
                <c:pt idx="651">
                  <c:v>0.65100000000000002</c:v>
                </c:pt>
                <c:pt idx="652">
                  <c:v>0.65200000000000002</c:v>
                </c:pt>
                <c:pt idx="653">
                  <c:v>0.65300000000000002</c:v>
                </c:pt>
                <c:pt idx="654">
                  <c:v>0.65400000000000003</c:v>
                </c:pt>
                <c:pt idx="655">
                  <c:v>0.65500000000000003</c:v>
                </c:pt>
                <c:pt idx="656">
                  <c:v>0.65600000000000003</c:v>
                </c:pt>
                <c:pt idx="657">
                  <c:v>0.65700000000000003</c:v>
                </c:pt>
                <c:pt idx="658">
                  <c:v>0.65800000000000003</c:v>
                </c:pt>
                <c:pt idx="659">
                  <c:v>0.65900000000000003</c:v>
                </c:pt>
                <c:pt idx="660">
                  <c:v>0.66</c:v>
                </c:pt>
                <c:pt idx="661">
                  <c:v>0.66100000000000003</c:v>
                </c:pt>
                <c:pt idx="662">
                  <c:v>0.66200000000000003</c:v>
                </c:pt>
                <c:pt idx="663">
                  <c:v>0.66300000000000003</c:v>
                </c:pt>
                <c:pt idx="664">
                  <c:v>0.66400000000000003</c:v>
                </c:pt>
                <c:pt idx="665">
                  <c:v>0.66500000000000004</c:v>
                </c:pt>
                <c:pt idx="666">
                  <c:v>0.66600000000000004</c:v>
                </c:pt>
                <c:pt idx="667">
                  <c:v>0.66700000000000004</c:v>
                </c:pt>
                <c:pt idx="668">
                  <c:v>0.66800000000000004</c:v>
                </c:pt>
                <c:pt idx="669">
                  <c:v>0.66900000000000004</c:v>
                </c:pt>
                <c:pt idx="670">
                  <c:v>0.67</c:v>
                </c:pt>
                <c:pt idx="671">
                  <c:v>0.67100000000000004</c:v>
                </c:pt>
                <c:pt idx="672">
                  <c:v>0.67200000000000004</c:v>
                </c:pt>
                <c:pt idx="673">
                  <c:v>0.67300000000000004</c:v>
                </c:pt>
                <c:pt idx="674">
                  <c:v>0.67400000000000004</c:v>
                </c:pt>
                <c:pt idx="675">
                  <c:v>0.67500000000000004</c:v>
                </c:pt>
                <c:pt idx="676">
                  <c:v>0.67600000000000005</c:v>
                </c:pt>
                <c:pt idx="677">
                  <c:v>0.67700000000000005</c:v>
                </c:pt>
                <c:pt idx="678">
                  <c:v>0.67800000000000005</c:v>
                </c:pt>
                <c:pt idx="679">
                  <c:v>0.67900000000000005</c:v>
                </c:pt>
                <c:pt idx="680">
                  <c:v>0.68</c:v>
                </c:pt>
                <c:pt idx="681">
                  <c:v>0.68100000000000005</c:v>
                </c:pt>
                <c:pt idx="682">
                  <c:v>0.68200000000000005</c:v>
                </c:pt>
                <c:pt idx="683">
                  <c:v>0.68300000000000005</c:v>
                </c:pt>
                <c:pt idx="684">
                  <c:v>0.68400000000000005</c:v>
                </c:pt>
                <c:pt idx="685">
                  <c:v>0.68500000000000005</c:v>
                </c:pt>
                <c:pt idx="686">
                  <c:v>0.68600000000000005</c:v>
                </c:pt>
                <c:pt idx="687">
                  <c:v>0.68700000000000006</c:v>
                </c:pt>
                <c:pt idx="688">
                  <c:v>0.68799999999999994</c:v>
                </c:pt>
                <c:pt idx="689">
                  <c:v>0.68899999999999995</c:v>
                </c:pt>
                <c:pt idx="690">
                  <c:v>0.69</c:v>
                </c:pt>
                <c:pt idx="691">
                  <c:v>0.69099999999999995</c:v>
                </c:pt>
                <c:pt idx="692">
                  <c:v>0.69199999999999995</c:v>
                </c:pt>
                <c:pt idx="693">
                  <c:v>0.69299999999999995</c:v>
                </c:pt>
                <c:pt idx="694">
                  <c:v>0.69399999999999995</c:v>
                </c:pt>
                <c:pt idx="695">
                  <c:v>0.69499999999999995</c:v>
                </c:pt>
                <c:pt idx="696">
                  <c:v>0.69599999999999995</c:v>
                </c:pt>
                <c:pt idx="697">
                  <c:v>0.69699999999999995</c:v>
                </c:pt>
                <c:pt idx="698">
                  <c:v>0.69799999999999995</c:v>
                </c:pt>
                <c:pt idx="699">
                  <c:v>0.69899999999999995</c:v>
                </c:pt>
                <c:pt idx="700">
                  <c:v>0.7</c:v>
                </c:pt>
                <c:pt idx="701">
                  <c:v>0.70099999999999996</c:v>
                </c:pt>
                <c:pt idx="702">
                  <c:v>0.70199999999999996</c:v>
                </c:pt>
                <c:pt idx="703">
                  <c:v>0.70299999999999996</c:v>
                </c:pt>
                <c:pt idx="704">
                  <c:v>0.70399999999999996</c:v>
                </c:pt>
                <c:pt idx="705">
                  <c:v>0.70499999999999996</c:v>
                </c:pt>
                <c:pt idx="706">
                  <c:v>0.70599999999999996</c:v>
                </c:pt>
                <c:pt idx="707">
                  <c:v>0.70699999999999996</c:v>
                </c:pt>
                <c:pt idx="708">
                  <c:v>0.70799999999999996</c:v>
                </c:pt>
                <c:pt idx="709">
                  <c:v>0.70899999999999996</c:v>
                </c:pt>
                <c:pt idx="710">
                  <c:v>0.71</c:v>
                </c:pt>
                <c:pt idx="711">
                  <c:v>0.71099999999999997</c:v>
                </c:pt>
                <c:pt idx="712">
                  <c:v>0.71199999999999997</c:v>
                </c:pt>
                <c:pt idx="713">
                  <c:v>0.71299999999999997</c:v>
                </c:pt>
                <c:pt idx="714">
                  <c:v>0.71399999999999997</c:v>
                </c:pt>
                <c:pt idx="715">
                  <c:v>0.71499999999999997</c:v>
                </c:pt>
                <c:pt idx="716">
                  <c:v>0.71599999999999997</c:v>
                </c:pt>
                <c:pt idx="717">
                  <c:v>0.71699999999999997</c:v>
                </c:pt>
                <c:pt idx="718">
                  <c:v>0.71799999999999997</c:v>
                </c:pt>
                <c:pt idx="719">
                  <c:v>0.71899999999999997</c:v>
                </c:pt>
                <c:pt idx="720">
                  <c:v>0.72</c:v>
                </c:pt>
                <c:pt idx="721">
                  <c:v>0.72099999999999997</c:v>
                </c:pt>
                <c:pt idx="722">
                  <c:v>0.72199999999999998</c:v>
                </c:pt>
                <c:pt idx="723">
                  <c:v>0.72299999999999998</c:v>
                </c:pt>
                <c:pt idx="724">
                  <c:v>0.72399999999999998</c:v>
                </c:pt>
                <c:pt idx="725">
                  <c:v>0.72499999999999998</c:v>
                </c:pt>
                <c:pt idx="726">
                  <c:v>0.72599999999999998</c:v>
                </c:pt>
                <c:pt idx="727">
                  <c:v>0.72699999999999998</c:v>
                </c:pt>
                <c:pt idx="728">
                  <c:v>0.72799999999999998</c:v>
                </c:pt>
                <c:pt idx="729">
                  <c:v>0.72899999999999998</c:v>
                </c:pt>
                <c:pt idx="730">
                  <c:v>0.73</c:v>
                </c:pt>
                <c:pt idx="731">
                  <c:v>0.73099999999999998</c:v>
                </c:pt>
                <c:pt idx="732">
                  <c:v>0.73199999999999998</c:v>
                </c:pt>
                <c:pt idx="733">
                  <c:v>0.73299999999999998</c:v>
                </c:pt>
                <c:pt idx="734">
                  <c:v>0.73399999999999999</c:v>
                </c:pt>
                <c:pt idx="735">
                  <c:v>0.73499999999999999</c:v>
                </c:pt>
                <c:pt idx="736">
                  <c:v>0.73599999999999999</c:v>
                </c:pt>
                <c:pt idx="737">
                  <c:v>0.73699999999999999</c:v>
                </c:pt>
                <c:pt idx="738">
                  <c:v>0.73799999999999999</c:v>
                </c:pt>
                <c:pt idx="739">
                  <c:v>0.73899999999999999</c:v>
                </c:pt>
                <c:pt idx="740">
                  <c:v>0.74</c:v>
                </c:pt>
                <c:pt idx="741">
                  <c:v>0.74099999999999999</c:v>
                </c:pt>
                <c:pt idx="742">
                  <c:v>0.74199999999999999</c:v>
                </c:pt>
                <c:pt idx="743">
                  <c:v>0.74299999999999999</c:v>
                </c:pt>
                <c:pt idx="744">
                  <c:v>0.74399999999999999</c:v>
                </c:pt>
                <c:pt idx="745">
                  <c:v>0.745</c:v>
                </c:pt>
                <c:pt idx="746">
                  <c:v>0.746</c:v>
                </c:pt>
                <c:pt idx="747">
                  <c:v>0.747</c:v>
                </c:pt>
                <c:pt idx="748">
                  <c:v>0.748</c:v>
                </c:pt>
                <c:pt idx="749">
                  <c:v>0.749</c:v>
                </c:pt>
                <c:pt idx="750">
                  <c:v>0.75</c:v>
                </c:pt>
                <c:pt idx="751">
                  <c:v>0.751</c:v>
                </c:pt>
                <c:pt idx="752">
                  <c:v>0.752</c:v>
                </c:pt>
                <c:pt idx="753">
                  <c:v>0.753</c:v>
                </c:pt>
                <c:pt idx="754">
                  <c:v>0.754</c:v>
                </c:pt>
                <c:pt idx="755">
                  <c:v>0.755</c:v>
                </c:pt>
                <c:pt idx="756">
                  <c:v>0.75600000000000001</c:v>
                </c:pt>
                <c:pt idx="757">
                  <c:v>0.75700000000000001</c:v>
                </c:pt>
                <c:pt idx="758">
                  <c:v>0.75800000000000001</c:v>
                </c:pt>
                <c:pt idx="759">
                  <c:v>0.75900000000000001</c:v>
                </c:pt>
                <c:pt idx="760">
                  <c:v>0.76</c:v>
                </c:pt>
                <c:pt idx="761">
                  <c:v>0.76100000000000001</c:v>
                </c:pt>
                <c:pt idx="762">
                  <c:v>0.76200000000000001</c:v>
                </c:pt>
                <c:pt idx="763">
                  <c:v>0.76300000000000001</c:v>
                </c:pt>
                <c:pt idx="764">
                  <c:v>0.76400000000000001</c:v>
                </c:pt>
                <c:pt idx="765">
                  <c:v>0.76500000000000001</c:v>
                </c:pt>
                <c:pt idx="766">
                  <c:v>0.76600000000000001</c:v>
                </c:pt>
                <c:pt idx="767">
                  <c:v>0.76700000000000002</c:v>
                </c:pt>
                <c:pt idx="768">
                  <c:v>0.76800000000000002</c:v>
                </c:pt>
                <c:pt idx="769">
                  <c:v>0.76900000000000002</c:v>
                </c:pt>
                <c:pt idx="770">
                  <c:v>0.77</c:v>
                </c:pt>
                <c:pt idx="771">
                  <c:v>0.77100000000000002</c:v>
                </c:pt>
                <c:pt idx="772">
                  <c:v>0.77200000000000002</c:v>
                </c:pt>
                <c:pt idx="773">
                  <c:v>0.77300000000000002</c:v>
                </c:pt>
                <c:pt idx="774">
                  <c:v>0.77400000000000002</c:v>
                </c:pt>
                <c:pt idx="775">
                  <c:v>0.77500000000000002</c:v>
                </c:pt>
                <c:pt idx="776">
                  <c:v>0.77600000000000002</c:v>
                </c:pt>
                <c:pt idx="777">
                  <c:v>0.77700000000000002</c:v>
                </c:pt>
                <c:pt idx="778">
                  <c:v>0.77800000000000002</c:v>
                </c:pt>
                <c:pt idx="779">
                  <c:v>0.77900000000000003</c:v>
                </c:pt>
                <c:pt idx="780">
                  <c:v>0.78</c:v>
                </c:pt>
                <c:pt idx="781">
                  <c:v>0.78100000000000003</c:v>
                </c:pt>
                <c:pt idx="782">
                  <c:v>0.78200000000000003</c:v>
                </c:pt>
                <c:pt idx="783">
                  <c:v>0.78300000000000003</c:v>
                </c:pt>
                <c:pt idx="784">
                  <c:v>0.78400000000000003</c:v>
                </c:pt>
                <c:pt idx="785">
                  <c:v>0.78500000000000003</c:v>
                </c:pt>
                <c:pt idx="786">
                  <c:v>0.78600000000000003</c:v>
                </c:pt>
                <c:pt idx="787">
                  <c:v>0.78700000000000003</c:v>
                </c:pt>
                <c:pt idx="788">
                  <c:v>0.78800000000000003</c:v>
                </c:pt>
                <c:pt idx="789">
                  <c:v>0.78900000000000003</c:v>
                </c:pt>
                <c:pt idx="790">
                  <c:v>0.79</c:v>
                </c:pt>
                <c:pt idx="791">
                  <c:v>0.79100000000000004</c:v>
                </c:pt>
                <c:pt idx="792">
                  <c:v>0.79200000000000004</c:v>
                </c:pt>
                <c:pt idx="793">
                  <c:v>0.79300000000000004</c:v>
                </c:pt>
                <c:pt idx="794">
                  <c:v>0.79400000000000004</c:v>
                </c:pt>
                <c:pt idx="795">
                  <c:v>0.79500000000000004</c:v>
                </c:pt>
                <c:pt idx="796">
                  <c:v>0.79600000000000004</c:v>
                </c:pt>
                <c:pt idx="797">
                  <c:v>0.79700000000000004</c:v>
                </c:pt>
                <c:pt idx="798">
                  <c:v>0.79800000000000004</c:v>
                </c:pt>
                <c:pt idx="799">
                  <c:v>0.79900000000000004</c:v>
                </c:pt>
                <c:pt idx="800">
                  <c:v>0.8</c:v>
                </c:pt>
                <c:pt idx="801">
                  <c:v>0.80100000000000005</c:v>
                </c:pt>
                <c:pt idx="802">
                  <c:v>0.80200000000000005</c:v>
                </c:pt>
                <c:pt idx="803">
                  <c:v>0.80300000000000005</c:v>
                </c:pt>
                <c:pt idx="804">
                  <c:v>0.80400000000000005</c:v>
                </c:pt>
                <c:pt idx="805">
                  <c:v>0.80500000000000005</c:v>
                </c:pt>
                <c:pt idx="806">
                  <c:v>0.80600000000000005</c:v>
                </c:pt>
                <c:pt idx="807">
                  <c:v>0.80700000000000005</c:v>
                </c:pt>
                <c:pt idx="808">
                  <c:v>0.80800000000000005</c:v>
                </c:pt>
                <c:pt idx="809">
                  <c:v>0.80900000000000005</c:v>
                </c:pt>
                <c:pt idx="810">
                  <c:v>0.81</c:v>
                </c:pt>
                <c:pt idx="811">
                  <c:v>0.81100000000000005</c:v>
                </c:pt>
                <c:pt idx="812">
                  <c:v>0.81200000000000006</c:v>
                </c:pt>
                <c:pt idx="813">
                  <c:v>0.81299999999999994</c:v>
                </c:pt>
                <c:pt idx="814">
                  <c:v>0.81399999999999995</c:v>
                </c:pt>
                <c:pt idx="815">
                  <c:v>0.81499999999999995</c:v>
                </c:pt>
                <c:pt idx="816">
                  <c:v>0.81599999999999995</c:v>
                </c:pt>
                <c:pt idx="817">
                  <c:v>0.81699999999999995</c:v>
                </c:pt>
                <c:pt idx="818">
                  <c:v>0.81799999999999995</c:v>
                </c:pt>
                <c:pt idx="819">
                  <c:v>0.81899999999999995</c:v>
                </c:pt>
                <c:pt idx="820">
                  <c:v>0.82</c:v>
                </c:pt>
                <c:pt idx="821">
                  <c:v>0.82099999999999995</c:v>
                </c:pt>
                <c:pt idx="822">
                  <c:v>0.82199999999999995</c:v>
                </c:pt>
                <c:pt idx="823">
                  <c:v>0.82299999999999995</c:v>
                </c:pt>
                <c:pt idx="824">
                  <c:v>0.82399999999999995</c:v>
                </c:pt>
                <c:pt idx="825">
                  <c:v>0.82499999999999996</c:v>
                </c:pt>
                <c:pt idx="826">
                  <c:v>0.82599999999999996</c:v>
                </c:pt>
                <c:pt idx="827">
                  <c:v>0.82699999999999996</c:v>
                </c:pt>
                <c:pt idx="828">
                  <c:v>0.82799999999999996</c:v>
                </c:pt>
                <c:pt idx="829">
                  <c:v>0.82899999999999996</c:v>
                </c:pt>
                <c:pt idx="830">
                  <c:v>0.83</c:v>
                </c:pt>
                <c:pt idx="831">
                  <c:v>0.83099999999999996</c:v>
                </c:pt>
                <c:pt idx="832">
                  <c:v>0.83199999999999996</c:v>
                </c:pt>
                <c:pt idx="833">
                  <c:v>0.83299999999999996</c:v>
                </c:pt>
                <c:pt idx="834">
                  <c:v>0.83399999999999996</c:v>
                </c:pt>
                <c:pt idx="835">
                  <c:v>0.83499999999999996</c:v>
                </c:pt>
                <c:pt idx="836">
                  <c:v>0.83599999999999997</c:v>
                </c:pt>
                <c:pt idx="837">
                  <c:v>0.83699999999999997</c:v>
                </c:pt>
                <c:pt idx="838">
                  <c:v>0.83799999999999997</c:v>
                </c:pt>
                <c:pt idx="839">
                  <c:v>0.83899999999999997</c:v>
                </c:pt>
                <c:pt idx="840">
                  <c:v>0.84</c:v>
                </c:pt>
                <c:pt idx="841">
                  <c:v>0.84099999999999997</c:v>
                </c:pt>
                <c:pt idx="842">
                  <c:v>0.84199999999999997</c:v>
                </c:pt>
                <c:pt idx="843">
                  <c:v>0.84299999999999997</c:v>
                </c:pt>
                <c:pt idx="844">
                  <c:v>0.84399999999999997</c:v>
                </c:pt>
                <c:pt idx="845">
                  <c:v>0.84499999999999997</c:v>
                </c:pt>
                <c:pt idx="846">
                  <c:v>0.84599999999999997</c:v>
                </c:pt>
                <c:pt idx="847">
                  <c:v>0.84699999999999998</c:v>
                </c:pt>
                <c:pt idx="848">
                  <c:v>0.84799999999999998</c:v>
                </c:pt>
                <c:pt idx="849">
                  <c:v>0.84899999999999998</c:v>
                </c:pt>
                <c:pt idx="850">
                  <c:v>0.85</c:v>
                </c:pt>
                <c:pt idx="851">
                  <c:v>0.85099999999999998</c:v>
                </c:pt>
                <c:pt idx="852">
                  <c:v>0.85199999999999998</c:v>
                </c:pt>
                <c:pt idx="853">
                  <c:v>0.85299999999999998</c:v>
                </c:pt>
                <c:pt idx="854">
                  <c:v>0.85399999999999998</c:v>
                </c:pt>
                <c:pt idx="855">
                  <c:v>0.85499999999999998</c:v>
                </c:pt>
                <c:pt idx="856">
                  <c:v>0.85599999999999998</c:v>
                </c:pt>
                <c:pt idx="857">
                  <c:v>0.85699999999999998</c:v>
                </c:pt>
                <c:pt idx="858">
                  <c:v>0.85799999999999998</c:v>
                </c:pt>
                <c:pt idx="859">
                  <c:v>0.85899999999999999</c:v>
                </c:pt>
                <c:pt idx="860">
                  <c:v>0.86</c:v>
                </c:pt>
                <c:pt idx="861">
                  <c:v>0.86099999999999999</c:v>
                </c:pt>
                <c:pt idx="862">
                  <c:v>0.86199999999999999</c:v>
                </c:pt>
                <c:pt idx="863">
                  <c:v>0.86299999999999999</c:v>
                </c:pt>
                <c:pt idx="864">
                  <c:v>0.86399999999999999</c:v>
                </c:pt>
                <c:pt idx="865">
                  <c:v>0.86499999999999999</c:v>
                </c:pt>
                <c:pt idx="866">
                  <c:v>0.86599999999999999</c:v>
                </c:pt>
                <c:pt idx="867">
                  <c:v>0.86699999999999999</c:v>
                </c:pt>
                <c:pt idx="868">
                  <c:v>0.86799999999999999</c:v>
                </c:pt>
                <c:pt idx="869">
                  <c:v>0.86899999999999999</c:v>
                </c:pt>
                <c:pt idx="870">
                  <c:v>0.87</c:v>
                </c:pt>
                <c:pt idx="871">
                  <c:v>0.871</c:v>
                </c:pt>
                <c:pt idx="872">
                  <c:v>0.872</c:v>
                </c:pt>
                <c:pt idx="873">
                  <c:v>0.873</c:v>
                </c:pt>
                <c:pt idx="874">
                  <c:v>0.874</c:v>
                </c:pt>
                <c:pt idx="875">
                  <c:v>0.875</c:v>
                </c:pt>
                <c:pt idx="876">
                  <c:v>0.876</c:v>
                </c:pt>
                <c:pt idx="877">
                  <c:v>0.877</c:v>
                </c:pt>
                <c:pt idx="878">
                  <c:v>0.878</c:v>
                </c:pt>
                <c:pt idx="879">
                  <c:v>0.879</c:v>
                </c:pt>
                <c:pt idx="880">
                  <c:v>0.88</c:v>
                </c:pt>
                <c:pt idx="881">
                  <c:v>0.88100000000000001</c:v>
                </c:pt>
                <c:pt idx="882">
                  <c:v>0.88200000000000001</c:v>
                </c:pt>
                <c:pt idx="883">
                  <c:v>0.88300000000000001</c:v>
                </c:pt>
                <c:pt idx="884">
                  <c:v>0.88400000000000001</c:v>
                </c:pt>
                <c:pt idx="885">
                  <c:v>0.88500000000000001</c:v>
                </c:pt>
                <c:pt idx="886">
                  <c:v>0.88600000000000001</c:v>
                </c:pt>
                <c:pt idx="887">
                  <c:v>0.88700000000000001</c:v>
                </c:pt>
                <c:pt idx="888">
                  <c:v>0.88800000000000001</c:v>
                </c:pt>
                <c:pt idx="889">
                  <c:v>0.88900000000000001</c:v>
                </c:pt>
                <c:pt idx="890">
                  <c:v>0.89</c:v>
                </c:pt>
                <c:pt idx="891">
                  <c:v>0.89100000000000001</c:v>
                </c:pt>
                <c:pt idx="892">
                  <c:v>0.89200000000000002</c:v>
                </c:pt>
                <c:pt idx="893">
                  <c:v>0.89300000000000002</c:v>
                </c:pt>
                <c:pt idx="894">
                  <c:v>0.89400000000000002</c:v>
                </c:pt>
                <c:pt idx="895">
                  <c:v>0.89500000000000002</c:v>
                </c:pt>
                <c:pt idx="896">
                  <c:v>0.89600000000000002</c:v>
                </c:pt>
                <c:pt idx="897">
                  <c:v>0.89700000000000002</c:v>
                </c:pt>
                <c:pt idx="898">
                  <c:v>0.89800000000000002</c:v>
                </c:pt>
                <c:pt idx="899">
                  <c:v>0.89900000000000002</c:v>
                </c:pt>
                <c:pt idx="900">
                  <c:v>0.9</c:v>
                </c:pt>
                <c:pt idx="901">
                  <c:v>0.90100000000000002</c:v>
                </c:pt>
                <c:pt idx="902">
                  <c:v>0.90200000000000002</c:v>
                </c:pt>
                <c:pt idx="903">
                  <c:v>0.90300000000000002</c:v>
                </c:pt>
                <c:pt idx="904">
                  <c:v>0.90400000000000003</c:v>
                </c:pt>
                <c:pt idx="905">
                  <c:v>0.90500000000000003</c:v>
                </c:pt>
                <c:pt idx="906">
                  <c:v>0.90600000000000003</c:v>
                </c:pt>
                <c:pt idx="907">
                  <c:v>0.90700000000000003</c:v>
                </c:pt>
                <c:pt idx="908">
                  <c:v>0.90800000000000003</c:v>
                </c:pt>
                <c:pt idx="909">
                  <c:v>0.90900000000000003</c:v>
                </c:pt>
                <c:pt idx="910">
                  <c:v>0.91</c:v>
                </c:pt>
                <c:pt idx="911">
                  <c:v>0.91100000000000003</c:v>
                </c:pt>
                <c:pt idx="912">
                  <c:v>0.91200000000000003</c:v>
                </c:pt>
                <c:pt idx="913">
                  <c:v>0.91300000000000003</c:v>
                </c:pt>
                <c:pt idx="914">
                  <c:v>0.91400000000000003</c:v>
                </c:pt>
                <c:pt idx="915">
                  <c:v>0.91500000000000004</c:v>
                </c:pt>
                <c:pt idx="916">
                  <c:v>0.91600000000000004</c:v>
                </c:pt>
                <c:pt idx="917">
                  <c:v>0.91700000000000004</c:v>
                </c:pt>
                <c:pt idx="918">
                  <c:v>0.91800000000000004</c:v>
                </c:pt>
                <c:pt idx="919">
                  <c:v>0.91900000000000004</c:v>
                </c:pt>
                <c:pt idx="920">
                  <c:v>0.92</c:v>
                </c:pt>
                <c:pt idx="921">
                  <c:v>0.92100000000000004</c:v>
                </c:pt>
                <c:pt idx="922">
                  <c:v>0.92200000000000004</c:v>
                </c:pt>
                <c:pt idx="923">
                  <c:v>0.92300000000000004</c:v>
                </c:pt>
                <c:pt idx="924">
                  <c:v>0.92400000000000004</c:v>
                </c:pt>
                <c:pt idx="925">
                  <c:v>0.92500000000000004</c:v>
                </c:pt>
                <c:pt idx="926">
                  <c:v>0.92600000000000005</c:v>
                </c:pt>
                <c:pt idx="927">
                  <c:v>0.92700000000000005</c:v>
                </c:pt>
                <c:pt idx="928">
                  <c:v>0.92800000000000005</c:v>
                </c:pt>
                <c:pt idx="929">
                  <c:v>0.92900000000000005</c:v>
                </c:pt>
                <c:pt idx="930">
                  <c:v>0.93</c:v>
                </c:pt>
                <c:pt idx="931">
                  <c:v>0.93100000000000005</c:v>
                </c:pt>
                <c:pt idx="932">
                  <c:v>0.93200000000000005</c:v>
                </c:pt>
                <c:pt idx="933">
                  <c:v>0.93300000000000005</c:v>
                </c:pt>
                <c:pt idx="934">
                  <c:v>0.93400000000000005</c:v>
                </c:pt>
                <c:pt idx="935">
                  <c:v>0.93500000000000005</c:v>
                </c:pt>
                <c:pt idx="936">
                  <c:v>0.93600000000000005</c:v>
                </c:pt>
                <c:pt idx="937">
                  <c:v>0.93700000000000006</c:v>
                </c:pt>
                <c:pt idx="938">
                  <c:v>0.93799999999999994</c:v>
                </c:pt>
                <c:pt idx="939">
                  <c:v>0.93899999999999995</c:v>
                </c:pt>
                <c:pt idx="940">
                  <c:v>0.94</c:v>
                </c:pt>
                <c:pt idx="941">
                  <c:v>0.94099999999999995</c:v>
                </c:pt>
                <c:pt idx="942">
                  <c:v>0.94199999999999995</c:v>
                </c:pt>
                <c:pt idx="943">
                  <c:v>0.94299999999999995</c:v>
                </c:pt>
                <c:pt idx="944">
                  <c:v>0.94399999999999995</c:v>
                </c:pt>
                <c:pt idx="945">
                  <c:v>0.94499999999999995</c:v>
                </c:pt>
                <c:pt idx="946">
                  <c:v>0.94599999999999995</c:v>
                </c:pt>
                <c:pt idx="947">
                  <c:v>0.94699999999999995</c:v>
                </c:pt>
                <c:pt idx="948">
                  <c:v>0.94799999999999995</c:v>
                </c:pt>
                <c:pt idx="949">
                  <c:v>0.94899999999999995</c:v>
                </c:pt>
                <c:pt idx="950">
                  <c:v>0.95</c:v>
                </c:pt>
                <c:pt idx="951">
                  <c:v>0.95099999999999996</c:v>
                </c:pt>
                <c:pt idx="952">
                  <c:v>0.95199999999999996</c:v>
                </c:pt>
                <c:pt idx="953">
                  <c:v>0.95299999999999996</c:v>
                </c:pt>
                <c:pt idx="954">
                  <c:v>0.95399999999999996</c:v>
                </c:pt>
                <c:pt idx="955">
                  <c:v>0.95499999999999996</c:v>
                </c:pt>
                <c:pt idx="956">
                  <c:v>0.95599999999999996</c:v>
                </c:pt>
                <c:pt idx="957">
                  <c:v>0.95699999999999996</c:v>
                </c:pt>
                <c:pt idx="958">
                  <c:v>0.95799999999999996</c:v>
                </c:pt>
                <c:pt idx="959">
                  <c:v>0.95899999999999996</c:v>
                </c:pt>
                <c:pt idx="960">
                  <c:v>0.96</c:v>
                </c:pt>
                <c:pt idx="961">
                  <c:v>0.96099999999999997</c:v>
                </c:pt>
                <c:pt idx="962">
                  <c:v>0.96199999999999997</c:v>
                </c:pt>
                <c:pt idx="963">
                  <c:v>0.96299999999999997</c:v>
                </c:pt>
                <c:pt idx="964">
                  <c:v>0.96399999999999997</c:v>
                </c:pt>
                <c:pt idx="965">
                  <c:v>0.96499999999999997</c:v>
                </c:pt>
                <c:pt idx="966">
                  <c:v>0.96599999999999997</c:v>
                </c:pt>
                <c:pt idx="967">
                  <c:v>0.96699999999999997</c:v>
                </c:pt>
                <c:pt idx="968">
                  <c:v>0.96799999999999997</c:v>
                </c:pt>
                <c:pt idx="969">
                  <c:v>0.96899999999999997</c:v>
                </c:pt>
                <c:pt idx="970">
                  <c:v>0.97</c:v>
                </c:pt>
                <c:pt idx="971">
                  <c:v>0.97099999999999997</c:v>
                </c:pt>
                <c:pt idx="972">
                  <c:v>0.97199999999999998</c:v>
                </c:pt>
                <c:pt idx="973">
                  <c:v>0.97299999999999998</c:v>
                </c:pt>
                <c:pt idx="974">
                  <c:v>0.97399999999999998</c:v>
                </c:pt>
                <c:pt idx="975">
                  <c:v>0.97499999999999998</c:v>
                </c:pt>
                <c:pt idx="976">
                  <c:v>0.97599999999999998</c:v>
                </c:pt>
                <c:pt idx="977">
                  <c:v>0.97699999999999998</c:v>
                </c:pt>
                <c:pt idx="978">
                  <c:v>0.97799999999999998</c:v>
                </c:pt>
                <c:pt idx="979">
                  <c:v>0.97899999999999998</c:v>
                </c:pt>
                <c:pt idx="980">
                  <c:v>0.98</c:v>
                </c:pt>
                <c:pt idx="981">
                  <c:v>0.98099999999999998</c:v>
                </c:pt>
                <c:pt idx="982">
                  <c:v>0.98199999999999998</c:v>
                </c:pt>
                <c:pt idx="983">
                  <c:v>0.98299999999999998</c:v>
                </c:pt>
                <c:pt idx="984">
                  <c:v>0.98399999999999999</c:v>
                </c:pt>
                <c:pt idx="985">
                  <c:v>0.98499999999999999</c:v>
                </c:pt>
                <c:pt idx="986">
                  <c:v>0.98599999999999999</c:v>
                </c:pt>
                <c:pt idx="987">
                  <c:v>0.98699999999999999</c:v>
                </c:pt>
                <c:pt idx="988">
                  <c:v>0.98799999999999999</c:v>
                </c:pt>
                <c:pt idx="989">
                  <c:v>0.98899999999999999</c:v>
                </c:pt>
                <c:pt idx="990">
                  <c:v>0.99</c:v>
                </c:pt>
                <c:pt idx="991">
                  <c:v>0.99099999999999999</c:v>
                </c:pt>
                <c:pt idx="992">
                  <c:v>0.99199999999999999</c:v>
                </c:pt>
                <c:pt idx="993">
                  <c:v>0.99299999999999999</c:v>
                </c:pt>
                <c:pt idx="994">
                  <c:v>0.99399999999999999</c:v>
                </c:pt>
                <c:pt idx="995">
                  <c:v>0.995</c:v>
                </c:pt>
                <c:pt idx="996">
                  <c:v>0.996</c:v>
                </c:pt>
                <c:pt idx="997">
                  <c:v>0.997</c:v>
                </c:pt>
                <c:pt idx="998">
                  <c:v>0.998</c:v>
                </c:pt>
                <c:pt idx="999">
                  <c:v>0.999</c:v>
                </c:pt>
                <c:pt idx="1000">
                  <c:v>1</c:v>
                </c:pt>
                <c:pt idx="1001">
                  <c:v>1.0009999999999999</c:v>
                </c:pt>
                <c:pt idx="1002">
                  <c:v>1.002</c:v>
                </c:pt>
                <c:pt idx="1003">
                  <c:v>1.0029999999999999</c:v>
                </c:pt>
                <c:pt idx="1004">
                  <c:v>1.004</c:v>
                </c:pt>
                <c:pt idx="1005">
                  <c:v>1.0049999999999999</c:v>
                </c:pt>
                <c:pt idx="1006">
                  <c:v>1.006</c:v>
                </c:pt>
                <c:pt idx="1007">
                  <c:v>1.0069999999999999</c:v>
                </c:pt>
                <c:pt idx="1008">
                  <c:v>1.008</c:v>
                </c:pt>
                <c:pt idx="1009">
                  <c:v>1.0089999999999999</c:v>
                </c:pt>
                <c:pt idx="1010">
                  <c:v>1.01</c:v>
                </c:pt>
                <c:pt idx="1011">
                  <c:v>1.0109999999999999</c:v>
                </c:pt>
                <c:pt idx="1012">
                  <c:v>1.012</c:v>
                </c:pt>
                <c:pt idx="1013">
                  <c:v>1.0129999999999999</c:v>
                </c:pt>
                <c:pt idx="1014">
                  <c:v>1.014</c:v>
                </c:pt>
                <c:pt idx="1015">
                  <c:v>1.0149999999999999</c:v>
                </c:pt>
                <c:pt idx="1016">
                  <c:v>1.016</c:v>
                </c:pt>
                <c:pt idx="1017">
                  <c:v>1.0169999999999999</c:v>
                </c:pt>
                <c:pt idx="1018">
                  <c:v>1.018</c:v>
                </c:pt>
                <c:pt idx="1019">
                  <c:v>1.0189999999999999</c:v>
                </c:pt>
                <c:pt idx="1020">
                  <c:v>1.02</c:v>
                </c:pt>
                <c:pt idx="1021">
                  <c:v>1.0209999999999999</c:v>
                </c:pt>
                <c:pt idx="1022">
                  <c:v>1.022</c:v>
                </c:pt>
                <c:pt idx="1023">
                  <c:v>1.0229999999999999</c:v>
                </c:pt>
                <c:pt idx="1024">
                  <c:v>1.024</c:v>
                </c:pt>
                <c:pt idx="1025">
                  <c:v>1.0249999999999999</c:v>
                </c:pt>
                <c:pt idx="1026">
                  <c:v>1.026</c:v>
                </c:pt>
                <c:pt idx="1027">
                  <c:v>1.0269999999999999</c:v>
                </c:pt>
                <c:pt idx="1028">
                  <c:v>1.028</c:v>
                </c:pt>
                <c:pt idx="1029">
                  <c:v>1.0289999999999999</c:v>
                </c:pt>
                <c:pt idx="1030">
                  <c:v>1.03</c:v>
                </c:pt>
                <c:pt idx="1031">
                  <c:v>1.0309999999999999</c:v>
                </c:pt>
                <c:pt idx="1032">
                  <c:v>1.032</c:v>
                </c:pt>
                <c:pt idx="1033">
                  <c:v>1.0329999999999999</c:v>
                </c:pt>
                <c:pt idx="1034">
                  <c:v>1.034</c:v>
                </c:pt>
                <c:pt idx="1035">
                  <c:v>1.0349999999999999</c:v>
                </c:pt>
                <c:pt idx="1036">
                  <c:v>1.036</c:v>
                </c:pt>
                <c:pt idx="1037">
                  <c:v>1.0369999999999999</c:v>
                </c:pt>
                <c:pt idx="1038">
                  <c:v>1.038</c:v>
                </c:pt>
                <c:pt idx="1039">
                  <c:v>1.0389999999999999</c:v>
                </c:pt>
                <c:pt idx="1040">
                  <c:v>1.04</c:v>
                </c:pt>
                <c:pt idx="1041">
                  <c:v>1.0409999999999999</c:v>
                </c:pt>
                <c:pt idx="1042">
                  <c:v>1.042</c:v>
                </c:pt>
                <c:pt idx="1043">
                  <c:v>1.0429999999999999</c:v>
                </c:pt>
                <c:pt idx="1044">
                  <c:v>1.044</c:v>
                </c:pt>
                <c:pt idx="1045">
                  <c:v>1.0449999999999999</c:v>
                </c:pt>
                <c:pt idx="1046">
                  <c:v>1.046</c:v>
                </c:pt>
                <c:pt idx="1047">
                  <c:v>1.0469999999999999</c:v>
                </c:pt>
                <c:pt idx="1048">
                  <c:v>1.048</c:v>
                </c:pt>
                <c:pt idx="1049">
                  <c:v>1.0489999999999999</c:v>
                </c:pt>
                <c:pt idx="1050">
                  <c:v>1.05</c:v>
                </c:pt>
                <c:pt idx="1051">
                  <c:v>1.0509999999999999</c:v>
                </c:pt>
                <c:pt idx="1052">
                  <c:v>1.052</c:v>
                </c:pt>
                <c:pt idx="1053">
                  <c:v>1.0529999999999999</c:v>
                </c:pt>
                <c:pt idx="1054">
                  <c:v>1.054</c:v>
                </c:pt>
                <c:pt idx="1055">
                  <c:v>1.0549999999999999</c:v>
                </c:pt>
                <c:pt idx="1056">
                  <c:v>1.056</c:v>
                </c:pt>
                <c:pt idx="1057">
                  <c:v>1.0569999999999999</c:v>
                </c:pt>
                <c:pt idx="1058">
                  <c:v>1.0580000000000001</c:v>
                </c:pt>
                <c:pt idx="1059">
                  <c:v>1.0589999999999999</c:v>
                </c:pt>
                <c:pt idx="1060">
                  <c:v>1.06</c:v>
                </c:pt>
                <c:pt idx="1061">
                  <c:v>1.0609999999999999</c:v>
                </c:pt>
                <c:pt idx="1062">
                  <c:v>1.0620000000000001</c:v>
                </c:pt>
                <c:pt idx="1063">
                  <c:v>1.0629999999999999</c:v>
                </c:pt>
                <c:pt idx="1064">
                  <c:v>1.0640000000000001</c:v>
                </c:pt>
                <c:pt idx="1065">
                  <c:v>1.0649999999999999</c:v>
                </c:pt>
                <c:pt idx="1066">
                  <c:v>1.0660000000000001</c:v>
                </c:pt>
                <c:pt idx="1067">
                  <c:v>1.0669999999999999</c:v>
                </c:pt>
                <c:pt idx="1068">
                  <c:v>1.0680000000000001</c:v>
                </c:pt>
                <c:pt idx="1069">
                  <c:v>1.069</c:v>
                </c:pt>
                <c:pt idx="1070">
                  <c:v>1.07</c:v>
                </c:pt>
                <c:pt idx="1071">
                  <c:v>1.071</c:v>
                </c:pt>
                <c:pt idx="1072">
                  <c:v>1.0720000000000001</c:v>
                </c:pt>
                <c:pt idx="1073">
                  <c:v>1.073</c:v>
                </c:pt>
                <c:pt idx="1074">
                  <c:v>1.0740000000000001</c:v>
                </c:pt>
                <c:pt idx="1075">
                  <c:v>1.075</c:v>
                </c:pt>
                <c:pt idx="1076">
                  <c:v>1.0760000000000001</c:v>
                </c:pt>
                <c:pt idx="1077">
                  <c:v>1.077</c:v>
                </c:pt>
                <c:pt idx="1078">
                  <c:v>1.0780000000000001</c:v>
                </c:pt>
                <c:pt idx="1079">
                  <c:v>1.079</c:v>
                </c:pt>
                <c:pt idx="1080">
                  <c:v>1.08</c:v>
                </c:pt>
                <c:pt idx="1081">
                  <c:v>1.081</c:v>
                </c:pt>
                <c:pt idx="1082">
                  <c:v>1.0820000000000001</c:v>
                </c:pt>
                <c:pt idx="1083">
                  <c:v>1.083</c:v>
                </c:pt>
                <c:pt idx="1084">
                  <c:v>1.0840000000000001</c:v>
                </c:pt>
                <c:pt idx="1085">
                  <c:v>1.085</c:v>
                </c:pt>
                <c:pt idx="1086">
                  <c:v>1.0860000000000001</c:v>
                </c:pt>
                <c:pt idx="1087">
                  <c:v>1.087</c:v>
                </c:pt>
                <c:pt idx="1088">
                  <c:v>1.0880000000000001</c:v>
                </c:pt>
                <c:pt idx="1089">
                  <c:v>1.089</c:v>
                </c:pt>
                <c:pt idx="1090">
                  <c:v>1.0900000000000001</c:v>
                </c:pt>
                <c:pt idx="1091">
                  <c:v>1.091</c:v>
                </c:pt>
                <c:pt idx="1092">
                  <c:v>1.0920000000000001</c:v>
                </c:pt>
                <c:pt idx="1093">
                  <c:v>1.093</c:v>
                </c:pt>
                <c:pt idx="1094">
                  <c:v>1.0940000000000001</c:v>
                </c:pt>
                <c:pt idx="1095">
                  <c:v>1.095</c:v>
                </c:pt>
                <c:pt idx="1096">
                  <c:v>1.0960000000000001</c:v>
                </c:pt>
                <c:pt idx="1097">
                  <c:v>1.097</c:v>
                </c:pt>
                <c:pt idx="1098">
                  <c:v>1.0980000000000001</c:v>
                </c:pt>
                <c:pt idx="1099">
                  <c:v>1.099</c:v>
                </c:pt>
                <c:pt idx="1100">
                  <c:v>1.1000000000000001</c:v>
                </c:pt>
                <c:pt idx="1101">
                  <c:v>1.101</c:v>
                </c:pt>
                <c:pt idx="1102">
                  <c:v>1.1020000000000001</c:v>
                </c:pt>
                <c:pt idx="1103">
                  <c:v>1.103</c:v>
                </c:pt>
                <c:pt idx="1104">
                  <c:v>1.1040000000000001</c:v>
                </c:pt>
                <c:pt idx="1105">
                  <c:v>1.105</c:v>
                </c:pt>
                <c:pt idx="1106">
                  <c:v>1.1060000000000001</c:v>
                </c:pt>
                <c:pt idx="1107">
                  <c:v>1.107</c:v>
                </c:pt>
                <c:pt idx="1108">
                  <c:v>1.1080000000000001</c:v>
                </c:pt>
                <c:pt idx="1109">
                  <c:v>1.109</c:v>
                </c:pt>
                <c:pt idx="1110">
                  <c:v>1.1100000000000001</c:v>
                </c:pt>
                <c:pt idx="1111">
                  <c:v>1.111</c:v>
                </c:pt>
                <c:pt idx="1112">
                  <c:v>1.1120000000000001</c:v>
                </c:pt>
                <c:pt idx="1113">
                  <c:v>1.113</c:v>
                </c:pt>
                <c:pt idx="1114">
                  <c:v>1.1140000000000001</c:v>
                </c:pt>
                <c:pt idx="1115">
                  <c:v>1.115</c:v>
                </c:pt>
                <c:pt idx="1116">
                  <c:v>1.1160000000000001</c:v>
                </c:pt>
                <c:pt idx="1117">
                  <c:v>1.117</c:v>
                </c:pt>
                <c:pt idx="1118">
                  <c:v>1.1180000000000001</c:v>
                </c:pt>
                <c:pt idx="1119">
                  <c:v>1.119</c:v>
                </c:pt>
                <c:pt idx="1120">
                  <c:v>1.1200000000000001</c:v>
                </c:pt>
                <c:pt idx="1121">
                  <c:v>1.121</c:v>
                </c:pt>
                <c:pt idx="1122">
                  <c:v>1.1220000000000001</c:v>
                </c:pt>
                <c:pt idx="1123">
                  <c:v>1.123</c:v>
                </c:pt>
                <c:pt idx="1124">
                  <c:v>1.1240000000000001</c:v>
                </c:pt>
                <c:pt idx="1125">
                  <c:v>1.125</c:v>
                </c:pt>
                <c:pt idx="1126">
                  <c:v>1.1259999999999999</c:v>
                </c:pt>
                <c:pt idx="1127">
                  <c:v>1.127</c:v>
                </c:pt>
                <c:pt idx="1128">
                  <c:v>1.1279999999999999</c:v>
                </c:pt>
                <c:pt idx="1129">
                  <c:v>1.129</c:v>
                </c:pt>
                <c:pt idx="1130">
                  <c:v>1.1299999999999999</c:v>
                </c:pt>
                <c:pt idx="1131">
                  <c:v>1.131</c:v>
                </c:pt>
                <c:pt idx="1132">
                  <c:v>1.1319999999999999</c:v>
                </c:pt>
                <c:pt idx="1133">
                  <c:v>1.133</c:v>
                </c:pt>
                <c:pt idx="1134">
                  <c:v>1.1339999999999999</c:v>
                </c:pt>
                <c:pt idx="1135">
                  <c:v>1.135</c:v>
                </c:pt>
                <c:pt idx="1136">
                  <c:v>1.1359999999999999</c:v>
                </c:pt>
                <c:pt idx="1137">
                  <c:v>1.137</c:v>
                </c:pt>
                <c:pt idx="1138">
                  <c:v>1.1379999999999999</c:v>
                </c:pt>
                <c:pt idx="1139">
                  <c:v>1.139</c:v>
                </c:pt>
                <c:pt idx="1140">
                  <c:v>1.1399999999999999</c:v>
                </c:pt>
                <c:pt idx="1141">
                  <c:v>1.141</c:v>
                </c:pt>
                <c:pt idx="1142">
                  <c:v>1.1419999999999999</c:v>
                </c:pt>
                <c:pt idx="1143">
                  <c:v>1.143</c:v>
                </c:pt>
                <c:pt idx="1144">
                  <c:v>1.1439999999999999</c:v>
                </c:pt>
                <c:pt idx="1145">
                  <c:v>1.145</c:v>
                </c:pt>
                <c:pt idx="1146">
                  <c:v>1.1459999999999999</c:v>
                </c:pt>
                <c:pt idx="1147">
                  <c:v>1.147</c:v>
                </c:pt>
                <c:pt idx="1148">
                  <c:v>1.1479999999999999</c:v>
                </c:pt>
                <c:pt idx="1149">
                  <c:v>1.149</c:v>
                </c:pt>
                <c:pt idx="1150">
                  <c:v>1.1499999999999999</c:v>
                </c:pt>
                <c:pt idx="1151">
                  <c:v>1.151</c:v>
                </c:pt>
                <c:pt idx="1152">
                  <c:v>1.1519999999999999</c:v>
                </c:pt>
                <c:pt idx="1153">
                  <c:v>1.153</c:v>
                </c:pt>
                <c:pt idx="1154">
                  <c:v>1.1539999999999999</c:v>
                </c:pt>
                <c:pt idx="1155">
                  <c:v>1.155</c:v>
                </c:pt>
                <c:pt idx="1156">
                  <c:v>1.1559999999999999</c:v>
                </c:pt>
                <c:pt idx="1157">
                  <c:v>1.157</c:v>
                </c:pt>
                <c:pt idx="1158">
                  <c:v>1.1579999999999999</c:v>
                </c:pt>
                <c:pt idx="1159">
                  <c:v>1.159</c:v>
                </c:pt>
                <c:pt idx="1160">
                  <c:v>1.1599999999999999</c:v>
                </c:pt>
                <c:pt idx="1161">
                  <c:v>1.161</c:v>
                </c:pt>
                <c:pt idx="1162">
                  <c:v>1.1619999999999999</c:v>
                </c:pt>
                <c:pt idx="1163">
                  <c:v>1.163</c:v>
                </c:pt>
                <c:pt idx="1164">
                  <c:v>1.1639999999999999</c:v>
                </c:pt>
                <c:pt idx="1165">
                  <c:v>1.165</c:v>
                </c:pt>
                <c:pt idx="1166">
                  <c:v>1.1659999999999999</c:v>
                </c:pt>
                <c:pt idx="1167">
                  <c:v>1.167</c:v>
                </c:pt>
                <c:pt idx="1168">
                  <c:v>1.1679999999999999</c:v>
                </c:pt>
                <c:pt idx="1169">
                  <c:v>1.169</c:v>
                </c:pt>
                <c:pt idx="1170">
                  <c:v>1.17</c:v>
                </c:pt>
                <c:pt idx="1171">
                  <c:v>1.171</c:v>
                </c:pt>
                <c:pt idx="1172">
                  <c:v>1.1719999999999999</c:v>
                </c:pt>
                <c:pt idx="1173">
                  <c:v>1.173</c:v>
                </c:pt>
                <c:pt idx="1174">
                  <c:v>1.1739999999999999</c:v>
                </c:pt>
                <c:pt idx="1175">
                  <c:v>1.175</c:v>
                </c:pt>
                <c:pt idx="1176">
                  <c:v>1.1759999999999999</c:v>
                </c:pt>
                <c:pt idx="1177">
                  <c:v>1.177</c:v>
                </c:pt>
                <c:pt idx="1178">
                  <c:v>1.1779999999999999</c:v>
                </c:pt>
                <c:pt idx="1179">
                  <c:v>1.179</c:v>
                </c:pt>
                <c:pt idx="1180">
                  <c:v>1.18</c:v>
                </c:pt>
                <c:pt idx="1181">
                  <c:v>1.181</c:v>
                </c:pt>
                <c:pt idx="1182">
                  <c:v>1.1819999999999999</c:v>
                </c:pt>
                <c:pt idx="1183">
                  <c:v>1.1830000000000001</c:v>
                </c:pt>
                <c:pt idx="1184">
                  <c:v>1.1839999999999999</c:v>
                </c:pt>
                <c:pt idx="1185">
                  <c:v>1.1850000000000001</c:v>
                </c:pt>
                <c:pt idx="1186">
                  <c:v>1.1859999999999999</c:v>
                </c:pt>
                <c:pt idx="1187">
                  <c:v>1.1870000000000001</c:v>
                </c:pt>
                <c:pt idx="1188">
                  <c:v>1.1879999999999999</c:v>
                </c:pt>
                <c:pt idx="1189">
                  <c:v>1.1890000000000001</c:v>
                </c:pt>
                <c:pt idx="1190">
                  <c:v>1.19</c:v>
                </c:pt>
                <c:pt idx="1191">
                  <c:v>1.1910000000000001</c:v>
                </c:pt>
                <c:pt idx="1192">
                  <c:v>1.1919999999999999</c:v>
                </c:pt>
                <c:pt idx="1193">
                  <c:v>1.1930000000000001</c:v>
                </c:pt>
                <c:pt idx="1194">
                  <c:v>1.194</c:v>
                </c:pt>
                <c:pt idx="1195">
                  <c:v>1.1950000000000001</c:v>
                </c:pt>
                <c:pt idx="1196">
                  <c:v>1.196</c:v>
                </c:pt>
                <c:pt idx="1197">
                  <c:v>1.1970000000000001</c:v>
                </c:pt>
                <c:pt idx="1198">
                  <c:v>1.198</c:v>
                </c:pt>
                <c:pt idx="1199">
                  <c:v>1.1990000000000001</c:v>
                </c:pt>
                <c:pt idx="1200">
                  <c:v>1.2</c:v>
                </c:pt>
                <c:pt idx="1201">
                  <c:v>1.2010000000000001</c:v>
                </c:pt>
                <c:pt idx="1202">
                  <c:v>1.202</c:v>
                </c:pt>
                <c:pt idx="1203">
                  <c:v>1.2030000000000001</c:v>
                </c:pt>
                <c:pt idx="1204">
                  <c:v>1.204</c:v>
                </c:pt>
                <c:pt idx="1205">
                  <c:v>1.2050000000000001</c:v>
                </c:pt>
                <c:pt idx="1206">
                  <c:v>1.206</c:v>
                </c:pt>
                <c:pt idx="1207">
                  <c:v>1.2070000000000001</c:v>
                </c:pt>
                <c:pt idx="1208">
                  <c:v>1.208</c:v>
                </c:pt>
                <c:pt idx="1209">
                  <c:v>1.2090000000000001</c:v>
                </c:pt>
                <c:pt idx="1210">
                  <c:v>1.21</c:v>
                </c:pt>
                <c:pt idx="1211">
                  <c:v>1.2110000000000001</c:v>
                </c:pt>
                <c:pt idx="1212">
                  <c:v>1.212</c:v>
                </c:pt>
                <c:pt idx="1213">
                  <c:v>1.2130000000000001</c:v>
                </c:pt>
                <c:pt idx="1214">
                  <c:v>1.214</c:v>
                </c:pt>
                <c:pt idx="1215">
                  <c:v>1.2150000000000001</c:v>
                </c:pt>
                <c:pt idx="1216">
                  <c:v>1.216</c:v>
                </c:pt>
                <c:pt idx="1217">
                  <c:v>1.2170000000000001</c:v>
                </c:pt>
                <c:pt idx="1218">
                  <c:v>1.218</c:v>
                </c:pt>
                <c:pt idx="1219">
                  <c:v>1.2190000000000001</c:v>
                </c:pt>
                <c:pt idx="1220">
                  <c:v>1.22</c:v>
                </c:pt>
                <c:pt idx="1221">
                  <c:v>1.2210000000000001</c:v>
                </c:pt>
                <c:pt idx="1222">
                  <c:v>1.222</c:v>
                </c:pt>
                <c:pt idx="1223">
                  <c:v>1.2230000000000001</c:v>
                </c:pt>
                <c:pt idx="1224">
                  <c:v>1.224</c:v>
                </c:pt>
                <c:pt idx="1225">
                  <c:v>1.2250000000000001</c:v>
                </c:pt>
                <c:pt idx="1226">
                  <c:v>1.226</c:v>
                </c:pt>
                <c:pt idx="1227">
                  <c:v>1.2270000000000001</c:v>
                </c:pt>
                <c:pt idx="1228">
                  <c:v>1.228</c:v>
                </c:pt>
                <c:pt idx="1229">
                  <c:v>1.2290000000000001</c:v>
                </c:pt>
                <c:pt idx="1230">
                  <c:v>1.23</c:v>
                </c:pt>
                <c:pt idx="1231">
                  <c:v>1.2310000000000001</c:v>
                </c:pt>
                <c:pt idx="1232">
                  <c:v>1.232</c:v>
                </c:pt>
                <c:pt idx="1233">
                  <c:v>1.2330000000000001</c:v>
                </c:pt>
                <c:pt idx="1234">
                  <c:v>1.234</c:v>
                </c:pt>
                <c:pt idx="1235">
                  <c:v>1.2350000000000001</c:v>
                </c:pt>
                <c:pt idx="1236">
                  <c:v>1.236</c:v>
                </c:pt>
                <c:pt idx="1237">
                  <c:v>1.2370000000000001</c:v>
                </c:pt>
                <c:pt idx="1238">
                  <c:v>1.238</c:v>
                </c:pt>
                <c:pt idx="1239">
                  <c:v>1.2390000000000001</c:v>
                </c:pt>
                <c:pt idx="1240">
                  <c:v>1.24</c:v>
                </c:pt>
                <c:pt idx="1241">
                  <c:v>1.2410000000000001</c:v>
                </c:pt>
                <c:pt idx="1242">
                  <c:v>1.242</c:v>
                </c:pt>
                <c:pt idx="1243">
                  <c:v>1.2430000000000001</c:v>
                </c:pt>
                <c:pt idx="1244">
                  <c:v>1.244</c:v>
                </c:pt>
                <c:pt idx="1245">
                  <c:v>1.2450000000000001</c:v>
                </c:pt>
                <c:pt idx="1246">
                  <c:v>1.246</c:v>
                </c:pt>
                <c:pt idx="1247">
                  <c:v>1.2470000000000001</c:v>
                </c:pt>
                <c:pt idx="1248">
                  <c:v>1.248</c:v>
                </c:pt>
                <c:pt idx="1249">
                  <c:v>1.2490000000000001</c:v>
                </c:pt>
                <c:pt idx="1250">
                  <c:v>1.25</c:v>
                </c:pt>
                <c:pt idx="1251">
                  <c:v>1.2509999999999999</c:v>
                </c:pt>
                <c:pt idx="1252">
                  <c:v>1.252</c:v>
                </c:pt>
                <c:pt idx="1253">
                  <c:v>1.2529999999999999</c:v>
                </c:pt>
                <c:pt idx="1254">
                  <c:v>1.254</c:v>
                </c:pt>
                <c:pt idx="1255">
                  <c:v>1.2549999999999999</c:v>
                </c:pt>
                <c:pt idx="1256">
                  <c:v>1.256</c:v>
                </c:pt>
                <c:pt idx="1257">
                  <c:v>1.2569999999999999</c:v>
                </c:pt>
                <c:pt idx="1258">
                  <c:v>1.258</c:v>
                </c:pt>
                <c:pt idx="1259">
                  <c:v>1.2589999999999999</c:v>
                </c:pt>
                <c:pt idx="1260">
                  <c:v>1.26</c:v>
                </c:pt>
                <c:pt idx="1261">
                  <c:v>1.2609999999999999</c:v>
                </c:pt>
                <c:pt idx="1262">
                  <c:v>1.262</c:v>
                </c:pt>
                <c:pt idx="1263">
                  <c:v>1.2629999999999999</c:v>
                </c:pt>
                <c:pt idx="1264">
                  <c:v>1.264</c:v>
                </c:pt>
                <c:pt idx="1265">
                  <c:v>1.2649999999999999</c:v>
                </c:pt>
                <c:pt idx="1266">
                  <c:v>1.266</c:v>
                </c:pt>
                <c:pt idx="1267">
                  <c:v>1.2669999999999999</c:v>
                </c:pt>
                <c:pt idx="1268">
                  <c:v>1.268</c:v>
                </c:pt>
                <c:pt idx="1269">
                  <c:v>1.2689999999999999</c:v>
                </c:pt>
                <c:pt idx="1270">
                  <c:v>1.27</c:v>
                </c:pt>
                <c:pt idx="1271">
                  <c:v>1.2709999999999999</c:v>
                </c:pt>
                <c:pt idx="1272">
                  <c:v>1.272</c:v>
                </c:pt>
                <c:pt idx="1273">
                  <c:v>1.2729999999999999</c:v>
                </c:pt>
                <c:pt idx="1274">
                  <c:v>1.274</c:v>
                </c:pt>
                <c:pt idx="1275">
                  <c:v>1.2749999999999999</c:v>
                </c:pt>
                <c:pt idx="1276">
                  <c:v>1.276</c:v>
                </c:pt>
                <c:pt idx="1277">
                  <c:v>1.2769999999999999</c:v>
                </c:pt>
                <c:pt idx="1278">
                  <c:v>1.278</c:v>
                </c:pt>
                <c:pt idx="1279">
                  <c:v>1.2789999999999999</c:v>
                </c:pt>
                <c:pt idx="1280">
                  <c:v>1.28</c:v>
                </c:pt>
                <c:pt idx="1281">
                  <c:v>1.2809999999999999</c:v>
                </c:pt>
                <c:pt idx="1282">
                  <c:v>1.282</c:v>
                </c:pt>
                <c:pt idx="1283">
                  <c:v>1.2829999999999999</c:v>
                </c:pt>
                <c:pt idx="1284">
                  <c:v>1.284</c:v>
                </c:pt>
                <c:pt idx="1285">
                  <c:v>1.2849999999999999</c:v>
                </c:pt>
                <c:pt idx="1286">
                  <c:v>1.286</c:v>
                </c:pt>
                <c:pt idx="1287">
                  <c:v>1.2869999999999999</c:v>
                </c:pt>
                <c:pt idx="1288">
                  <c:v>1.288</c:v>
                </c:pt>
                <c:pt idx="1289">
                  <c:v>1.2889999999999999</c:v>
                </c:pt>
                <c:pt idx="1290">
                  <c:v>1.29</c:v>
                </c:pt>
                <c:pt idx="1291">
                  <c:v>1.2909999999999999</c:v>
                </c:pt>
                <c:pt idx="1292">
                  <c:v>1.292</c:v>
                </c:pt>
                <c:pt idx="1293">
                  <c:v>1.2929999999999999</c:v>
                </c:pt>
                <c:pt idx="1294">
                  <c:v>1.294</c:v>
                </c:pt>
                <c:pt idx="1295">
                  <c:v>1.2949999999999999</c:v>
                </c:pt>
                <c:pt idx="1296">
                  <c:v>1.296</c:v>
                </c:pt>
                <c:pt idx="1297">
                  <c:v>1.2969999999999999</c:v>
                </c:pt>
                <c:pt idx="1298">
                  <c:v>1.298</c:v>
                </c:pt>
                <c:pt idx="1299">
                  <c:v>1.2989999999999999</c:v>
                </c:pt>
                <c:pt idx="1300">
                  <c:v>1.3</c:v>
                </c:pt>
                <c:pt idx="1301">
                  <c:v>1.3009999999999999</c:v>
                </c:pt>
                <c:pt idx="1302">
                  <c:v>1.302</c:v>
                </c:pt>
                <c:pt idx="1303">
                  <c:v>1.3029999999999999</c:v>
                </c:pt>
                <c:pt idx="1304">
                  <c:v>1.304</c:v>
                </c:pt>
                <c:pt idx="1305">
                  <c:v>1.3049999999999999</c:v>
                </c:pt>
                <c:pt idx="1306">
                  <c:v>1.306</c:v>
                </c:pt>
                <c:pt idx="1307">
                  <c:v>1.3069999999999999</c:v>
                </c:pt>
                <c:pt idx="1308">
                  <c:v>1.3080000000000001</c:v>
                </c:pt>
                <c:pt idx="1309">
                  <c:v>1.3089999999999999</c:v>
                </c:pt>
                <c:pt idx="1310">
                  <c:v>1.31</c:v>
                </c:pt>
                <c:pt idx="1311">
                  <c:v>1.3109999999999999</c:v>
                </c:pt>
                <c:pt idx="1312">
                  <c:v>1.3120000000000001</c:v>
                </c:pt>
                <c:pt idx="1313">
                  <c:v>1.3129999999999999</c:v>
                </c:pt>
                <c:pt idx="1314">
                  <c:v>1.3140000000000001</c:v>
                </c:pt>
                <c:pt idx="1315">
                  <c:v>1.3149999999999999</c:v>
                </c:pt>
                <c:pt idx="1316">
                  <c:v>1.3160000000000001</c:v>
                </c:pt>
                <c:pt idx="1317">
                  <c:v>1.3169999999999999</c:v>
                </c:pt>
                <c:pt idx="1318">
                  <c:v>1.3180000000000001</c:v>
                </c:pt>
                <c:pt idx="1319">
                  <c:v>1.319</c:v>
                </c:pt>
                <c:pt idx="1320">
                  <c:v>1.32</c:v>
                </c:pt>
                <c:pt idx="1321">
                  <c:v>1.321</c:v>
                </c:pt>
                <c:pt idx="1322">
                  <c:v>1.3220000000000001</c:v>
                </c:pt>
                <c:pt idx="1323">
                  <c:v>1.323</c:v>
                </c:pt>
                <c:pt idx="1324">
                  <c:v>1.3240000000000001</c:v>
                </c:pt>
                <c:pt idx="1325">
                  <c:v>1.325</c:v>
                </c:pt>
                <c:pt idx="1326">
                  <c:v>1.3260000000000001</c:v>
                </c:pt>
                <c:pt idx="1327">
                  <c:v>1.327</c:v>
                </c:pt>
                <c:pt idx="1328">
                  <c:v>1.3280000000000001</c:v>
                </c:pt>
                <c:pt idx="1329">
                  <c:v>1.329</c:v>
                </c:pt>
                <c:pt idx="1330">
                  <c:v>1.33</c:v>
                </c:pt>
                <c:pt idx="1331">
                  <c:v>1.331</c:v>
                </c:pt>
                <c:pt idx="1332">
                  <c:v>1.3320000000000001</c:v>
                </c:pt>
                <c:pt idx="1333">
                  <c:v>1.333</c:v>
                </c:pt>
                <c:pt idx="1334">
                  <c:v>1.3340000000000001</c:v>
                </c:pt>
                <c:pt idx="1335">
                  <c:v>1.335</c:v>
                </c:pt>
                <c:pt idx="1336">
                  <c:v>1.3360000000000001</c:v>
                </c:pt>
                <c:pt idx="1337">
                  <c:v>1.337</c:v>
                </c:pt>
                <c:pt idx="1338">
                  <c:v>1.3380000000000001</c:v>
                </c:pt>
                <c:pt idx="1339">
                  <c:v>1.339</c:v>
                </c:pt>
                <c:pt idx="1340">
                  <c:v>1.34</c:v>
                </c:pt>
                <c:pt idx="1341">
                  <c:v>1.341</c:v>
                </c:pt>
                <c:pt idx="1342">
                  <c:v>1.3420000000000001</c:v>
                </c:pt>
                <c:pt idx="1343">
                  <c:v>1.343</c:v>
                </c:pt>
                <c:pt idx="1344">
                  <c:v>1.3440000000000001</c:v>
                </c:pt>
                <c:pt idx="1345">
                  <c:v>1.345</c:v>
                </c:pt>
                <c:pt idx="1346">
                  <c:v>1.3460000000000001</c:v>
                </c:pt>
                <c:pt idx="1347">
                  <c:v>1.347</c:v>
                </c:pt>
                <c:pt idx="1348">
                  <c:v>1.3480000000000001</c:v>
                </c:pt>
                <c:pt idx="1349">
                  <c:v>1.349</c:v>
                </c:pt>
                <c:pt idx="1350">
                  <c:v>1.35</c:v>
                </c:pt>
                <c:pt idx="1351">
                  <c:v>1.351</c:v>
                </c:pt>
                <c:pt idx="1352">
                  <c:v>1.3520000000000001</c:v>
                </c:pt>
                <c:pt idx="1353">
                  <c:v>1.353</c:v>
                </c:pt>
                <c:pt idx="1354">
                  <c:v>1.3540000000000001</c:v>
                </c:pt>
                <c:pt idx="1355">
                  <c:v>1.355</c:v>
                </c:pt>
                <c:pt idx="1356">
                  <c:v>1.3560000000000001</c:v>
                </c:pt>
                <c:pt idx="1357">
                  <c:v>1.357</c:v>
                </c:pt>
                <c:pt idx="1358">
                  <c:v>1.3580000000000001</c:v>
                </c:pt>
                <c:pt idx="1359">
                  <c:v>1.359</c:v>
                </c:pt>
                <c:pt idx="1360">
                  <c:v>1.36</c:v>
                </c:pt>
                <c:pt idx="1361">
                  <c:v>1.361</c:v>
                </c:pt>
                <c:pt idx="1362">
                  <c:v>1.3620000000000001</c:v>
                </c:pt>
                <c:pt idx="1363">
                  <c:v>1.363</c:v>
                </c:pt>
                <c:pt idx="1364">
                  <c:v>1.3640000000000001</c:v>
                </c:pt>
                <c:pt idx="1365">
                  <c:v>1.365</c:v>
                </c:pt>
                <c:pt idx="1366">
                  <c:v>1.3660000000000001</c:v>
                </c:pt>
                <c:pt idx="1367">
                  <c:v>1.367</c:v>
                </c:pt>
                <c:pt idx="1368">
                  <c:v>1.3680000000000001</c:v>
                </c:pt>
                <c:pt idx="1369">
                  <c:v>1.369</c:v>
                </c:pt>
                <c:pt idx="1370">
                  <c:v>1.37</c:v>
                </c:pt>
                <c:pt idx="1371">
                  <c:v>1.371</c:v>
                </c:pt>
                <c:pt idx="1372">
                  <c:v>1.3720000000000001</c:v>
                </c:pt>
                <c:pt idx="1373">
                  <c:v>1.373</c:v>
                </c:pt>
                <c:pt idx="1374">
                  <c:v>1.3740000000000001</c:v>
                </c:pt>
                <c:pt idx="1375">
                  <c:v>1.375</c:v>
                </c:pt>
                <c:pt idx="1376">
                  <c:v>1.3759999999999999</c:v>
                </c:pt>
                <c:pt idx="1377">
                  <c:v>1.377</c:v>
                </c:pt>
                <c:pt idx="1378">
                  <c:v>1.3779999999999999</c:v>
                </c:pt>
                <c:pt idx="1379">
                  <c:v>1.379</c:v>
                </c:pt>
                <c:pt idx="1380">
                  <c:v>1.38</c:v>
                </c:pt>
                <c:pt idx="1381">
                  <c:v>1.381</c:v>
                </c:pt>
                <c:pt idx="1382">
                  <c:v>1.3819999999999999</c:v>
                </c:pt>
                <c:pt idx="1383">
                  <c:v>1.383</c:v>
                </c:pt>
                <c:pt idx="1384">
                  <c:v>1.3839999999999999</c:v>
                </c:pt>
                <c:pt idx="1385">
                  <c:v>1.385</c:v>
                </c:pt>
                <c:pt idx="1386">
                  <c:v>1.3859999999999999</c:v>
                </c:pt>
                <c:pt idx="1387">
                  <c:v>1.387</c:v>
                </c:pt>
                <c:pt idx="1388">
                  <c:v>1.3879999999999999</c:v>
                </c:pt>
                <c:pt idx="1389">
                  <c:v>1.389</c:v>
                </c:pt>
                <c:pt idx="1390">
                  <c:v>1.39</c:v>
                </c:pt>
                <c:pt idx="1391">
                  <c:v>1.391</c:v>
                </c:pt>
                <c:pt idx="1392">
                  <c:v>1.3919999999999999</c:v>
                </c:pt>
                <c:pt idx="1393">
                  <c:v>1.393</c:v>
                </c:pt>
                <c:pt idx="1394">
                  <c:v>1.3939999999999999</c:v>
                </c:pt>
                <c:pt idx="1395">
                  <c:v>1.395</c:v>
                </c:pt>
                <c:pt idx="1396">
                  <c:v>1.3959999999999999</c:v>
                </c:pt>
                <c:pt idx="1397">
                  <c:v>1.397</c:v>
                </c:pt>
                <c:pt idx="1398">
                  <c:v>1.3979999999999999</c:v>
                </c:pt>
                <c:pt idx="1399">
                  <c:v>1.399</c:v>
                </c:pt>
                <c:pt idx="1400">
                  <c:v>1.4</c:v>
                </c:pt>
                <c:pt idx="1401">
                  <c:v>1.401</c:v>
                </c:pt>
                <c:pt idx="1402">
                  <c:v>1.4019999999999999</c:v>
                </c:pt>
                <c:pt idx="1403">
                  <c:v>1.403</c:v>
                </c:pt>
                <c:pt idx="1404">
                  <c:v>1.4039999999999999</c:v>
                </c:pt>
                <c:pt idx="1405">
                  <c:v>1.405</c:v>
                </c:pt>
                <c:pt idx="1406">
                  <c:v>1.4059999999999999</c:v>
                </c:pt>
                <c:pt idx="1407">
                  <c:v>1.407</c:v>
                </c:pt>
                <c:pt idx="1408">
                  <c:v>1.4079999999999999</c:v>
                </c:pt>
                <c:pt idx="1409">
                  <c:v>1.409</c:v>
                </c:pt>
                <c:pt idx="1410">
                  <c:v>1.41</c:v>
                </c:pt>
                <c:pt idx="1411">
                  <c:v>1.411</c:v>
                </c:pt>
                <c:pt idx="1412">
                  <c:v>1.4119999999999999</c:v>
                </c:pt>
                <c:pt idx="1413">
                  <c:v>1.413</c:v>
                </c:pt>
                <c:pt idx="1414">
                  <c:v>1.4139999999999999</c:v>
                </c:pt>
                <c:pt idx="1415">
                  <c:v>1.415</c:v>
                </c:pt>
                <c:pt idx="1416">
                  <c:v>1.4159999999999999</c:v>
                </c:pt>
                <c:pt idx="1417">
                  <c:v>1.417</c:v>
                </c:pt>
                <c:pt idx="1418">
                  <c:v>1.4179999999999999</c:v>
                </c:pt>
                <c:pt idx="1419">
                  <c:v>1.419</c:v>
                </c:pt>
                <c:pt idx="1420">
                  <c:v>1.42</c:v>
                </c:pt>
                <c:pt idx="1421">
                  <c:v>1.421</c:v>
                </c:pt>
                <c:pt idx="1422">
                  <c:v>1.4219999999999999</c:v>
                </c:pt>
                <c:pt idx="1423">
                  <c:v>1.423</c:v>
                </c:pt>
                <c:pt idx="1424">
                  <c:v>1.4239999999999999</c:v>
                </c:pt>
                <c:pt idx="1425">
                  <c:v>1.425</c:v>
                </c:pt>
                <c:pt idx="1426">
                  <c:v>1.4259999999999999</c:v>
                </c:pt>
                <c:pt idx="1427">
                  <c:v>1.427</c:v>
                </c:pt>
                <c:pt idx="1428">
                  <c:v>1.4279999999999999</c:v>
                </c:pt>
                <c:pt idx="1429">
                  <c:v>1.429</c:v>
                </c:pt>
                <c:pt idx="1430">
                  <c:v>1.43</c:v>
                </c:pt>
                <c:pt idx="1431">
                  <c:v>1.431</c:v>
                </c:pt>
                <c:pt idx="1432">
                  <c:v>1.4319999999999999</c:v>
                </c:pt>
                <c:pt idx="1433">
                  <c:v>1.4330000000000001</c:v>
                </c:pt>
                <c:pt idx="1434">
                  <c:v>1.4339999999999999</c:v>
                </c:pt>
                <c:pt idx="1435">
                  <c:v>1.4350000000000001</c:v>
                </c:pt>
                <c:pt idx="1436">
                  <c:v>1.4359999999999999</c:v>
                </c:pt>
                <c:pt idx="1437">
                  <c:v>1.4370000000000001</c:v>
                </c:pt>
                <c:pt idx="1438">
                  <c:v>1.4379999999999999</c:v>
                </c:pt>
                <c:pt idx="1439">
                  <c:v>1.4390000000000001</c:v>
                </c:pt>
                <c:pt idx="1440">
                  <c:v>1.44</c:v>
                </c:pt>
                <c:pt idx="1441">
                  <c:v>1.4410000000000001</c:v>
                </c:pt>
                <c:pt idx="1442">
                  <c:v>1.4419999999999999</c:v>
                </c:pt>
                <c:pt idx="1443">
                  <c:v>1.4430000000000001</c:v>
                </c:pt>
                <c:pt idx="1444">
                  <c:v>1.444</c:v>
                </c:pt>
                <c:pt idx="1445">
                  <c:v>1.4450000000000001</c:v>
                </c:pt>
                <c:pt idx="1446">
                  <c:v>1.446</c:v>
                </c:pt>
                <c:pt idx="1447">
                  <c:v>1.4470000000000001</c:v>
                </c:pt>
                <c:pt idx="1448">
                  <c:v>1.448</c:v>
                </c:pt>
                <c:pt idx="1449">
                  <c:v>1.4490000000000001</c:v>
                </c:pt>
                <c:pt idx="1450">
                  <c:v>1.45</c:v>
                </c:pt>
                <c:pt idx="1451">
                  <c:v>1.4510000000000001</c:v>
                </c:pt>
                <c:pt idx="1452">
                  <c:v>1.452</c:v>
                </c:pt>
                <c:pt idx="1453">
                  <c:v>1.4530000000000001</c:v>
                </c:pt>
                <c:pt idx="1454">
                  <c:v>1.454</c:v>
                </c:pt>
                <c:pt idx="1455">
                  <c:v>1.4550000000000001</c:v>
                </c:pt>
                <c:pt idx="1456">
                  <c:v>1.456</c:v>
                </c:pt>
                <c:pt idx="1457">
                  <c:v>1.4570000000000001</c:v>
                </c:pt>
                <c:pt idx="1458">
                  <c:v>1.458</c:v>
                </c:pt>
                <c:pt idx="1459">
                  <c:v>1.4590000000000001</c:v>
                </c:pt>
                <c:pt idx="1460">
                  <c:v>1.46</c:v>
                </c:pt>
                <c:pt idx="1461">
                  <c:v>1.4610000000000001</c:v>
                </c:pt>
                <c:pt idx="1462">
                  <c:v>1.462</c:v>
                </c:pt>
                <c:pt idx="1463">
                  <c:v>1.4630000000000001</c:v>
                </c:pt>
                <c:pt idx="1464">
                  <c:v>1.464</c:v>
                </c:pt>
                <c:pt idx="1465">
                  <c:v>1.4650000000000001</c:v>
                </c:pt>
                <c:pt idx="1466">
                  <c:v>1.466</c:v>
                </c:pt>
                <c:pt idx="1467">
                  <c:v>1.4670000000000001</c:v>
                </c:pt>
                <c:pt idx="1468">
                  <c:v>1.468</c:v>
                </c:pt>
                <c:pt idx="1469">
                  <c:v>1.4690000000000001</c:v>
                </c:pt>
                <c:pt idx="1470">
                  <c:v>1.47</c:v>
                </c:pt>
                <c:pt idx="1471">
                  <c:v>1.4710000000000001</c:v>
                </c:pt>
                <c:pt idx="1472">
                  <c:v>1.472</c:v>
                </c:pt>
                <c:pt idx="1473">
                  <c:v>1.4730000000000001</c:v>
                </c:pt>
                <c:pt idx="1474">
                  <c:v>1.474</c:v>
                </c:pt>
                <c:pt idx="1475">
                  <c:v>1.4750000000000001</c:v>
                </c:pt>
                <c:pt idx="1476">
                  <c:v>1.476</c:v>
                </c:pt>
                <c:pt idx="1477">
                  <c:v>1.4770000000000001</c:v>
                </c:pt>
                <c:pt idx="1478">
                  <c:v>1.478</c:v>
                </c:pt>
                <c:pt idx="1479">
                  <c:v>1.4790000000000001</c:v>
                </c:pt>
                <c:pt idx="1480">
                  <c:v>1.48</c:v>
                </c:pt>
                <c:pt idx="1481">
                  <c:v>1.4810000000000001</c:v>
                </c:pt>
                <c:pt idx="1482">
                  <c:v>1.482</c:v>
                </c:pt>
                <c:pt idx="1483">
                  <c:v>1.4830000000000001</c:v>
                </c:pt>
                <c:pt idx="1484">
                  <c:v>1.484</c:v>
                </c:pt>
                <c:pt idx="1485">
                  <c:v>1.4850000000000001</c:v>
                </c:pt>
                <c:pt idx="1486">
                  <c:v>1.486</c:v>
                </c:pt>
                <c:pt idx="1487">
                  <c:v>1.4870000000000001</c:v>
                </c:pt>
                <c:pt idx="1488">
                  <c:v>1.488</c:v>
                </c:pt>
                <c:pt idx="1489">
                  <c:v>1.4890000000000001</c:v>
                </c:pt>
                <c:pt idx="1490">
                  <c:v>1.49</c:v>
                </c:pt>
                <c:pt idx="1491">
                  <c:v>1.4910000000000001</c:v>
                </c:pt>
                <c:pt idx="1492">
                  <c:v>1.492</c:v>
                </c:pt>
                <c:pt idx="1493">
                  <c:v>1.4930000000000001</c:v>
                </c:pt>
                <c:pt idx="1494">
                  <c:v>1.494</c:v>
                </c:pt>
                <c:pt idx="1495">
                  <c:v>1.4950000000000001</c:v>
                </c:pt>
                <c:pt idx="1496">
                  <c:v>1.496</c:v>
                </c:pt>
                <c:pt idx="1497">
                  <c:v>1.4970000000000001</c:v>
                </c:pt>
                <c:pt idx="1498">
                  <c:v>1.498</c:v>
                </c:pt>
                <c:pt idx="1499">
                  <c:v>1.4990000000000001</c:v>
                </c:pt>
                <c:pt idx="1500">
                  <c:v>1.5</c:v>
                </c:pt>
                <c:pt idx="1501">
                  <c:v>1.5009999999999999</c:v>
                </c:pt>
                <c:pt idx="1502">
                  <c:v>1.502</c:v>
                </c:pt>
                <c:pt idx="1503">
                  <c:v>1.5029999999999999</c:v>
                </c:pt>
                <c:pt idx="1504">
                  <c:v>1.504</c:v>
                </c:pt>
                <c:pt idx="1505">
                  <c:v>1.5049999999999999</c:v>
                </c:pt>
                <c:pt idx="1506">
                  <c:v>1.506</c:v>
                </c:pt>
                <c:pt idx="1507">
                  <c:v>1.5069999999999999</c:v>
                </c:pt>
                <c:pt idx="1508">
                  <c:v>1.508</c:v>
                </c:pt>
                <c:pt idx="1509">
                  <c:v>1.5089999999999999</c:v>
                </c:pt>
                <c:pt idx="1510">
                  <c:v>1.51</c:v>
                </c:pt>
                <c:pt idx="1511">
                  <c:v>1.5109999999999999</c:v>
                </c:pt>
                <c:pt idx="1512">
                  <c:v>1.512</c:v>
                </c:pt>
                <c:pt idx="1513">
                  <c:v>1.5129999999999999</c:v>
                </c:pt>
                <c:pt idx="1514">
                  <c:v>1.514</c:v>
                </c:pt>
                <c:pt idx="1515">
                  <c:v>1.5149999999999999</c:v>
                </c:pt>
                <c:pt idx="1516">
                  <c:v>1.516</c:v>
                </c:pt>
                <c:pt idx="1517">
                  <c:v>1.5169999999999999</c:v>
                </c:pt>
                <c:pt idx="1518">
                  <c:v>1.518</c:v>
                </c:pt>
                <c:pt idx="1519">
                  <c:v>1.5189999999999999</c:v>
                </c:pt>
                <c:pt idx="1520">
                  <c:v>1.52</c:v>
                </c:pt>
                <c:pt idx="1521">
                  <c:v>1.5209999999999999</c:v>
                </c:pt>
                <c:pt idx="1522">
                  <c:v>1.522</c:v>
                </c:pt>
                <c:pt idx="1523">
                  <c:v>1.5229999999999999</c:v>
                </c:pt>
                <c:pt idx="1524">
                  <c:v>1.524</c:v>
                </c:pt>
                <c:pt idx="1525">
                  <c:v>1.5249999999999999</c:v>
                </c:pt>
                <c:pt idx="1526">
                  <c:v>1.526</c:v>
                </c:pt>
                <c:pt idx="1527">
                  <c:v>1.5269999999999999</c:v>
                </c:pt>
                <c:pt idx="1528">
                  <c:v>1.528</c:v>
                </c:pt>
                <c:pt idx="1529">
                  <c:v>1.5289999999999999</c:v>
                </c:pt>
                <c:pt idx="1530">
                  <c:v>1.53</c:v>
                </c:pt>
                <c:pt idx="1531">
                  <c:v>1.5309999999999999</c:v>
                </c:pt>
                <c:pt idx="1532">
                  <c:v>1.532</c:v>
                </c:pt>
                <c:pt idx="1533">
                  <c:v>1.5329999999999999</c:v>
                </c:pt>
                <c:pt idx="1534">
                  <c:v>1.534</c:v>
                </c:pt>
                <c:pt idx="1535">
                  <c:v>1.5349999999999999</c:v>
                </c:pt>
                <c:pt idx="1536">
                  <c:v>1.536</c:v>
                </c:pt>
                <c:pt idx="1537">
                  <c:v>1.5369999999999999</c:v>
                </c:pt>
                <c:pt idx="1538">
                  <c:v>1.538</c:v>
                </c:pt>
                <c:pt idx="1539">
                  <c:v>1.5389999999999999</c:v>
                </c:pt>
                <c:pt idx="1540">
                  <c:v>1.54</c:v>
                </c:pt>
                <c:pt idx="1541">
                  <c:v>1.5409999999999999</c:v>
                </c:pt>
                <c:pt idx="1542">
                  <c:v>1.542</c:v>
                </c:pt>
                <c:pt idx="1543">
                  <c:v>1.5429999999999999</c:v>
                </c:pt>
                <c:pt idx="1544">
                  <c:v>1.544</c:v>
                </c:pt>
                <c:pt idx="1545">
                  <c:v>1.5449999999999999</c:v>
                </c:pt>
                <c:pt idx="1546">
                  <c:v>1.546</c:v>
                </c:pt>
                <c:pt idx="1547">
                  <c:v>1.5469999999999999</c:v>
                </c:pt>
                <c:pt idx="1548">
                  <c:v>1.548</c:v>
                </c:pt>
                <c:pt idx="1549">
                  <c:v>1.5489999999999999</c:v>
                </c:pt>
                <c:pt idx="1550">
                  <c:v>1.55</c:v>
                </c:pt>
                <c:pt idx="1551">
                  <c:v>1.5509999999999999</c:v>
                </c:pt>
                <c:pt idx="1552">
                  <c:v>1.552</c:v>
                </c:pt>
                <c:pt idx="1553">
                  <c:v>1.5529999999999999</c:v>
                </c:pt>
                <c:pt idx="1554">
                  <c:v>1.554</c:v>
                </c:pt>
                <c:pt idx="1555">
                  <c:v>1.5549999999999999</c:v>
                </c:pt>
                <c:pt idx="1556">
                  <c:v>1.556</c:v>
                </c:pt>
                <c:pt idx="1557">
                  <c:v>1.5569999999999999</c:v>
                </c:pt>
                <c:pt idx="1558">
                  <c:v>1.5580000000000001</c:v>
                </c:pt>
                <c:pt idx="1559">
                  <c:v>1.5589999999999999</c:v>
                </c:pt>
                <c:pt idx="1560">
                  <c:v>1.56</c:v>
                </c:pt>
                <c:pt idx="1561">
                  <c:v>1.5609999999999999</c:v>
                </c:pt>
                <c:pt idx="1562">
                  <c:v>1.5620000000000001</c:v>
                </c:pt>
                <c:pt idx="1563">
                  <c:v>1.5629999999999999</c:v>
                </c:pt>
                <c:pt idx="1564">
                  <c:v>1.5640000000000001</c:v>
                </c:pt>
                <c:pt idx="1565">
                  <c:v>1.5649999999999999</c:v>
                </c:pt>
                <c:pt idx="1566">
                  <c:v>1.5660000000000001</c:v>
                </c:pt>
                <c:pt idx="1567">
                  <c:v>1.5669999999999999</c:v>
                </c:pt>
                <c:pt idx="1568">
                  <c:v>1.5680000000000001</c:v>
                </c:pt>
                <c:pt idx="1569">
                  <c:v>1.569</c:v>
                </c:pt>
                <c:pt idx="1570">
                  <c:v>1.57</c:v>
                </c:pt>
                <c:pt idx="1571">
                  <c:v>1.571</c:v>
                </c:pt>
                <c:pt idx="1572">
                  <c:v>1.5720000000000001</c:v>
                </c:pt>
                <c:pt idx="1573">
                  <c:v>1.573</c:v>
                </c:pt>
                <c:pt idx="1574">
                  <c:v>1.5740000000000001</c:v>
                </c:pt>
                <c:pt idx="1575">
                  <c:v>1.575</c:v>
                </c:pt>
                <c:pt idx="1576">
                  <c:v>1.5760000000000001</c:v>
                </c:pt>
                <c:pt idx="1577">
                  <c:v>1.577</c:v>
                </c:pt>
                <c:pt idx="1578">
                  <c:v>1.5780000000000001</c:v>
                </c:pt>
                <c:pt idx="1579">
                  <c:v>1.579</c:v>
                </c:pt>
                <c:pt idx="1580">
                  <c:v>1.58</c:v>
                </c:pt>
                <c:pt idx="1581">
                  <c:v>1.581</c:v>
                </c:pt>
                <c:pt idx="1582">
                  <c:v>1.5820000000000001</c:v>
                </c:pt>
                <c:pt idx="1583">
                  <c:v>1.583</c:v>
                </c:pt>
                <c:pt idx="1584">
                  <c:v>1.5840000000000001</c:v>
                </c:pt>
                <c:pt idx="1585">
                  <c:v>1.585</c:v>
                </c:pt>
                <c:pt idx="1586">
                  <c:v>1.5860000000000001</c:v>
                </c:pt>
                <c:pt idx="1587">
                  <c:v>1.587</c:v>
                </c:pt>
                <c:pt idx="1588">
                  <c:v>1.5880000000000001</c:v>
                </c:pt>
                <c:pt idx="1589">
                  <c:v>1.589</c:v>
                </c:pt>
                <c:pt idx="1590">
                  <c:v>1.59</c:v>
                </c:pt>
                <c:pt idx="1591">
                  <c:v>1.591</c:v>
                </c:pt>
                <c:pt idx="1592">
                  <c:v>1.5920000000000001</c:v>
                </c:pt>
                <c:pt idx="1593">
                  <c:v>1.593</c:v>
                </c:pt>
                <c:pt idx="1594">
                  <c:v>1.5940000000000001</c:v>
                </c:pt>
                <c:pt idx="1595">
                  <c:v>1.595</c:v>
                </c:pt>
                <c:pt idx="1596">
                  <c:v>1.5960000000000001</c:v>
                </c:pt>
                <c:pt idx="1597">
                  <c:v>1.597</c:v>
                </c:pt>
                <c:pt idx="1598">
                  <c:v>1.5980000000000001</c:v>
                </c:pt>
                <c:pt idx="1599">
                  <c:v>1.599</c:v>
                </c:pt>
                <c:pt idx="1600">
                  <c:v>1.6</c:v>
                </c:pt>
                <c:pt idx="1601">
                  <c:v>1.601</c:v>
                </c:pt>
                <c:pt idx="1602">
                  <c:v>1.6020000000000001</c:v>
                </c:pt>
                <c:pt idx="1603">
                  <c:v>1.603</c:v>
                </c:pt>
                <c:pt idx="1604">
                  <c:v>1.6040000000000001</c:v>
                </c:pt>
                <c:pt idx="1605">
                  <c:v>1.605</c:v>
                </c:pt>
                <c:pt idx="1606">
                  <c:v>1.6060000000000001</c:v>
                </c:pt>
                <c:pt idx="1607">
                  <c:v>1.607</c:v>
                </c:pt>
                <c:pt idx="1608">
                  <c:v>1.6080000000000001</c:v>
                </c:pt>
                <c:pt idx="1609">
                  <c:v>1.609</c:v>
                </c:pt>
                <c:pt idx="1610">
                  <c:v>1.61</c:v>
                </c:pt>
                <c:pt idx="1611">
                  <c:v>1.611</c:v>
                </c:pt>
                <c:pt idx="1612">
                  <c:v>1.6120000000000001</c:v>
                </c:pt>
                <c:pt idx="1613">
                  <c:v>1.613</c:v>
                </c:pt>
                <c:pt idx="1614">
                  <c:v>1.6140000000000001</c:v>
                </c:pt>
                <c:pt idx="1615">
                  <c:v>1.615</c:v>
                </c:pt>
                <c:pt idx="1616">
                  <c:v>1.6160000000000001</c:v>
                </c:pt>
                <c:pt idx="1617">
                  <c:v>1.617</c:v>
                </c:pt>
                <c:pt idx="1618">
                  <c:v>1.6180000000000001</c:v>
                </c:pt>
                <c:pt idx="1619">
                  <c:v>1.619</c:v>
                </c:pt>
                <c:pt idx="1620">
                  <c:v>1.62</c:v>
                </c:pt>
                <c:pt idx="1621">
                  <c:v>1.621</c:v>
                </c:pt>
                <c:pt idx="1622">
                  <c:v>1.6220000000000001</c:v>
                </c:pt>
                <c:pt idx="1623">
                  <c:v>1.623</c:v>
                </c:pt>
                <c:pt idx="1624">
                  <c:v>1.6240000000000001</c:v>
                </c:pt>
                <c:pt idx="1625">
                  <c:v>1.625</c:v>
                </c:pt>
                <c:pt idx="1626">
                  <c:v>1.6259999999999999</c:v>
                </c:pt>
                <c:pt idx="1627">
                  <c:v>1.627</c:v>
                </c:pt>
                <c:pt idx="1628">
                  <c:v>1.6279999999999999</c:v>
                </c:pt>
                <c:pt idx="1629">
                  <c:v>1.629</c:v>
                </c:pt>
                <c:pt idx="1630">
                  <c:v>1.63</c:v>
                </c:pt>
                <c:pt idx="1631">
                  <c:v>1.631</c:v>
                </c:pt>
                <c:pt idx="1632">
                  <c:v>1.6319999999999999</c:v>
                </c:pt>
                <c:pt idx="1633">
                  <c:v>1.633</c:v>
                </c:pt>
                <c:pt idx="1634">
                  <c:v>1.6339999999999999</c:v>
                </c:pt>
                <c:pt idx="1635">
                  <c:v>1.635</c:v>
                </c:pt>
                <c:pt idx="1636">
                  <c:v>1.6359999999999999</c:v>
                </c:pt>
                <c:pt idx="1637">
                  <c:v>1.637</c:v>
                </c:pt>
                <c:pt idx="1638">
                  <c:v>1.6379999999999999</c:v>
                </c:pt>
                <c:pt idx="1639">
                  <c:v>1.639</c:v>
                </c:pt>
                <c:pt idx="1640">
                  <c:v>1.64</c:v>
                </c:pt>
                <c:pt idx="1641">
                  <c:v>1.641</c:v>
                </c:pt>
                <c:pt idx="1642">
                  <c:v>1.6419999999999999</c:v>
                </c:pt>
                <c:pt idx="1643">
                  <c:v>1.643</c:v>
                </c:pt>
                <c:pt idx="1644">
                  <c:v>1.6439999999999999</c:v>
                </c:pt>
                <c:pt idx="1645">
                  <c:v>1.645</c:v>
                </c:pt>
                <c:pt idx="1646">
                  <c:v>1.6459999999999999</c:v>
                </c:pt>
                <c:pt idx="1647">
                  <c:v>1.647</c:v>
                </c:pt>
                <c:pt idx="1648">
                  <c:v>1.6479999999999999</c:v>
                </c:pt>
                <c:pt idx="1649">
                  <c:v>1.649</c:v>
                </c:pt>
                <c:pt idx="1650">
                  <c:v>1.65</c:v>
                </c:pt>
                <c:pt idx="1651">
                  <c:v>1.651</c:v>
                </c:pt>
                <c:pt idx="1652">
                  <c:v>1.6519999999999999</c:v>
                </c:pt>
                <c:pt idx="1653">
                  <c:v>1.653</c:v>
                </c:pt>
                <c:pt idx="1654">
                  <c:v>1.6539999999999999</c:v>
                </c:pt>
                <c:pt idx="1655">
                  <c:v>1.655</c:v>
                </c:pt>
                <c:pt idx="1656">
                  <c:v>1.6559999999999999</c:v>
                </c:pt>
                <c:pt idx="1657">
                  <c:v>1.657</c:v>
                </c:pt>
                <c:pt idx="1658">
                  <c:v>1.6579999999999999</c:v>
                </c:pt>
                <c:pt idx="1659">
                  <c:v>1.659</c:v>
                </c:pt>
                <c:pt idx="1660">
                  <c:v>1.66</c:v>
                </c:pt>
                <c:pt idx="1661">
                  <c:v>1.661</c:v>
                </c:pt>
                <c:pt idx="1662">
                  <c:v>1.6619999999999999</c:v>
                </c:pt>
                <c:pt idx="1663">
                  <c:v>1.663</c:v>
                </c:pt>
                <c:pt idx="1664">
                  <c:v>1.6639999999999999</c:v>
                </c:pt>
                <c:pt idx="1665">
                  <c:v>1.665</c:v>
                </c:pt>
                <c:pt idx="1666">
                  <c:v>1.6659999999999999</c:v>
                </c:pt>
                <c:pt idx="1667">
                  <c:v>1.667</c:v>
                </c:pt>
                <c:pt idx="1668">
                  <c:v>1.6679999999999999</c:v>
                </c:pt>
                <c:pt idx="1669">
                  <c:v>1.669</c:v>
                </c:pt>
                <c:pt idx="1670">
                  <c:v>1.67</c:v>
                </c:pt>
                <c:pt idx="1671">
                  <c:v>1.671</c:v>
                </c:pt>
                <c:pt idx="1672">
                  <c:v>1.6719999999999999</c:v>
                </c:pt>
                <c:pt idx="1673">
                  <c:v>1.673</c:v>
                </c:pt>
                <c:pt idx="1674">
                  <c:v>1.6739999999999999</c:v>
                </c:pt>
                <c:pt idx="1675">
                  <c:v>1.675</c:v>
                </c:pt>
                <c:pt idx="1676">
                  <c:v>1.6759999999999999</c:v>
                </c:pt>
                <c:pt idx="1677">
                  <c:v>1.677</c:v>
                </c:pt>
                <c:pt idx="1678">
                  <c:v>1.6779999999999999</c:v>
                </c:pt>
                <c:pt idx="1679">
                  <c:v>1.679</c:v>
                </c:pt>
                <c:pt idx="1680">
                  <c:v>1.68</c:v>
                </c:pt>
                <c:pt idx="1681">
                  <c:v>1.681</c:v>
                </c:pt>
                <c:pt idx="1682">
                  <c:v>1.6819999999999999</c:v>
                </c:pt>
                <c:pt idx="1683">
                  <c:v>1.6830000000000001</c:v>
                </c:pt>
                <c:pt idx="1684">
                  <c:v>1.6839999999999999</c:v>
                </c:pt>
                <c:pt idx="1685">
                  <c:v>1.6850000000000001</c:v>
                </c:pt>
                <c:pt idx="1686">
                  <c:v>1.6859999999999999</c:v>
                </c:pt>
                <c:pt idx="1687">
                  <c:v>1.6870000000000001</c:v>
                </c:pt>
                <c:pt idx="1688">
                  <c:v>1.6879999999999999</c:v>
                </c:pt>
                <c:pt idx="1689">
                  <c:v>1.6890000000000001</c:v>
                </c:pt>
                <c:pt idx="1690">
                  <c:v>1.69</c:v>
                </c:pt>
                <c:pt idx="1691">
                  <c:v>1.6910000000000001</c:v>
                </c:pt>
                <c:pt idx="1692">
                  <c:v>1.6919999999999999</c:v>
                </c:pt>
                <c:pt idx="1693">
                  <c:v>1.6930000000000001</c:v>
                </c:pt>
                <c:pt idx="1694">
                  <c:v>1.694</c:v>
                </c:pt>
                <c:pt idx="1695">
                  <c:v>1.6950000000000001</c:v>
                </c:pt>
                <c:pt idx="1696">
                  <c:v>1.696</c:v>
                </c:pt>
                <c:pt idx="1697">
                  <c:v>1.6970000000000001</c:v>
                </c:pt>
                <c:pt idx="1698">
                  <c:v>1.698</c:v>
                </c:pt>
                <c:pt idx="1699">
                  <c:v>1.6990000000000001</c:v>
                </c:pt>
                <c:pt idx="1700">
                  <c:v>1.7</c:v>
                </c:pt>
                <c:pt idx="1701">
                  <c:v>1.7010000000000001</c:v>
                </c:pt>
                <c:pt idx="1702">
                  <c:v>1.702</c:v>
                </c:pt>
                <c:pt idx="1703">
                  <c:v>1.7030000000000001</c:v>
                </c:pt>
                <c:pt idx="1704">
                  <c:v>1.704</c:v>
                </c:pt>
                <c:pt idx="1705">
                  <c:v>1.7050000000000001</c:v>
                </c:pt>
                <c:pt idx="1706">
                  <c:v>1.706</c:v>
                </c:pt>
                <c:pt idx="1707">
                  <c:v>1.7070000000000001</c:v>
                </c:pt>
                <c:pt idx="1708">
                  <c:v>1.708</c:v>
                </c:pt>
                <c:pt idx="1709">
                  <c:v>1.7090000000000001</c:v>
                </c:pt>
                <c:pt idx="1710">
                  <c:v>1.71</c:v>
                </c:pt>
                <c:pt idx="1711">
                  <c:v>1.7110000000000001</c:v>
                </c:pt>
                <c:pt idx="1712">
                  <c:v>1.712</c:v>
                </c:pt>
                <c:pt idx="1713">
                  <c:v>1.7130000000000001</c:v>
                </c:pt>
                <c:pt idx="1714">
                  <c:v>1.714</c:v>
                </c:pt>
                <c:pt idx="1715">
                  <c:v>1.7150000000000001</c:v>
                </c:pt>
                <c:pt idx="1716">
                  <c:v>1.716</c:v>
                </c:pt>
                <c:pt idx="1717">
                  <c:v>1.7170000000000001</c:v>
                </c:pt>
                <c:pt idx="1718">
                  <c:v>1.718</c:v>
                </c:pt>
                <c:pt idx="1719">
                  <c:v>1.7190000000000001</c:v>
                </c:pt>
                <c:pt idx="1720">
                  <c:v>1.72</c:v>
                </c:pt>
                <c:pt idx="1721">
                  <c:v>1.7210000000000001</c:v>
                </c:pt>
                <c:pt idx="1722">
                  <c:v>1.722</c:v>
                </c:pt>
                <c:pt idx="1723">
                  <c:v>1.7230000000000001</c:v>
                </c:pt>
                <c:pt idx="1724">
                  <c:v>1.724</c:v>
                </c:pt>
                <c:pt idx="1725">
                  <c:v>1.7250000000000001</c:v>
                </c:pt>
                <c:pt idx="1726">
                  <c:v>1.726</c:v>
                </c:pt>
                <c:pt idx="1727">
                  <c:v>1.7270000000000001</c:v>
                </c:pt>
                <c:pt idx="1728">
                  <c:v>1.728</c:v>
                </c:pt>
                <c:pt idx="1729">
                  <c:v>1.7290000000000001</c:v>
                </c:pt>
                <c:pt idx="1730">
                  <c:v>1.73</c:v>
                </c:pt>
                <c:pt idx="1731">
                  <c:v>1.7310000000000001</c:v>
                </c:pt>
                <c:pt idx="1732">
                  <c:v>1.732</c:v>
                </c:pt>
                <c:pt idx="1733">
                  <c:v>1.7330000000000001</c:v>
                </c:pt>
                <c:pt idx="1734">
                  <c:v>1.734</c:v>
                </c:pt>
                <c:pt idx="1735">
                  <c:v>1.7350000000000001</c:v>
                </c:pt>
                <c:pt idx="1736">
                  <c:v>1.736</c:v>
                </c:pt>
                <c:pt idx="1737">
                  <c:v>1.7370000000000001</c:v>
                </c:pt>
                <c:pt idx="1738">
                  <c:v>1.738</c:v>
                </c:pt>
                <c:pt idx="1739">
                  <c:v>1.7390000000000001</c:v>
                </c:pt>
                <c:pt idx="1740">
                  <c:v>1.74</c:v>
                </c:pt>
                <c:pt idx="1741">
                  <c:v>1.7410000000000001</c:v>
                </c:pt>
                <c:pt idx="1742">
                  <c:v>1.742</c:v>
                </c:pt>
                <c:pt idx="1743">
                  <c:v>1.7430000000000001</c:v>
                </c:pt>
                <c:pt idx="1744">
                  <c:v>1.744</c:v>
                </c:pt>
                <c:pt idx="1745">
                  <c:v>1.7450000000000001</c:v>
                </c:pt>
                <c:pt idx="1746">
                  <c:v>1.746</c:v>
                </c:pt>
                <c:pt idx="1747">
                  <c:v>1.7470000000000001</c:v>
                </c:pt>
                <c:pt idx="1748">
                  <c:v>1.748</c:v>
                </c:pt>
                <c:pt idx="1749">
                  <c:v>1.7490000000000001</c:v>
                </c:pt>
                <c:pt idx="1750">
                  <c:v>1.75</c:v>
                </c:pt>
                <c:pt idx="1751">
                  <c:v>1.7509999999999999</c:v>
                </c:pt>
                <c:pt idx="1752">
                  <c:v>1.752</c:v>
                </c:pt>
                <c:pt idx="1753">
                  <c:v>1.7529999999999999</c:v>
                </c:pt>
                <c:pt idx="1754">
                  <c:v>1.754</c:v>
                </c:pt>
                <c:pt idx="1755">
                  <c:v>1.7549999999999999</c:v>
                </c:pt>
                <c:pt idx="1756">
                  <c:v>1.756</c:v>
                </c:pt>
                <c:pt idx="1757">
                  <c:v>1.7569999999999999</c:v>
                </c:pt>
                <c:pt idx="1758">
                  <c:v>1.758</c:v>
                </c:pt>
                <c:pt idx="1759">
                  <c:v>1.7589999999999999</c:v>
                </c:pt>
                <c:pt idx="1760">
                  <c:v>1.76</c:v>
                </c:pt>
                <c:pt idx="1761">
                  <c:v>1.7609999999999999</c:v>
                </c:pt>
                <c:pt idx="1762">
                  <c:v>1.762</c:v>
                </c:pt>
                <c:pt idx="1763">
                  <c:v>1.7629999999999999</c:v>
                </c:pt>
                <c:pt idx="1764">
                  <c:v>1.764</c:v>
                </c:pt>
                <c:pt idx="1765">
                  <c:v>1.7649999999999999</c:v>
                </c:pt>
                <c:pt idx="1766">
                  <c:v>1.766</c:v>
                </c:pt>
                <c:pt idx="1767">
                  <c:v>1.7669999999999999</c:v>
                </c:pt>
                <c:pt idx="1768">
                  <c:v>1.768</c:v>
                </c:pt>
                <c:pt idx="1769">
                  <c:v>1.7689999999999999</c:v>
                </c:pt>
                <c:pt idx="1770">
                  <c:v>1.77</c:v>
                </c:pt>
                <c:pt idx="1771">
                  <c:v>1.7709999999999999</c:v>
                </c:pt>
                <c:pt idx="1772">
                  <c:v>1.772</c:v>
                </c:pt>
                <c:pt idx="1773">
                  <c:v>1.7729999999999999</c:v>
                </c:pt>
                <c:pt idx="1774">
                  <c:v>1.774</c:v>
                </c:pt>
                <c:pt idx="1775">
                  <c:v>1.7749999999999999</c:v>
                </c:pt>
                <c:pt idx="1776">
                  <c:v>1.776</c:v>
                </c:pt>
                <c:pt idx="1777">
                  <c:v>1.7769999999999999</c:v>
                </c:pt>
                <c:pt idx="1778">
                  <c:v>1.778</c:v>
                </c:pt>
                <c:pt idx="1779">
                  <c:v>1.7789999999999999</c:v>
                </c:pt>
                <c:pt idx="1780">
                  <c:v>1.78</c:v>
                </c:pt>
                <c:pt idx="1781">
                  <c:v>1.7809999999999999</c:v>
                </c:pt>
                <c:pt idx="1782">
                  <c:v>1.782</c:v>
                </c:pt>
                <c:pt idx="1783">
                  <c:v>1.7829999999999999</c:v>
                </c:pt>
                <c:pt idx="1784">
                  <c:v>1.784</c:v>
                </c:pt>
                <c:pt idx="1785">
                  <c:v>1.7849999999999999</c:v>
                </c:pt>
                <c:pt idx="1786">
                  <c:v>1.786</c:v>
                </c:pt>
                <c:pt idx="1787">
                  <c:v>1.7869999999999999</c:v>
                </c:pt>
                <c:pt idx="1788">
                  <c:v>1.788</c:v>
                </c:pt>
                <c:pt idx="1789">
                  <c:v>1.7889999999999999</c:v>
                </c:pt>
                <c:pt idx="1790">
                  <c:v>1.79</c:v>
                </c:pt>
                <c:pt idx="1791">
                  <c:v>1.7909999999999999</c:v>
                </c:pt>
                <c:pt idx="1792">
                  <c:v>1.792</c:v>
                </c:pt>
                <c:pt idx="1793">
                  <c:v>1.7929999999999999</c:v>
                </c:pt>
                <c:pt idx="1794">
                  <c:v>1.794</c:v>
                </c:pt>
                <c:pt idx="1795">
                  <c:v>1.7949999999999999</c:v>
                </c:pt>
                <c:pt idx="1796">
                  <c:v>1.796</c:v>
                </c:pt>
                <c:pt idx="1797">
                  <c:v>1.7969999999999999</c:v>
                </c:pt>
                <c:pt idx="1798">
                  <c:v>1.798</c:v>
                </c:pt>
                <c:pt idx="1799">
                  <c:v>1.7989999999999999</c:v>
                </c:pt>
                <c:pt idx="1800">
                  <c:v>1.8</c:v>
                </c:pt>
                <c:pt idx="1801">
                  <c:v>1.8009999999999999</c:v>
                </c:pt>
                <c:pt idx="1802">
                  <c:v>1.802</c:v>
                </c:pt>
                <c:pt idx="1803">
                  <c:v>1.8029999999999999</c:v>
                </c:pt>
                <c:pt idx="1804">
                  <c:v>1.804</c:v>
                </c:pt>
                <c:pt idx="1805">
                  <c:v>1.8049999999999999</c:v>
                </c:pt>
                <c:pt idx="1806">
                  <c:v>1.806</c:v>
                </c:pt>
                <c:pt idx="1807">
                  <c:v>1.8069999999999999</c:v>
                </c:pt>
                <c:pt idx="1808">
                  <c:v>1.8080000000000001</c:v>
                </c:pt>
                <c:pt idx="1809">
                  <c:v>1.8089999999999999</c:v>
                </c:pt>
                <c:pt idx="1810">
                  <c:v>1.81</c:v>
                </c:pt>
                <c:pt idx="1811">
                  <c:v>1.8109999999999999</c:v>
                </c:pt>
                <c:pt idx="1812">
                  <c:v>1.8120000000000001</c:v>
                </c:pt>
                <c:pt idx="1813">
                  <c:v>1.8129999999999999</c:v>
                </c:pt>
                <c:pt idx="1814">
                  <c:v>1.8140000000000001</c:v>
                </c:pt>
                <c:pt idx="1815">
                  <c:v>1.8149999999999999</c:v>
                </c:pt>
                <c:pt idx="1816">
                  <c:v>1.8160000000000001</c:v>
                </c:pt>
                <c:pt idx="1817">
                  <c:v>1.8169999999999999</c:v>
                </c:pt>
                <c:pt idx="1818">
                  <c:v>1.8180000000000001</c:v>
                </c:pt>
                <c:pt idx="1819">
                  <c:v>1.819</c:v>
                </c:pt>
                <c:pt idx="1820">
                  <c:v>1.82</c:v>
                </c:pt>
                <c:pt idx="1821">
                  <c:v>1.821</c:v>
                </c:pt>
                <c:pt idx="1822">
                  <c:v>1.8220000000000001</c:v>
                </c:pt>
                <c:pt idx="1823">
                  <c:v>1.823</c:v>
                </c:pt>
                <c:pt idx="1824">
                  <c:v>1.8240000000000001</c:v>
                </c:pt>
                <c:pt idx="1825">
                  <c:v>1.825</c:v>
                </c:pt>
                <c:pt idx="1826">
                  <c:v>1.8260000000000001</c:v>
                </c:pt>
                <c:pt idx="1827">
                  <c:v>1.827</c:v>
                </c:pt>
                <c:pt idx="1828">
                  <c:v>1.8280000000000001</c:v>
                </c:pt>
                <c:pt idx="1829">
                  <c:v>1.829</c:v>
                </c:pt>
                <c:pt idx="1830">
                  <c:v>1.83</c:v>
                </c:pt>
                <c:pt idx="1831">
                  <c:v>1.831</c:v>
                </c:pt>
                <c:pt idx="1832">
                  <c:v>1.8320000000000001</c:v>
                </c:pt>
                <c:pt idx="1833">
                  <c:v>1.833</c:v>
                </c:pt>
                <c:pt idx="1834">
                  <c:v>1.8340000000000001</c:v>
                </c:pt>
                <c:pt idx="1835">
                  <c:v>1.835</c:v>
                </c:pt>
                <c:pt idx="1836">
                  <c:v>1.8360000000000001</c:v>
                </c:pt>
                <c:pt idx="1837">
                  <c:v>1.837</c:v>
                </c:pt>
                <c:pt idx="1838">
                  <c:v>1.8380000000000001</c:v>
                </c:pt>
                <c:pt idx="1839">
                  <c:v>1.839</c:v>
                </c:pt>
                <c:pt idx="1840">
                  <c:v>1.84</c:v>
                </c:pt>
                <c:pt idx="1841">
                  <c:v>1.841</c:v>
                </c:pt>
                <c:pt idx="1842">
                  <c:v>1.8420000000000001</c:v>
                </c:pt>
                <c:pt idx="1843">
                  <c:v>1.843</c:v>
                </c:pt>
                <c:pt idx="1844">
                  <c:v>1.8440000000000001</c:v>
                </c:pt>
                <c:pt idx="1845">
                  <c:v>1.845</c:v>
                </c:pt>
                <c:pt idx="1846">
                  <c:v>1.8460000000000001</c:v>
                </c:pt>
                <c:pt idx="1847">
                  <c:v>1.847</c:v>
                </c:pt>
                <c:pt idx="1848">
                  <c:v>1.8480000000000001</c:v>
                </c:pt>
                <c:pt idx="1849">
                  <c:v>1.849</c:v>
                </c:pt>
                <c:pt idx="1850">
                  <c:v>1.85</c:v>
                </c:pt>
                <c:pt idx="1851">
                  <c:v>1.851</c:v>
                </c:pt>
                <c:pt idx="1852">
                  <c:v>1.8520000000000001</c:v>
                </c:pt>
                <c:pt idx="1853">
                  <c:v>1.853</c:v>
                </c:pt>
                <c:pt idx="1854">
                  <c:v>1.8540000000000001</c:v>
                </c:pt>
                <c:pt idx="1855">
                  <c:v>1.855</c:v>
                </c:pt>
                <c:pt idx="1856">
                  <c:v>1.8560000000000001</c:v>
                </c:pt>
                <c:pt idx="1857">
                  <c:v>1.857</c:v>
                </c:pt>
                <c:pt idx="1858">
                  <c:v>1.8580000000000001</c:v>
                </c:pt>
                <c:pt idx="1859">
                  <c:v>1.859</c:v>
                </c:pt>
                <c:pt idx="1860">
                  <c:v>1.86</c:v>
                </c:pt>
                <c:pt idx="1861">
                  <c:v>1.861</c:v>
                </c:pt>
                <c:pt idx="1862">
                  <c:v>1.8620000000000001</c:v>
                </c:pt>
                <c:pt idx="1863">
                  <c:v>1.863</c:v>
                </c:pt>
                <c:pt idx="1864">
                  <c:v>1.8640000000000001</c:v>
                </c:pt>
                <c:pt idx="1865">
                  <c:v>1.865</c:v>
                </c:pt>
                <c:pt idx="1866">
                  <c:v>1.8660000000000001</c:v>
                </c:pt>
                <c:pt idx="1867">
                  <c:v>1.867</c:v>
                </c:pt>
                <c:pt idx="1868">
                  <c:v>1.8680000000000001</c:v>
                </c:pt>
                <c:pt idx="1869">
                  <c:v>1.869</c:v>
                </c:pt>
                <c:pt idx="1870">
                  <c:v>1.87</c:v>
                </c:pt>
                <c:pt idx="1871">
                  <c:v>1.871</c:v>
                </c:pt>
                <c:pt idx="1872">
                  <c:v>1.8720000000000001</c:v>
                </c:pt>
                <c:pt idx="1873">
                  <c:v>1.873</c:v>
                </c:pt>
                <c:pt idx="1874">
                  <c:v>1.8740000000000001</c:v>
                </c:pt>
                <c:pt idx="1875">
                  <c:v>1.875</c:v>
                </c:pt>
                <c:pt idx="1876">
                  <c:v>1.8759999999999999</c:v>
                </c:pt>
                <c:pt idx="1877">
                  <c:v>1.877</c:v>
                </c:pt>
                <c:pt idx="1878">
                  <c:v>1.8779999999999999</c:v>
                </c:pt>
                <c:pt idx="1879">
                  <c:v>1.879</c:v>
                </c:pt>
                <c:pt idx="1880">
                  <c:v>1.88</c:v>
                </c:pt>
                <c:pt idx="1881">
                  <c:v>1.881</c:v>
                </c:pt>
                <c:pt idx="1882">
                  <c:v>1.8819999999999999</c:v>
                </c:pt>
                <c:pt idx="1883">
                  <c:v>1.883</c:v>
                </c:pt>
                <c:pt idx="1884">
                  <c:v>1.8839999999999999</c:v>
                </c:pt>
                <c:pt idx="1885">
                  <c:v>1.885</c:v>
                </c:pt>
                <c:pt idx="1886">
                  <c:v>1.8859999999999999</c:v>
                </c:pt>
                <c:pt idx="1887">
                  <c:v>1.887</c:v>
                </c:pt>
                <c:pt idx="1888">
                  <c:v>1.8879999999999999</c:v>
                </c:pt>
                <c:pt idx="1889">
                  <c:v>1.889</c:v>
                </c:pt>
                <c:pt idx="1890">
                  <c:v>1.89</c:v>
                </c:pt>
                <c:pt idx="1891">
                  <c:v>1.891</c:v>
                </c:pt>
                <c:pt idx="1892">
                  <c:v>1.8919999999999999</c:v>
                </c:pt>
                <c:pt idx="1893">
                  <c:v>1.893</c:v>
                </c:pt>
                <c:pt idx="1894">
                  <c:v>1.8939999999999999</c:v>
                </c:pt>
                <c:pt idx="1895">
                  <c:v>1.895</c:v>
                </c:pt>
                <c:pt idx="1896">
                  <c:v>1.8959999999999999</c:v>
                </c:pt>
                <c:pt idx="1897">
                  <c:v>1.897</c:v>
                </c:pt>
                <c:pt idx="1898">
                  <c:v>1.8979999999999999</c:v>
                </c:pt>
                <c:pt idx="1899">
                  <c:v>1.899</c:v>
                </c:pt>
                <c:pt idx="1900">
                  <c:v>1.9</c:v>
                </c:pt>
                <c:pt idx="1901">
                  <c:v>1.901</c:v>
                </c:pt>
                <c:pt idx="1902">
                  <c:v>1.9019999999999999</c:v>
                </c:pt>
                <c:pt idx="1903">
                  <c:v>1.903</c:v>
                </c:pt>
                <c:pt idx="1904">
                  <c:v>1.9039999999999999</c:v>
                </c:pt>
                <c:pt idx="1905">
                  <c:v>1.905</c:v>
                </c:pt>
                <c:pt idx="1906">
                  <c:v>1.9059999999999999</c:v>
                </c:pt>
                <c:pt idx="1907">
                  <c:v>1.907</c:v>
                </c:pt>
                <c:pt idx="1908">
                  <c:v>1.9079999999999999</c:v>
                </c:pt>
                <c:pt idx="1909">
                  <c:v>1.909</c:v>
                </c:pt>
                <c:pt idx="1910">
                  <c:v>1.91</c:v>
                </c:pt>
                <c:pt idx="1911">
                  <c:v>1.911</c:v>
                </c:pt>
                <c:pt idx="1912">
                  <c:v>1.9119999999999999</c:v>
                </c:pt>
                <c:pt idx="1913">
                  <c:v>1.913</c:v>
                </c:pt>
                <c:pt idx="1914">
                  <c:v>1.9139999999999999</c:v>
                </c:pt>
                <c:pt idx="1915">
                  <c:v>1.915</c:v>
                </c:pt>
                <c:pt idx="1916">
                  <c:v>1.9159999999999999</c:v>
                </c:pt>
                <c:pt idx="1917">
                  <c:v>1.917</c:v>
                </c:pt>
                <c:pt idx="1918">
                  <c:v>1.9179999999999999</c:v>
                </c:pt>
                <c:pt idx="1919">
                  <c:v>1.919</c:v>
                </c:pt>
                <c:pt idx="1920">
                  <c:v>1.92</c:v>
                </c:pt>
                <c:pt idx="1921">
                  <c:v>1.921</c:v>
                </c:pt>
                <c:pt idx="1922">
                  <c:v>1.9219999999999999</c:v>
                </c:pt>
                <c:pt idx="1923">
                  <c:v>1.923</c:v>
                </c:pt>
                <c:pt idx="1924">
                  <c:v>1.9239999999999999</c:v>
                </c:pt>
                <c:pt idx="1925">
                  <c:v>1.925</c:v>
                </c:pt>
                <c:pt idx="1926">
                  <c:v>1.9259999999999999</c:v>
                </c:pt>
                <c:pt idx="1927">
                  <c:v>1.927</c:v>
                </c:pt>
                <c:pt idx="1928">
                  <c:v>1.9279999999999999</c:v>
                </c:pt>
                <c:pt idx="1929">
                  <c:v>1.929</c:v>
                </c:pt>
                <c:pt idx="1930">
                  <c:v>1.93</c:v>
                </c:pt>
                <c:pt idx="1931">
                  <c:v>1.931</c:v>
                </c:pt>
                <c:pt idx="1932">
                  <c:v>1.9319999999999999</c:v>
                </c:pt>
                <c:pt idx="1933">
                  <c:v>1.9330000000000001</c:v>
                </c:pt>
                <c:pt idx="1934">
                  <c:v>1.9339999999999999</c:v>
                </c:pt>
                <c:pt idx="1935">
                  <c:v>1.9350000000000001</c:v>
                </c:pt>
                <c:pt idx="1936">
                  <c:v>1.9359999999999999</c:v>
                </c:pt>
                <c:pt idx="1937">
                  <c:v>1.9370000000000001</c:v>
                </c:pt>
                <c:pt idx="1938">
                  <c:v>1.9379999999999999</c:v>
                </c:pt>
                <c:pt idx="1939">
                  <c:v>1.9390000000000001</c:v>
                </c:pt>
                <c:pt idx="1940">
                  <c:v>1.94</c:v>
                </c:pt>
                <c:pt idx="1941">
                  <c:v>1.9410000000000001</c:v>
                </c:pt>
                <c:pt idx="1942">
                  <c:v>1.9419999999999999</c:v>
                </c:pt>
                <c:pt idx="1943">
                  <c:v>1.9430000000000001</c:v>
                </c:pt>
                <c:pt idx="1944">
                  <c:v>1.944</c:v>
                </c:pt>
                <c:pt idx="1945">
                  <c:v>1.9450000000000001</c:v>
                </c:pt>
                <c:pt idx="1946">
                  <c:v>1.946</c:v>
                </c:pt>
                <c:pt idx="1947">
                  <c:v>1.9470000000000001</c:v>
                </c:pt>
                <c:pt idx="1948">
                  <c:v>1.948</c:v>
                </c:pt>
                <c:pt idx="1949">
                  <c:v>1.9490000000000001</c:v>
                </c:pt>
                <c:pt idx="1950">
                  <c:v>1.95</c:v>
                </c:pt>
                <c:pt idx="1951">
                  <c:v>1.9510000000000001</c:v>
                </c:pt>
                <c:pt idx="1952">
                  <c:v>1.952</c:v>
                </c:pt>
                <c:pt idx="1953">
                  <c:v>1.9530000000000001</c:v>
                </c:pt>
                <c:pt idx="1954">
                  <c:v>1.954</c:v>
                </c:pt>
                <c:pt idx="1955">
                  <c:v>1.9550000000000001</c:v>
                </c:pt>
                <c:pt idx="1956">
                  <c:v>1.956</c:v>
                </c:pt>
                <c:pt idx="1957">
                  <c:v>1.9570000000000001</c:v>
                </c:pt>
                <c:pt idx="1958">
                  <c:v>1.958</c:v>
                </c:pt>
                <c:pt idx="1959">
                  <c:v>1.9590000000000001</c:v>
                </c:pt>
                <c:pt idx="1960">
                  <c:v>1.96</c:v>
                </c:pt>
                <c:pt idx="1961">
                  <c:v>1.9610000000000001</c:v>
                </c:pt>
                <c:pt idx="1962">
                  <c:v>1.962</c:v>
                </c:pt>
                <c:pt idx="1963">
                  <c:v>1.9630000000000001</c:v>
                </c:pt>
                <c:pt idx="1964">
                  <c:v>1.964</c:v>
                </c:pt>
                <c:pt idx="1965">
                  <c:v>1.9650000000000001</c:v>
                </c:pt>
                <c:pt idx="1966">
                  <c:v>1.966</c:v>
                </c:pt>
                <c:pt idx="1967">
                  <c:v>1.9670000000000001</c:v>
                </c:pt>
                <c:pt idx="1968">
                  <c:v>1.968</c:v>
                </c:pt>
                <c:pt idx="1969">
                  <c:v>1.9690000000000001</c:v>
                </c:pt>
                <c:pt idx="1970">
                  <c:v>1.97</c:v>
                </c:pt>
                <c:pt idx="1971">
                  <c:v>1.9710000000000001</c:v>
                </c:pt>
                <c:pt idx="1972">
                  <c:v>1.972</c:v>
                </c:pt>
                <c:pt idx="1973">
                  <c:v>1.9730000000000001</c:v>
                </c:pt>
                <c:pt idx="1974">
                  <c:v>1.974</c:v>
                </c:pt>
                <c:pt idx="1975">
                  <c:v>1.9750000000000001</c:v>
                </c:pt>
                <c:pt idx="1976">
                  <c:v>1.976</c:v>
                </c:pt>
                <c:pt idx="1977">
                  <c:v>1.9770000000000001</c:v>
                </c:pt>
                <c:pt idx="1978">
                  <c:v>1.978</c:v>
                </c:pt>
                <c:pt idx="1979">
                  <c:v>1.9790000000000001</c:v>
                </c:pt>
                <c:pt idx="1980">
                  <c:v>1.98</c:v>
                </c:pt>
                <c:pt idx="1981">
                  <c:v>1.9810000000000001</c:v>
                </c:pt>
                <c:pt idx="1982">
                  <c:v>1.982</c:v>
                </c:pt>
                <c:pt idx="1983">
                  <c:v>1.9830000000000001</c:v>
                </c:pt>
                <c:pt idx="1984">
                  <c:v>1.984</c:v>
                </c:pt>
                <c:pt idx="1985">
                  <c:v>1.9850000000000001</c:v>
                </c:pt>
                <c:pt idx="1986">
                  <c:v>1.986</c:v>
                </c:pt>
                <c:pt idx="1987">
                  <c:v>1.9870000000000001</c:v>
                </c:pt>
                <c:pt idx="1988">
                  <c:v>1.988</c:v>
                </c:pt>
                <c:pt idx="1989">
                  <c:v>1.9890000000000001</c:v>
                </c:pt>
                <c:pt idx="1990">
                  <c:v>1.99</c:v>
                </c:pt>
                <c:pt idx="1991">
                  <c:v>1.9910000000000001</c:v>
                </c:pt>
                <c:pt idx="1992">
                  <c:v>1.992</c:v>
                </c:pt>
                <c:pt idx="1993">
                  <c:v>1.9930000000000001</c:v>
                </c:pt>
                <c:pt idx="1994">
                  <c:v>1.994</c:v>
                </c:pt>
                <c:pt idx="1995">
                  <c:v>1.9950000000000001</c:v>
                </c:pt>
                <c:pt idx="1996">
                  <c:v>1.996</c:v>
                </c:pt>
                <c:pt idx="1997">
                  <c:v>1.9970000000000001</c:v>
                </c:pt>
                <c:pt idx="1998">
                  <c:v>1.998</c:v>
                </c:pt>
                <c:pt idx="1999">
                  <c:v>1.9990000000000001</c:v>
                </c:pt>
                <c:pt idx="2000">
                  <c:v>2</c:v>
                </c:pt>
                <c:pt idx="2001">
                  <c:v>2.0009999999999999</c:v>
                </c:pt>
                <c:pt idx="2002">
                  <c:v>2.0019999999999998</c:v>
                </c:pt>
                <c:pt idx="2003">
                  <c:v>2.0030000000000001</c:v>
                </c:pt>
                <c:pt idx="2004">
                  <c:v>2.004</c:v>
                </c:pt>
                <c:pt idx="2005">
                  <c:v>2.0049999999999999</c:v>
                </c:pt>
                <c:pt idx="2006">
                  <c:v>2.0059999999999998</c:v>
                </c:pt>
                <c:pt idx="2007">
                  <c:v>2.0070000000000001</c:v>
                </c:pt>
                <c:pt idx="2008">
                  <c:v>2.008</c:v>
                </c:pt>
                <c:pt idx="2009">
                  <c:v>2.0089999999999999</c:v>
                </c:pt>
                <c:pt idx="2010">
                  <c:v>2.0099999999999998</c:v>
                </c:pt>
                <c:pt idx="2011">
                  <c:v>2.0110000000000001</c:v>
                </c:pt>
                <c:pt idx="2012">
                  <c:v>2.012</c:v>
                </c:pt>
                <c:pt idx="2013">
                  <c:v>2.0129999999999999</c:v>
                </c:pt>
                <c:pt idx="2014">
                  <c:v>2.0139999999999998</c:v>
                </c:pt>
                <c:pt idx="2015">
                  <c:v>2.0150000000000001</c:v>
                </c:pt>
                <c:pt idx="2016">
                  <c:v>2.016</c:v>
                </c:pt>
                <c:pt idx="2017">
                  <c:v>2.0169999999999999</c:v>
                </c:pt>
                <c:pt idx="2018">
                  <c:v>2.0179999999999998</c:v>
                </c:pt>
                <c:pt idx="2019">
                  <c:v>2.0190000000000001</c:v>
                </c:pt>
                <c:pt idx="2020">
                  <c:v>2.02</c:v>
                </c:pt>
                <c:pt idx="2021">
                  <c:v>2.0209999999999999</c:v>
                </c:pt>
                <c:pt idx="2022">
                  <c:v>2.0219999999999998</c:v>
                </c:pt>
                <c:pt idx="2023">
                  <c:v>2.0230000000000001</c:v>
                </c:pt>
                <c:pt idx="2024">
                  <c:v>2.024</c:v>
                </c:pt>
                <c:pt idx="2025">
                  <c:v>2.0249999999999999</c:v>
                </c:pt>
                <c:pt idx="2026">
                  <c:v>2.0259999999999998</c:v>
                </c:pt>
                <c:pt idx="2027">
                  <c:v>2.0270000000000001</c:v>
                </c:pt>
                <c:pt idx="2028">
                  <c:v>2.028</c:v>
                </c:pt>
                <c:pt idx="2029">
                  <c:v>2.0289999999999999</c:v>
                </c:pt>
                <c:pt idx="2030">
                  <c:v>2.0299999999999998</c:v>
                </c:pt>
                <c:pt idx="2031">
                  <c:v>2.0310000000000001</c:v>
                </c:pt>
                <c:pt idx="2032">
                  <c:v>2.032</c:v>
                </c:pt>
                <c:pt idx="2033">
                  <c:v>2.0329999999999999</c:v>
                </c:pt>
                <c:pt idx="2034">
                  <c:v>2.0339999999999998</c:v>
                </c:pt>
                <c:pt idx="2035">
                  <c:v>2.0350000000000001</c:v>
                </c:pt>
                <c:pt idx="2036">
                  <c:v>2.036</c:v>
                </c:pt>
                <c:pt idx="2037">
                  <c:v>2.0369999999999999</c:v>
                </c:pt>
                <c:pt idx="2038">
                  <c:v>2.0379999999999998</c:v>
                </c:pt>
                <c:pt idx="2039">
                  <c:v>2.0390000000000001</c:v>
                </c:pt>
                <c:pt idx="2040">
                  <c:v>2.04</c:v>
                </c:pt>
                <c:pt idx="2041">
                  <c:v>2.0409999999999999</c:v>
                </c:pt>
                <c:pt idx="2042">
                  <c:v>2.0419999999999998</c:v>
                </c:pt>
                <c:pt idx="2043">
                  <c:v>2.0430000000000001</c:v>
                </c:pt>
                <c:pt idx="2044">
                  <c:v>2.044</c:v>
                </c:pt>
                <c:pt idx="2045">
                  <c:v>2.0449999999999999</c:v>
                </c:pt>
                <c:pt idx="2046">
                  <c:v>2.0459999999999998</c:v>
                </c:pt>
                <c:pt idx="2047">
                  <c:v>2.0470000000000002</c:v>
                </c:pt>
                <c:pt idx="2048">
                  <c:v>2.048</c:v>
                </c:pt>
                <c:pt idx="2049">
                  <c:v>2.0489999999999999</c:v>
                </c:pt>
                <c:pt idx="2050">
                  <c:v>2.0499999999999998</c:v>
                </c:pt>
                <c:pt idx="2051">
                  <c:v>2.0510000000000002</c:v>
                </c:pt>
                <c:pt idx="2052">
                  <c:v>2.052</c:v>
                </c:pt>
                <c:pt idx="2053">
                  <c:v>2.0529999999999999</c:v>
                </c:pt>
                <c:pt idx="2054">
                  <c:v>2.0539999999999998</c:v>
                </c:pt>
                <c:pt idx="2055">
                  <c:v>2.0550000000000002</c:v>
                </c:pt>
                <c:pt idx="2056">
                  <c:v>2.056</c:v>
                </c:pt>
                <c:pt idx="2057">
                  <c:v>2.0569999999999999</c:v>
                </c:pt>
                <c:pt idx="2058">
                  <c:v>2.0579999999999998</c:v>
                </c:pt>
                <c:pt idx="2059">
                  <c:v>2.0590000000000002</c:v>
                </c:pt>
                <c:pt idx="2060">
                  <c:v>2.06</c:v>
                </c:pt>
                <c:pt idx="2061">
                  <c:v>2.0609999999999999</c:v>
                </c:pt>
                <c:pt idx="2062">
                  <c:v>2.0619999999999998</c:v>
                </c:pt>
                <c:pt idx="2063">
                  <c:v>2.0630000000000002</c:v>
                </c:pt>
                <c:pt idx="2064">
                  <c:v>2.0640000000000001</c:v>
                </c:pt>
                <c:pt idx="2065">
                  <c:v>2.0649999999999999</c:v>
                </c:pt>
                <c:pt idx="2066">
                  <c:v>2.0659999999999998</c:v>
                </c:pt>
                <c:pt idx="2067">
                  <c:v>2.0670000000000002</c:v>
                </c:pt>
                <c:pt idx="2068">
                  <c:v>2.0680000000000001</c:v>
                </c:pt>
                <c:pt idx="2069">
                  <c:v>2.069</c:v>
                </c:pt>
                <c:pt idx="2070">
                  <c:v>2.0699999999999998</c:v>
                </c:pt>
                <c:pt idx="2071">
                  <c:v>2.0710000000000002</c:v>
                </c:pt>
                <c:pt idx="2072">
                  <c:v>2.0720000000000001</c:v>
                </c:pt>
                <c:pt idx="2073">
                  <c:v>2.073</c:v>
                </c:pt>
                <c:pt idx="2074">
                  <c:v>2.0739999999999998</c:v>
                </c:pt>
                <c:pt idx="2075">
                  <c:v>2.0750000000000002</c:v>
                </c:pt>
                <c:pt idx="2076">
                  <c:v>2.0760000000000001</c:v>
                </c:pt>
                <c:pt idx="2077">
                  <c:v>2.077</c:v>
                </c:pt>
                <c:pt idx="2078">
                  <c:v>2.0779999999999998</c:v>
                </c:pt>
                <c:pt idx="2079">
                  <c:v>2.0790000000000002</c:v>
                </c:pt>
                <c:pt idx="2080">
                  <c:v>2.08</c:v>
                </c:pt>
                <c:pt idx="2081">
                  <c:v>2.081</c:v>
                </c:pt>
                <c:pt idx="2082">
                  <c:v>2.0819999999999999</c:v>
                </c:pt>
                <c:pt idx="2083">
                  <c:v>2.0830000000000002</c:v>
                </c:pt>
                <c:pt idx="2084">
                  <c:v>2.0840000000000001</c:v>
                </c:pt>
                <c:pt idx="2085">
                  <c:v>2.085</c:v>
                </c:pt>
                <c:pt idx="2086">
                  <c:v>2.0859999999999999</c:v>
                </c:pt>
                <c:pt idx="2087">
                  <c:v>2.0870000000000002</c:v>
                </c:pt>
                <c:pt idx="2088">
                  <c:v>2.0880000000000001</c:v>
                </c:pt>
                <c:pt idx="2089">
                  <c:v>2.089</c:v>
                </c:pt>
                <c:pt idx="2090">
                  <c:v>2.09</c:v>
                </c:pt>
                <c:pt idx="2091">
                  <c:v>2.0910000000000002</c:v>
                </c:pt>
                <c:pt idx="2092">
                  <c:v>2.0920000000000001</c:v>
                </c:pt>
                <c:pt idx="2093">
                  <c:v>2.093</c:v>
                </c:pt>
                <c:pt idx="2094">
                  <c:v>2.0939999999999999</c:v>
                </c:pt>
                <c:pt idx="2095">
                  <c:v>2.0950000000000002</c:v>
                </c:pt>
                <c:pt idx="2096">
                  <c:v>2.0960000000000001</c:v>
                </c:pt>
                <c:pt idx="2097">
                  <c:v>2.097</c:v>
                </c:pt>
                <c:pt idx="2098">
                  <c:v>2.0979999999999999</c:v>
                </c:pt>
                <c:pt idx="2099">
                  <c:v>2.0990000000000002</c:v>
                </c:pt>
                <c:pt idx="2100">
                  <c:v>2.1</c:v>
                </c:pt>
                <c:pt idx="2101">
                  <c:v>2.101</c:v>
                </c:pt>
                <c:pt idx="2102">
                  <c:v>2.1019999999999999</c:v>
                </c:pt>
                <c:pt idx="2103">
                  <c:v>2.1030000000000002</c:v>
                </c:pt>
                <c:pt idx="2104">
                  <c:v>2.1040000000000001</c:v>
                </c:pt>
                <c:pt idx="2105">
                  <c:v>2.105</c:v>
                </c:pt>
                <c:pt idx="2106">
                  <c:v>2.1059999999999999</c:v>
                </c:pt>
                <c:pt idx="2107">
                  <c:v>2.1070000000000002</c:v>
                </c:pt>
                <c:pt idx="2108">
                  <c:v>2.1080000000000001</c:v>
                </c:pt>
                <c:pt idx="2109">
                  <c:v>2.109</c:v>
                </c:pt>
                <c:pt idx="2110">
                  <c:v>2.11</c:v>
                </c:pt>
                <c:pt idx="2111">
                  <c:v>2.1110000000000002</c:v>
                </c:pt>
                <c:pt idx="2112">
                  <c:v>2.1120000000000001</c:v>
                </c:pt>
                <c:pt idx="2113">
                  <c:v>2.113</c:v>
                </c:pt>
                <c:pt idx="2114">
                  <c:v>2.1139999999999999</c:v>
                </c:pt>
                <c:pt idx="2115">
                  <c:v>2.1150000000000002</c:v>
                </c:pt>
                <c:pt idx="2116">
                  <c:v>2.1160000000000001</c:v>
                </c:pt>
                <c:pt idx="2117">
                  <c:v>2.117</c:v>
                </c:pt>
                <c:pt idx="2118">
                  <c:v>2.1179999999999999</c:v>
                </c:pt>
                <c:pt idx="2119">
                  <c:v>2.1190000000000002</c:v>
                </c:pt>
                <c:pt idx="2120">
                  <c:v>2.12</c:v>
                </c:pt>
                <c:pt idx="2121">
                  <c:v>2.121</c:v>
                </c:pt>
                <c:pt idx="2122">
                  <c:v>2.1219999999999999</c:v>
                </c:pt>
                <c:pt idx="2123">
                  <c:v>2.1230000000000002</c:v>
                </c:pt>
                <c:pt idx="2124">
                  <c:v>2.1240000000000001</c:v>
                </c:pt>
                <c:pt idx="2125">
                  <c:v>2.125</c:v>
                </c:pt>
                <c:pt idx="2126">
                  <c:v>2.1259999999999999</c:v>
                </c:pt>
                <c:pt idx="2127">
                  <c:v>2.1269999999999998</c:v>
                </c:pt>
                <c:pt idx="2128">
                  <c:v>2.1280000000000001</c:v>
                </c:pt>
                <c:pt idx="2129">
                  <c:v>2.129</c:v>
                </c:pt>
                <c:pt idx="2130">
                  <c:v>2.13</c:v>
                </c:pt>
                <c:pt idx="2131">
                  <c:v>2.1309999999999998</c:v>
                </c:pt>
                <c:pt idx="2132">
                  <c:v>2.1320000000000001</c:v>
                </c:pt>
                <c:pt idx="2133">
                  <c:v>2.133</c:v>
                </c:pt>
                <c:pt idx="2134">
                  <c:v>2.1339999999999999</c:v>
                </c:pt>
                <c:pt idx="2135">
                  <c:v>2.1349999999999998</c:v>
                </c:pt>
                <c:pt idx="2136">
                  <c:v>2.1360000000000001</c:v>
                </c:pt>
                <c:pt idx="2137">
                  <c:v>2.137</c:v>
                </c:pt>
                <c:pt idx="2138">
                  <c:v>2.1379999999999999</c:v>
                </c:pt>
                <c:pt idx="2139">
                  <c:v>2.1389999999999998</c:v>
                </c:pt>
                <c:pt idx="2140">
                  <c:v>2.14</c:v>
                </c:pt>
                <c:pt idx="2141">
                  <c:v>2.141</c:v>
                </c:pt>
                <c:pt idx="2142">
                  <c:v>2.1419999999999999</c:v>
                </c:pt>
                <c:pt idx="2143">
                  <c:v>2.1429999999999998</c:v>
                </c:pt>
                <c:pt idx="2144">
                  <c:v>2.1440000000000001</c:v>
                </c:pt>
                <c:pt idx="2145">
                  <c:v>2.145</c:v>
                </c:pt>
                <c:pt idx="2146">
                  <c:v>2.1459999999999999</c:v>
                </c:pt>
                <c:pt idx="2147">
                  <c:v>2.1469999999999998</c:v>
                </c:pt>
                <c:pt idx="2148">
                  <c:v>2.1480000000000001</c:v>
                </c:pt>
                <c:pt idx="2149">
                  <c:v>2.149</c:v>
                </c:pt>
                <c:pt idx="2150">
                  <c:v>2.15</c:v>
                </c:pt>
                <c:pt idx="2151">
                  <c:v>2.1509999999999998</c:v>
                </c:pt>
                <c:pt idx="2152">
                  <c:v>2.1520000000000001</c:v>
                </c:pt>
                <c:pt idx="2153">
                  <c:v>2.153</c:v>
                </c:pt>
                <c:pt idx="2154">
                  <c:v>2.1539999999999999</c:v>
                </c:pt>
                <c:pt idx="2155">
                  <c:v>2.1549999999999998</c:v>
                </c:pt>
                <c:pt idx="2156">
                  <c:v>2.1560000000000001</c:v>
                </c:pt>
                <c:pt idx="2157">
                  <c:v>2.157</c:v>
                </c:pt>
                <c:pt idx="2158">
                  <c:v>2.1579999999999999</c:v>
                </c:pt>
                <c:pt idx="2159">
                  <c:v>2.1589999999999998</c:v>
                </c:pt>
                <c:pt idx="2160">
                  <c:v>2.16</c:v>
                </c:pt>
                <c:pt idx="2161">
                  <c:v>2.161</c:v>
                </c:pt>
                <c:pt idx="2162">
                  <c:v>2.1619999999999999</c:v>
                </c:pt>
                <c:pt idx="2163">
                  <c:v>2.1629999999999998</c:v>
                </c:pt>
                <c:pt idx="2164">
                  <c:v>2.1640000000000001</c:v>
                </c:pt>
                <c:pt idx="2165">
                  <c:v>2.165</c:v>
                </c:pt>
                <c:pt idx="2166">
                  <c:v>2.1659999999999999</c:v>
                </c:pt>
                <c:pt idx="2167">
                  <c:v>2.1669999999999998</c:v>
                </c:pt>
                <c:pt idx="2168">
                  <c:v>2.1680000000000001</c:v>
                </c:pt>
                <c:pt idx="2169">
                  <c:v>2.169</c:v>
                </c:pt>
                <c:pt idx="2170">
                  <c:v>2.17</c:v>
                </c:pt>
                <c:pt idx="2171">
                  <c:v>2.1709999999999998</c:v>
                </c:pt>
                <c:pt idx="2172">
                  <c:v>2.1720000000000002</c:v>
                </c:pt>
                <c:pt idx="2173">
                  <c:v>2.173</c:v>
                </c:pt>
                <c:pt idx="2174">
                  <c:v>2.1739999999999999</c:v>
                </c:pt>
                <c:pt idx="2175">
                  <c:v>2.1749999999999998</c:v>
                </c:pt>
                <c:pt idx="2176">
                  <c:v>2.1760000000000002</c:v>
                </c:pt>
                <c:pt idx="2177">
                  <c:v>2.177</c:v>
                </c:pt>
                <c:pt idx="2178">
                  <c:v>2.1779999999999999</c:v>
                </c:pt>
                <c:pt idx="2179">
                  <c:v>2.1789999999999998</c:v>
                </c:pt>
                <c:pt idx="2180">
                  <c:v>2.1800000000000002</c:v>
                </c:pt>
                <c:pt idx="2181">
                  <c:v>2.181</c:v>
                </c:pt>
                <c:pt idx="2182">
                  <c:v>2.1819999999999999</c:v>
                </c:pt>
                <c:pt idx="2183">
                  <c:v>2.1829999999999998</c:v>
                </c:pt>
                <c:pt idx="2184">
                  <c:v>2.1840000000000002</c:v>
                </c:pt>
                <c:pt idx="2185">
                  <c:v>2.1850000000000001</c:v>
                </c:pt>
                <c:pt idx="2186">
                  <c:v>2.1859999999999999</c:v>
                </c:pt>
                <c:pt idx="2187">
                  <c:v>2.1869999999999998</c:v>
                </c:pt>
                <c:pt idx="2188">
                  <c:v>2.1880000000000002</c:v>
                </c:pt>
                <c:pt idx="2189">
                  <c:v>2.1890000000000001</c:v>
                </c:pt>
                <c:pt idx="2190">
                  <c:v>2.19</c:v>
                </c:pt>
                <c:pt idx="2191">
                  <c:v>2.1909999999999998</c:v>
                </c:pt>
                <c:pt idx="2192">
                  <c:v>2.1920000000000002</c:v>
                </c:pt>
                <c:pt idx="2193">
                  <c:v>2.1930000000000001</c:v>
                </c:pt>
                <c:pt idx="2194">
                  <c:v>2.194</c:v>
                </c:pt>
                <c:pt idx="2195">
                  <c:v>2.1949999999999998</c:v>
                </c:pt>
                <c:pt idx="2196">
                  <c:v>2.1960000000000002</c:v>
                </c:pt>
                <c:pt idx="2197">
                  <c:v>2.1970000000000001</c:v>
                </c:pt>
                <c:pt idx="2198">
                  <c:v>2.198</c:v>
                </c:pt>
                <c:pt idx="2199">
                  <c:v>2.1989999999999998</c:v>
                </c:pt>
                <c:pt idx="2200">
                  <c:v>2.2000000000000002</c:v>
                </c:pt>
                <c:pt idx="2201">
                  <c:v>2.2010000000000001</c:v>
                </c:pt>
                <c:pt idx="2202">
                  <c:v>2.202</c:v>
                </c:pt>
                <c:pt idx="2203">
                  <c:v>2.2029999999999998</c:v>
                </c:pt>
                <c:pt idx="2204">
                  <c:v>2.2040000000000002</c:v>
                </c:pt>
                <c:pt idx="2205">
                  <c:v>2.2050000000000001</c:v>
                </c:pt>
                <c:pt idx="2206">
                  <c:v>2.206</c:v>
                </c:pt>
                <c:pt idx="2207">
                  <c:v>2.2069999999999999</c:v>
                </c:pt>
                <c:pt idx="2208">
                  <c:v>2.2080000000000002</c:v>
                </c:pt>
                <c:pt idx="2209">
                  <c:v>2.2090000000000001</c:v>
                </c:pt>
                <c:pt idx="2210">
                  <c:v>2.21</c:v>
                </c:pt>
                <c:pt idx="2211">
                  <c:v>2.2109999999999999</c:v>
                </c:pt>
                <c:pt idx="2212">
                  <c:v>2.2120000000000002</c:v>
                </c:pt>
                <c:pt idx="2213">
                  <c:v>2.2130000000000001</c:v>
                </c:pt>
                <c:pt idx="2214">
                  <c:v>2.214</c:v>
                </c:pt>
                <c:pt idx="2215">
                  <c:v>2.2149999999999999</c:v>
                </c:pt>
                <c:pt idx="2216">
                  <c:v>2.2160000000000002</c:v>
                </c:pt>
                <c:pt idx="2217">
                  <c:v>2.2170000000000001</c:v>
                </c:pt>
                <c:pt idx="2218">
                  <c:v>2.218</c:v>
                </c:pt>
                <c:pt idx="2219">
                  <c:v>2.2189999999999999</c:v>
                </c:pt>
                <c:pt idx="2220">
                  <c:v>2.2200000000000002</c:v>
                </c:pt>
                <c:pt idx="2221">
                  <c:v>2.2210000000000001</c:v>
                </c:pt>
                <c:pt idx="2222">
                  <c:v>2.222</c:v>
                </c:pt>
                <c:pt idx="2223">
                  <c:v>2.2229999999999999</c:v>
                </c:pt>
                <c:pt idx="2224">
                  <c:v>2.2240000000000002</c:v>
                </c:pt>
                <c:pt idx="2225">
                  <c:v>2.2250000000000001</c:v>
                </c:pt>
                <c:pt idx="2226">
                  <c:v>2.226</c:v>
                </c:pt>
                <c:pt idx="2227">
                  <c:v>2.2269999999999999</c:v>
                </c:pt>
                <c:pt idx="2228">
                  <c:v>2.2280000000000002</c:v>
                </c:pt>
                <c:pt idx="2229">
                  <c:v>2.2290000000000001</c:v>
                </c:pt>
                <c:pt idx="2230">
                  <c:v>2.23</c:v>
                </c:pt>
                <c:pt idx="2231">
                  <c:v>2.2309999999999999</c:v>
                </c:pt>
                <c:pt idx="2232">
                  <c:v>2.2320000000000002</c:v>
                </c:pt>
                <c:pt idx="2233">
                  <c:v>2.2330000000000001</c:v>
                </c:pt>
                <c:pt idx="2234">
                  <c:v>2.234</c:v>
                </c:pt>
                <c:pt idx="2235">
                  <c:v>2.2349999999999999</c:v>
                </c:pt>
                <c:pt idx="2236">
                  <c:v>2.2360000000000002</c:v>
                </c:pt>
                <c:pt idx="2237">
                  <c:v>2.2370000000000001</c:v>
                </c:pt>
                <c:pt idx="2238">
                  <c:v>2.238</c:v>
                </c:pt>
                <c:pt idx="2239">
                  <c:v>2.2389999999999999</c:v>
                </c:pt>
                <c:pt idx="2240">
                  <c:v>2.2400000000000002</c:v>
                </c:pt>
                <c:pt idx="2241">
                  <c:v>2.2410000000000001</c:v>
                </c:pt>
                <c:pt idx="2242">
                  <c:v>2.242</c:v>
                </c:pt>
                <c:pt idx="2243">
                  <c:v>2.2429999999999999</c:v>
                </c:pt>
                <c:pt idx="2244">
                  <c:v>2.2440000000000002</c:v>
                </c:pt>
                <c:pt idx="2245">
                  <c:v>2.2450000000000001</c:v>
                </c:pt>
                <c:pt idx="2246">
                  <c:v>2.246</c:v>
                </c:pt>
                <c:pt idx="2247">
                  <c:v>2.2469999999999999</c:v>
                </c:pt>
                <c:pt idx="2248">
                  <c:v>2.2480000000000002</c:v>
                </c:pt>
                <c:pt idx="2249">
                  <c:v>2.2490000000000001</c:v>
                </c:pt>
                <c:pt idx="2250">
                  <c:v>2.25</c:v>
                </c:pt>
                <c:pt idx="2251">
                  <c:v>2.2509999999999999</c:v>
                </c:pt>
                <c:pt idx="2252">
                  <c:v>2.2519999999999998</c:v>
                </c:pt>
                <c:pt idx="2253">
                  <c:v>2.2530000000000001</c:v>
                </c:pt>
                <c:pt idx="2254">
                  <c:v>2.254</c:v>
                </c:pt>
                <c:pt idx="2255">
                  <c:v>2.2549999999999999</c:v>
                </c:pt>
                <c:pt idx="2256">
                  <c:v>2.2559999999999998</c:v>
                </c:pt>
                <c:pt idx="2257">
                  <c:v>2.2570000000000001</c:v>
                </c:pt>
                <c:pt idx="2258">
                  <c:v>2.258</c:v>
                </c:pt>
                <c:pt idx="2259">
                  <c:v>2.2589999999999999</c:v>
                </c:pt>
                <c:pt idx="2260">
                  <c:v>2.2599999999999998</c:v>
                </c:pt>
                <c:pt idx="2261">
                  <c:v>2.2610000000000001</c:v>
                </c:pt>
                <c:pt idx="2262">
                  <c:v>2.262</c:v>
                </c:pt>
                <c:pt idx="2263">
                  <c:v>2.2629999999999999</c:v>
                </c:pt>
                <c:pt idx="2264">
                  <c:v>2.2639999999999998</c:v>
                </c:pt>
                <c:pt idx="2265">
                  <c:v>2.2650000000000001</c:v>
                </c:pt>
                <c:pt idx="2266">
                  <c:v>2.266</c:v>
                </c:pt>
                <c:pt idx="2267">
                  <c:v>2.2669999999999999</c:v>
                </c:pt>
                <c:pt idx="2268">
                  <c:v>2.2679999999999998</c:v>
                </c:pt>
                <c:pt idx="2269">
                  <c:v>2.2690000000000001</c:v>
                </c:pt>
                <c:pt idx="2270">
                  <c:v>2.27</c:v>
                </c:pt>
                <c:pt idx="2271">
                  <c:v>2.2709999999999999</c:v>
                </c:pt>
                <c:pt idx="2272">
                  <c:v>2.2719999999999998</c:v>
                </c:pt>
                <c:pt idx="2273">
                  <c:v>2.2730000000000001</c:v>
                </c:pt>
                <c:pt idx="2274">
                  <c:v>2.274</c:v>
                </c:pt>
                <c:pt idx="2275">
                  <c:v>2.2749999999999999</c:v>
                </c:pt>
                <c:pt idx="2276">
                  <c:v>2.2759999999999998</c:v>
                </c:pt>
                <c:pt idx="2277">
                  <c:v>2.2770000000000001</c:v>
                </c:pt>
                <c:pt idx="2278">
                  <c:v>2.278</c:v>
                </c:pt>
                <c:pt idx="2279">
                  <c:v>2.2789999999999999</c:v>
                </c:pt>
                <c:pt idx="2280">
                  <c:v>2.2799999999999998</c:v>
                </c:pt>
                <c:pt idx="2281">
                  <c:v>2.2810000000000001</c:v>
                </c:pt>
                <c:pt idx="2282">
                  <c:v>2.282</c:v>
                </c:pt>
                <c:pt idx="2283">
                  <c:v>2.2829999999999999</c:v>
                </c:pt>
                <c:pt idx="2284">
                  <c:v>2.2839999999999998</c:v>
                </c:pt>
                <c:pt idx="2285">
                  <c:v>2.2850000000000001</c:v>
                </c:pt>
                <c:pt idx="2286">
                  <c:v>2.286</c:v>
                </c:pt>
                <c:pt idx="2287">
                  <c:v>2.2869999999999999</c:v>
                </c:pt>
                <c:pt idx="2288">
                  <c:v>2.2879999999999998</c:v>
                </c:pt>
                <c:pt idx="2289">
                  <c:v>2.2890000000000001</c:v>
                </c:pt>
                <c:pt idx="2290">
                  <c:v>2.29</c:v>
                </c:pt>
                <c:pt idx="2291">
                  <c:v>2.2909999999999999</c:v>
                </c:pt>
                <c:pt idx="2292">
                  <c:v>2.2919999999999998</c:v>
                </c:pt>
                <c:pt idx="2293">
                  <c:v>2.2930000000000001</c:v>
                </c:pt>
                <c:pt idx="2294">
                  <c:v>2.294</c:v>
                </c:pt>
                <c:pt idx="2295">
                  <c:v>2.2949999999999999</c:v>
                </c:pt>
                <c:pt idx="2296">
                  <c:v>2.2959999999999998</c:v>
                </c:pt>
                <c:pt idx="2297">
                  <c:v>2.2970000000000002</c:v>
                </c:pt>
                <c:pt idx="2298">
                  <c:v>2.298</c:v>
                </c:pt>
                <c:pt idx="2299">
                  <c:v>2.2989999999999999</c:v>
                </c:pt>
                <c:pt idx="2300">
                  <c:v>2.2999999999999998</c:v>
                </c:pt>
                <c:pt idx="2301">
                  <c:v>2.3010000000000002</c:v>
                </c:pt>
                <c:pt idx="2302">
                  <c:v>2.302</c:v>
                </c:pt>
                <c:pt idx="2303">
                  <c:v>2.3029999999999999</c:v>
                </c:pt>
                <c:pt idx="2304">
                  <c:v>2.3039999999999998</c:v>
                </c:pt>
                <c:pt idx="2305">
                  <c:v>2.3050000000000002</c:v>
                </c:pt>
                <c:pt idx="2306">
                  <c:v>2.306</c:v>
                </c:pt>
                <c:pt idx="2307">
                  <c:v>2.3069999999999999</c:v>
                </c:pt>
                <c:pt idx="2308">
                  <c:v>2.3079999999999998</c:v>
                </c:pt>
                <c:pt idx="2309">
                  <c:v>2.3090000000000002</c:v>
                </c:pt>
                <c:pt idx="2310">
                  <c:v>2.31</c:v>
                </c:pt>
                <c:pt idx="2311">
                  <c:v>2.3109999999999999</c:v>
                </c:pt>
                <c:pt idx="2312">
                  <c:v>2.3119999999999998</c:v>
                </c:pt>
                <c:pt idx="2313">
                  <c:v>2.3130000000000002</c:v>
                </c:pt>
                <c:pt idx="2314">
                  <c:v>2.3140000000000001</c:v>
                </c:pt>
                <c:pt idx="2315">
                  <c:v>2.3149999999999999</c:v>
                </c:pt>
                <c:pt idx="2316">
                  <c:v>2.3159999999999998</c:v>
                </c:pt>
                <c:pt idx="2317">
                  <c:v>2.3170000000000002</c:v>
                </c:pt>
                <c:pt idx="2318">
                  <c:v>2.3180000000000001</c:v>
                </c:pt>
                <c:pt idx="2319">
                  <c:v>2.319</c:v>
                </c:pt>
                <c:pt idx="2320">
                  <c:v>2.3199999999999998</c:v>
                </c:pt>
                <c:pt idx="2321">
                  <c:v>2.3210000000000002</c:v>
                </c:pt>
                <c:pt idx="2322">
                  <c:v>2.3220000000000001</c:v>
                </c:pt>
                <c:pt idx="2323">
                  <c:v>2.323</c:v>
                </c:pt>
                <c:pt idx="2324">
                  <c:v>2.3239999999999998</c:v>
                </c:pt>
                <c:pt idx="2325">
                  <c:v>2.3250000000000002</c:v>
                </c:pt>
                <c:pt idx="2326">
                  <c:v>2.3260000000000001</c:v>
                </c:pt>
                <c:pt idx="2327">
                  <c:v>2.327</c:v>
                </c:pt>
                <c:pt idx="2328">
                  <c:v>2.3279999999999998</c:v>
                </c:pt>
                <c:pt idx="2329">
                  <c:v>2.3290000000000002</c:v>
                </c:pt>
                <c:pt idx="2330">
                  <c:v>2.33</c:v>
                </c:pt>
                <c:pt idx="2331">
                  <c:v>2.331</c:v>
                </c:pt>
                <c:pt idx="2332">
                  <c:v>2.3319999999999999</c:v>
                </c:pt>
                <c:pt idx="2333">
                  <c:v>2.3330000000000002</c:v>
                </c:pt>
                <c:pt idx="2334">
                  <c:v>2.3340000000000001</c:v>
                </c:pt>
                <c:pt idx="2335">
                  <c:v>2.335</c:v>
                </c:pt>
                <c:pt idx="2336">
                  <c:v>2.3359999999999999</c:v>
                </c:pt>
                <c:pt idx="2337">
                  <c:v>2.3370000000000002</c:v>
                </c:pt>
                <c:pt idx="2338">
                  <c:v>2.3380000000000001</c:v>
                </c:pt>
                <c:pt idx="2339">
                  <c:v>2.339</c:v>
                </c:pt>
                <c:pt idx="2340">
                  <c:v>2.34</c:v>
                </c:pt>
                <c:pt idx="2341">
                  <c:v>2.3410000000000002</c:v>
                </c:pt>
                <c:pt idx="2342">
                  <c:v>2.3420000000000001</c:v>
                </c:pt>
                <c:pt idx="2343">
                  <c:v>2.343</c:v>
                </c:pt>
                <c:pt idx="2344">
                  <c:v>2.3439999999999999</c:v>
                </c:pt>
                <c:pt idx="2345">
                  <c:v>2.3450000000000002</c:v>
                </c:pt>
                <c:pt idx="2346">
                  <c:v>2.3460000000000001</c:v>
                </c:pt>
                <c:pt idx="2347">
                  <c:v>2.347</c:v>
                </c:pt>
                <c:pt idx="2348">
                  <c:v>2.3479999999999999</c:v>
                </c:pt>
                <c:pt idx="2349">
                  <c:v>2.3490000000000002</c:v>
                </c:pt>
                <c:pt idx="2350">
                  <c:v>2.35</c:v>
                </c:pt>
                <c:pt idx="2351">
                  <c:v>2.351</c:v>
                </c:pt>
                <c:pt idx="2352">
                  <c:v>2.3519999999999999</c:v>
                </c:pt>
                <c:pt idx="2353">
                  <c:v>2.3530000000000002</c:v>
                </c:pt>
                <c:pt idx="2354">
                  <c:v>2.3540000000000001</c:v>
                </c:pt>
                <c:pt idx="2355">
                  <c:v>2.355</c:v>
                </c:pt>
                <c:pt idx="2356">
                  <c:v>2.3559999999999999</c:v>
                </c:pt>
                <c:pt idx="2357">
                  <c:v>2.3570000000000002</c:v>
                </c:pt>
                <c:pt idx="2358">
                  <c:v>2.3580000000000001</c:v>
                </c:pt>
                <c:pt idx="2359">
                  <c:v>2.359</c:v>
                </c:pt>
                <c:pt idx="2360">
                  <c:v>2.36</c:v>
                </c:pt>
                <c:pt idx="2361">
                  <c:v>2.3610000000000002</c:v>
                </c:pt>
                <c:pt idx="2362">
                  <c:v>2.3620000000000001</c:v>
                </c:pt>
                <c:pt idx="2363">
                  <c:v>2.363</c:v>
                </c:pt>
                <c:pt idx="2364">
                  <c:v>2.3639999999999999</c:v>
                </c:pt>
                <c:pt idx="2365">
                  <c:v>2.3650000000000002</c:v>
                </c:pt>
                <c:pt idx="2366">
                  <c:v>2.3660000000000001</c:v>
                </c:pt>
                <c:pt idx="2367">
                  <c:v>2.367</c:v>
                </c:pt>
                <c:pt idx="2368">
                  <c:v>2.3679999999999999</c:v>
                </c:pt>
                <c:pt idx="2369">
                  <c:v>2.3690000000000002</c:v>
                </c:pt>
                <c:pt idx="2370">
                  <c:v>2.37</c:v>
                </c:pt>
                <c:pt idx="2371">
                  <c:v>2.371</c:v>
                </c:pt>
                <c:pt idx="2372">
                  <c:v>2.3719999999999999</c:v>
                </c:pt>
                <c:pt idx="2373">
                  <c:v>2.3730000000000002</c:v>
                </c:pt>
                <c:pt idx="2374">
                  <c:v>2.3740000000000001</c:v>
                </c:pt>
                <c:pt idx="2375">
                  <c:v>2.375</c:v>
                </c:pt>
                <c:pt idx="2376">
                  <c:v>2.3759999999999999</c:v>
                </c:pt>
                <c:pt idx="2377">
                  <c:v>2.3769999999999998</c:v>
                </c:pt>
                <c:pt idx="2378">
                  <c:v>2.3780000000000001</c:v>
                </c:pt>
                <c:pt idx="2379">
                  <c:v>2.379</c:v>
                </c:pt>
                <c:pt idx="2380">
                  <c:v>2.38</c:v>
                </c:pt>
                <c:pt idx="2381">
                  <c:v>2.3809999999999998</c:v>
                </c:pt>
                <c:pt idx="2382">
                  <c:v>2.3820000000000001</c:v>
                </c:pt>
                <c:pt idx="2383">
                  <c:v>2.383</c:v>
                </c:pt>
                <c:pt idx="2384">
                  <c:v>2.3839999999999999</c:v>
                </c:pt>
                <c:pt idx="2385">
                  <c:v>2.3849999999999998</c:v>
                </c:pt>
                <c:pt idx="2386">
                  <c:v>2.3860000000000001</c:v>
                </c:pt>
                <c:pt idx="2387">
                  <c:v>2.387</c:v>
                </c:pt>
                <c:pt idx="2388">
                  <c:v>2.3879999999999999</c:v>
                </c:pt>
                <c:pt idx="2389">
                  <c:v>2.3889999999999998</c:v>
                </c:pt>
                <c:pt idx="2390">
                  <c:v>2.39</c:v>
                </c:pt>
                <c:pt idx="2391">
                  <c:v>2.391</c:v>
                </c:pt>
                <c:pt idx="2392">
                  <c:v>2.3919999999999999</c:v>
                </c:pt>
                <c:pt idx="2393">
                  <c:v>2.3929999999999998</c:v>
                </c:pt>
                <c:pt idx="2394">
                  <c:v>2.3940000000000001</c:v>
                </c:pt>
                <c:pt idx="2395">
                  <c:v>2.395</c:v>
                </c:pt>
                <c:pt idx="2396">
                  <c:v>2.3959999999999999</c:v>
                </c:pt>
                <c:pt idx="2397">
                  <c:v>2.3969999999999998</c:v>
                </c:pt>
                <c:pt idx="2398">
                  <c:v>2.3980000000000001</c:v>
                </c:pt>
                <c:pt idx="2399">
                  <c:v>2.399</c:v>
                </c:pt>
                <c:pt idx="2400">
                  <c:v>2.4</c:v>
                </c:pt>
                <c:pt idx="2401">
                  <c:v>2.4009999999999998</c:v>
                </c:pt>
                <c:pt idx="2402">
                  <c:v>2.4020000000000001</c:v>
                </c:pt>
                <c:pt idx="2403">
                  <c:v>2.403</c:v>
                </c:pt>
                <c:pt idx="2404">
                  <c:v>2.4039999999999999</c:v>
                </c:pt>
                <c:pt idx="2405">
                  <c:v>2.4049999999999998</c:v>
                </c:pt>
                <c:pt idx="2406">
                  <c:v>2.4060000000000001</c:v>
                </c:pt>
                <c:pt idx="2407">
                  <c:v>2.407</c:v>
                </c:pt>
                <c:pt idx="2408">
                  <c:v>2.4079999999999999</c:v>
                </c:pt>
                <c:pt idx="2409">
                  <c:v>2.4089999999999998</c:v>
                </c:pt>
                <c:pt idx="2410">
                  <c:v>2.41</c:v>
                </c:pt>
                <c:pt idx="2411">
                  <c:v>2.411</c:v>
                </c:pt>
                <c:pt idx="2412">
                  <c:v>2.4119999999999999</c:v>
                </c:pt>
                <c:pt idx="2413">
                  <c:v>2.4129999999999998</c:v>
                </c:pt>
                <c:pt idx="2414">
                  <c:v>2.4140000000000001</c:v>
                </c:pt>
                <c:pt idx="2415">
                  <c:v>2.415</c:v>
                </c:pt>
                <c:pt idx="2416">
                  <c:v>2.4159999999999999</c:v>
                </c:pt>
                <c:pt idx="2417">
                  <c:v>2.4169999999999998</c:v>
                </c:pt>
                <c:pt idx="2418">
                  <c:v>2.4180000000000001</c:v>
                </c:pt>
                <c:pt idx="2419">
                  <c:v>2.419</c:v>
                </c:pt>
                <c:pt idx="2420">
                  <c:v>2.42</c:v>
                </c:pt>
                <c:pt idx="2421">
                  <c:v>2.4209999999999998</c:v>
                </c:pt>
                <c:pt idx="2422">
                  <c:v>2.4220000000000002</c:v>
                </c:pt>
                <c:pt idx="2423">
                  <c:v>2.423</c:v>
                </c:pt>
                <c:pt idx="2424">
                  <c:v>2.4239999999999999</c:v>
                </c:pt>
                <c:pt idx="2425">
                  <c:v>2.4249999999999998</c:v>
                </c:pt>
                <c:pt idx="2426">
                  <c:v>2.4260000000000002</c:v>
                </c:pt>
                <c:pt idx="2427">
                  <c:v>2.427</c:v>
                </c:pt>
                <c:pt idx="2428">
                  <c:v>2.4279999999999999</c:v>
                </c:pt>
                <c:pt idx="2429">
                  <c:v>2.4289999999999998</c:v>
                </c:pt>
                <c:pt idx="2430">
                  <c:v>2.4300000000000002</c:v>
                </c:pt>
                <c:pt idx="2431">
                  <c:v>2.431</c:v>
                </c:pt>
                <c:pt idx="2432">
                  <c:v>2.4319999999999999</c:v>
                </c:pt>
                <c:pt idx="2433">
                  <c:v>2.4329999999999998</c:v>
                </c:pt>
                <c:pt idx="2434">
                  <c:v>2.4340000000000002</c:v>
                </c:pt>
                <c:pt idx="2435">
                  <c:v>2.4350000000000001</c:v>
                </c:pt>
                <c:pt idx="2436">
                  <c:v>2.4359999999999999</c:v>
                </c:pt>
                <c:pt idx="2437">
                  <c:v>2.4369999999999998</c:v>
                </c:pt>
                <c:pt idx="2438">
                  <c:v>2.4380000000000002</c:v>
                </c:pt>
                <c:pt idx="2439">
                  <c:v>2.4390000000000001</c:v>
                </c:pt>
                <c:pt idx="2440">
                  <c:v>2.44</c:v>
                </c:pt>
                <c:pt idx="2441">
                  <c:v>2.4409999999999998</c:v>
                </c:pt>
                <c:pt idx="2442">
                  <c:v>2.4420000000000002</c:v>
                </c:pt>
                <c:pt idx="2443">
                  <c:v>2.4430000000000001</c:v>
                </c:pt>
                <c:pt idx="2444">
                  <c:v>2.444</c:v>
                </c:pt>
                <c:pt idx="2445">
                  <c:v>2.4449999999999998</c:v>
                </c:pt>
                <c:pt idx="2446">
                  <c:v>2.4460000000000002</c:v>
                </c:pt>
                <c:pt idx="2447">
                  <c:v>2.4470000000000001</c:v>
                </c:pt>
                <c:pt idx="2448">
                  <c:v>2.448</c:v>
                </c:pt>
                <c:pt idx="2449">
                  <c:v>2.4489999999999998</c:v>
                </c:pt>
                <c:pt idx="2450">
                  <c:v>2.4500000000000002</c:v>
                </c:pt>
                <c:pt idx="2451">
                  <c:v>2.4510000000000001</c:v>
                </c:pt>
                <c:pt idx="2452">
                  <c:v>2.452</c:v>
                </c:pt>
                <c:pt idx="2453">
                  <c:v>2.4529999999999998</c:v>
                </c:pt>
                <c:pt idx="2454">
                  <c:v>2.4540000000000002</c:v>
                </c:pt>
                <c:pt idx="2455">
                  <c:v>2.4550000000000001</c:v>
                </c:pt>
                <c:pt idx="2456">
                  <c:v>2.456</c:v>
                </c:pt>
                <c:pt idx="2457">
                  <c:v>2.4569999999999999</c:v>
                </c:pt>
                <c:pt idx="2458">
                  <c:v>2.4580000000000002</c:v>
                </c:pt>
                <c:pt idx="2459">
                  <c:v>2.4590000000000001</c:v>
                </c:pt>
                <c:pt idx="2460">
                  <c:v>2.46</c:v>
                </c:pt>
                <c:pt idx="2461">
                  <c:v>2.4609999999999999</c:v>
                </c:pt>
                <c:pt idx="2462">
                  <c:v>2.4620000000000002</c:v>
                </c:pt>
                <c:pt idx="2463">
                  <c:v>2.4630000000000001</c:v>
                </c:pt>
                <c:pt idx="2464">
                  <c:v>2.464</c:v>
                </c:pt>
                <c:pt idx="2465">
                  <c:v>2.4649999999999999</c:v>
                </c:pt>
                <c:pt idx="2466">
                  <c:v>2.4660000000000002</c:v>
                </c:pt>
                <c:pt idx="2467">
                  <c:v>2.4670000000000001</c:v>
                </c:pt>
                <c:pt idx="2468">
                  <c:v>2.468</c:v>
                </c:pt>
                <c:pt idx="2469">
                  <c:v>2.4689999999999999</c:v>
                </c:pt>
                <c:pt idx="2470">
                  <c:v>2.4700000000000002</c:v>
                </c:pt>
                <c:pt idx="2471">
                  <c:v>2.4710000000000001</c:v>
                </c:pt>
                <c:pt idx="2472">
                  <c:v>2.472</c:v>
                </c:pt>
                <c:pt idx="2473">
                  <c:v>2.4729999999999999</c:v>
                </c:pt>
                <c:pt idx="2474">
                  <c:v>2.4740000000000002</c:v>
                </c:pt>
                <c:pt idx="2475">
                  <c:v>2.4750000000000001</c:v>
                </c:pt>
                <c:pt idx="2476">
                  <c:v>2.476</c:v>
                </c:pt>
                <c:pt idx="2477">
                  <c:v>2.4769999999999999</c:v>
                </c:pt>
                <c:pt idx="2478">
                  <c:v>2.4780000000000002</c:v>
                </c:pt>
                <c:pt idx="2479">
                  <c:v>2.4790000000000001</c:v>
                </c:pt>
                <c:pt idx="2480">
                  <c:v>2.48</c:v>
                </c:pt>
                <c:pt idx="2481">
                  <c:v>2.4809999999999999</c:v>
                </c:pt>
                <c:pt idx="2482">
                  <c:v>2.4820000000000002</c:v>
                </c:pt>
                <c:pt idx="2483">
                  <c:v>2.4830000000000001</c:v>
                </c:pt>
                <c:pt idx="2484">
                  <c:v>2.484</c:v>
                </c:pt>
                <c:pt idx="2485">
                  <c:v>2.4849999999999999</c:v>
                </c:pt>
                <c:pt idx="2486">
                  <c:v>2.4860000000000002</c:v>
                </c:pt>
                <c:pt idx="2487">
                  <c:v>2.4870000000000001</c:v>
                </c:pt>
                <c:pt idx="2488">
                  <c:v>2.488</c:v>
                </c:pt>
                <c:pt idx="2489">
                  <c:v>2.4889999999999999</c:v>
                </c:pt>
                <c:pt idx="2490">
                  <c:v>2.4900000000000002</c:v>
                </c:pt>
                <c:pt idx="2491">
                  <c:v>2.4910000000000001</c:v>
                </c:pt>
                <c:pt idx="2492">
                  <c:v>2.492</c:v>
                </c:pt>
                <c:pt idx="2493">
                  <c:v>2.4929999999999999</c:v>
                </c:pt>
                <c:pt idx="2494">
                  <c:v>2.4940000000000002</c:v>
                </c:pt>
                <c:pt idx="2495">
                  <c:v>2.4950000000000001</c:v>
                </c:pt>
                <c:pt idx="2496">
                  <c:v>2.496</c:v>
                </c:pt>
                <c:pt idx="2497">
                  <c:v>2.4969999999999999</c:v>
                </c:pt>
                <c:pt idx="2498">
                  <c:v>2.4980000000000002</c:v>
                </c:pt>
                <c:pt idx="2499">
                  <c:v>2.4990000000000001</c:v>
                </c:pt>
                <c:pt idx="2500">
                  <c:v>2.5</c:v>
                </c:pt>
                <c:pt idx="2501">
                  <c:v>2.5009999999999999</c:v>
                </c:pt>
                <c:pt idx="2502">
                  <c:v>2.5019999999999998</c:v>
                </c:pt>
                <c:pt idx="2503">
                  <c:v>2.5030000000000001</c:v>
                </c:pt>
                <c:pt idx="2504">
                  <c:v>2.504</c:v>
                </c:pt>
                <c:pt idx="2505">
                  <c:v>2.5049999999999999</c:v>
                </c:pt>
                <c:pt idx="2506">
                  <c:v>2.5059999999999998</c:v>
                </c:pt>
                <c:pt idx="2507">
                  <c:v>2.5070000000000001</c:v>
                </c:pt>
                <c:pt idx="2508">
                  <c:v>2.508</c:v>
                </c:pt>
                <c:pt idx="2509">
                  <c:v>2.5089999999999999</c:v>
                </c:pt>
                <c:pt idx="2510">
                  <c:v>2.5099999999999998</c:v>
                </c:pt>
                <c:pt idx="2511">
                  <c:v>2.5110000000000001</c:v>
                </c:pt>
                <c:pt idx="2512">
                  <c:v>2.512</c:v>
                </c:pt>
                <c:pt idx="2513">
                  <c:v>2.5129999999999999</c:v>
                </c:pt>
                <c:pt idx="2514">
                  <c:v>2.5139999999999998</c:v>
                </c:pt>
                <c:pt idx="2515">
                  <c:v>2.5150000000000001</c:v>
                </c:pt>
                <c:pt idx="2516">
                  <c:v>2.516</c:v>
                </c:pt>
                <c:pt idx="2517">
                  <c:v>2.5169999999999999</c:v>
                </c:pt>
                <c:pt idx="2518">
                  <c:v>2.5179999999999998</c:v>
                </c:pt>
                <c:pt idx="2519">
                  <c:v>2.5190000000000001</c:v>
                </c:pt>
                <c:pt idx="2520">
                  <c:v>2.52</c:v>
                </c:pt>
                <c:pt idx="2521">
                  <c:v>2.5209999999999999</c:v>
                </c:pt>
                <c:pt idx="2522">
                  <c:v>2.5219999999999998</c:v>
                </c:pt>
                <c:pt idx="2523">
                  <c:v>2.5230000000000001</c:v>
                </c:pt>
                <c:pt idx="2524">
                  <c:v>2.524</c:v>
                </c:pt>
                <c:pt idx="2525">
                  <c:v>2.5249999999999999</c:v>
                </c:pt>
                <c:pt idx="2526">
                  <c:v>2.5259999999999998</c:v>
                </c:pt>
                <c:pt idx="2527">
                  <c:v>2.5270000000000001</c:v>
                </c:pt>
                <c:pt idx="2528">
                  <c:v>2.528</c:v>
                </c:pt>
                <c:pt idx="2529">
                  <c:v>2.5289999999999999</c:v>
                </c:pt>
                <c:pt idx="2530">
                  <c:v>2.5299999999999998</c:v>
                </c:pt>
                <c:pt idx="2531">
                  <c:v>2.5310000000000001</c:v>
                </c:pt>
                <c:pt idx="2532">
                  <c:v>2.532</c:v>
                </c:pt>
                <c:pt idx="2533">
                  <c:v>2.5329999999999999</c:v>
                </c:pt>
                <c:pt idx="2534">
                  <c:v>2.5339999999999998</c:v>
                </c:pt>
                <c:pt idx="2535">
                  <c:v>2.5350000000000001</c:v>
                </c:pt>
                <c:pt idx="2536">
                  <c:v>2.536</c:v>
                </c:pt>
                <c:pt idx="2537">
                  <c:v>2.5369999999999999</c:v>
                </c:pt>
                <c:pt idx="2538">
                  <c:v>2.5379999999999998</c:v>
                </c:pt>
                <c:pt idx="2539">
                  <c:v>2.5390000000000001</c:v>
                </c:pt>
                <c:pt idx="2540">
                  <c:v>2.54</c:v>
                </c:pt>
                <c:pt idx="2541">
                  <c:v>2.5409999999999999</c:v>
                </c:pt>
                <c:pt idx="2542">
                  <c:v>2.5419999999999998</c:v>
                </c:pt>
                <c:pt idx="2543">
                  <c:v>2.5430000000000001</c:v>
                </c:pt>
                <c:pt idx="2544">
                  <c:v>2.544</c:v>
                </c:pt>
                <c:pt idx="2545">
                  <c:v>2.5449999999999999</c:v>
                </c:pt>
                <c:pt idx="2546">
                  <c:v>2.5459999999999998</c:v>
                </c:pt>
                <c:pt idx="2547">
                  <c:v>2.5470000000000002</c:v>
                </c:pt>
                <c:pt idx="2548">
                  <c:v>2.548</c:v>
                </c:pt>
                <c:pt idx="2549">
                  <c:v>2.5489999999999999</c:v>
                </c:pt>
                <c:pt idx="2550">
                  <c:v>2.5499999999999998</c:v>
                </c:pt>
                <c:pt idx="2551">
                  <c:v>2.5510000000000002</c:v>
                </c:pt>
                <c:pt idx="2552">
                  <c:v>2.552</c:v>
                </c:pt>
                <c:pt idx="2553">
                  <c:v>2.5529999999999999</c:v>
                </c:pt>
                <c:pt idx="2554">
                  <c:v>2.5539999999999998</c:v>
                </c:pt>
                <c:pt idx="2555">
                  <c:v>2.5550000000000002</c:v>
                </c:pt>
                <c:pt idx="2556">
                  <c:v>2.556</c:v>
                </c:pt>
                <c:pt idx="2557">
                  <c:v>2.5569999999999999</c:v>
                </c:pt>
                <c:pt idx="2558">
                  <c:v>2.5579999999999998</c:v>
                </c:pt>
                <c:pt idx="2559">
                  <c:v>2.5590000000000002</c:v>
                </c:pt>
                <c:pt idx="2560">
                  <c:v>2.56</c:v>
                </c:pt>
                <c:pt idx="2561">
                  <c:v>2.5609999999999999</c:v>
                </c:pt>
                <c:pt idx="2562">
                  <c:v>2.5619999999999998</c:v>
                </c:pt>
                <c:pt idx="2563">
                  <c:v>2.5630000000000002</c:v>
                </c:pt>
                <c:pt idx="2564">
                  <c:v>2.5640000000000001</c:v>
                </c:pt>
                <c:pt idx="2565">
                  <c:v>2.5649999999999999</c:v>
                </c:pt>
                <c:pt idx="2566">
                  <c:v>2.5659999999999998</c:v>
                </c:pt>
                <c:pt idx="2567">
                  <c:v>2.5670000000000002</c:v>
                </c:pt>
                <c:pt idx="2568">
                  <c:v>2.5680000000000001</c:v>
                </c:pt>
                <c:pt idx="2569">
                  <c:v>2.569</c:v>
                </c:pt>
                <c:pt idx="2570">
                  <c:v>2.57</c:v>
                </c:pt>
                <c:pt idx="2571">
                  <c:v>2.5710000000000002</c:v>
                </c:pt>
                <c:pt idx="2572">
                  <c:v>2.5720000000000001</c:v>
                </c:pt>
                <c:pt idx="2573">
                  <c:v>2.573</c:v>
                </c:pt>
                <c:pt idx="2574">
                  <c:v>2.5739999999999998</c:v>
                </c:pt>
                <c:pt idx="2575">
                  <c:v>2.5750000000000002</c:v>
                </c:pt>
                <c:pt idx="2576">
                  <c:v>2.5760000000000001</c:v>
                </c:pt>
                <c:pt idx="2577">
                  <c:v>2.577</c:v>
                </c:pt>
                <c:pt idx="2578">
                  <c:v>2.5779999999999998</c:v>
                </c:pt>
                <c:pt idx="2579">
                  <c:v>2.5790000000000002</c:v>
                </c:pt>
                <c:pt idx="2580">
                  <c:v>2.58</c:v>
                </c:pt>
                <c:pt idx="2581">
                  <c:v>2.581</c:v>
                </c:pt>
                <c:pt idx="2582">
                  <c:v>2.5819999999999999</c:v>
                </c:pt>
                <c:pt idx="2583">
                  <c:v>2.5830000000000002</c:v>
                </c:pt>
                <c:pt idx="2584">
                  <c:v>2.5840000000000001</c:v>
                </c:pt>
                <c:pt idx="2585">
                  <c:v>2.585</c:v>
                </c:pt>
                <c:pt idx="2586">
                  <c:v>2.5859999999999999</c:v>
                </c:pt>
                <c:pt idx="2587">
                  <c:v>2.5870000000000002</c:v>
                </c:pt>
                <c:pt idx="2588">
                  <c:v>2.5880000000000001</c:v>
                </c:pt>
                <c:pt idx="2589">
                  <c:v>2.589</c:v>
                </c:pt>
                <c:pt idx="2590">
                  <c:v>2.59</c:v>
                </c:pt>
                <c:pt idx="2591">
                  <c:v>2.5910000000000002</c:v>
                </c:pt>
                <c:pt idx="2592">
                  <c:v>2.5920000000000001</c:v>
                </c:pt>
                <c:pt idx="2593">
                  <c:v>2.593</c:v>
                </c:pt>
                <c:pt idx="2594">
                  <c:v>2.5939999999999999</c:v>
                </c:pt>
                <c:pt idx="2595">
                  <c:v>2.5950000000000002</c:v>
                </c:pt>
                <c:pt idx="2596">
                  <c:v>2.5960000000000001</c:v>
                </c:pt>
                <c:pt idx="2597">
                  <c:v>2.597</c:v>
                </c:pt>
                <c:pt idx="2598">
                  <c:v>2.5979999999999999</c:v>
                </c:pt>
                <c:pt idx="2599">
                  <c:v>2.5990000000000002</c:v>
                </c:pt>
                <c:pt idx="2600">
                  <c:v>2.6</c:v>
                </c:pt>
                <c:pt idx="2601">
                  <c:v>2.601</c:v>
                </c:pt>
                <c:pt idx="2602">
                  <c:v>2.6019999999999999</c:v>
                </c:pt>
                <c:pt idx="2603">
                  <c:v>2.6030000000000002</c:v>
                </c:pt>
                <c:pt idx="2604">
                  <c:v>2.6040000000000001</c:v>
                </c:pt>
                <c:pt idx="2605">
                  <c:v>2.605</c:v>
                </c:pt>
                <c:pt idx="2606">
                  <c:v>2.6059999999999999</c:v>
                </c:pt>
                <c:pt idx="2607">
                  <c:v>2.6070000000000002</c:v>
                </c:pt>
                <c:pt idx="2608">
                  <c:v>2.6080000000000001</c:v>
                </c:pt>
                <c:pt idx="2609">
                  <c:v>2.609</c:v>
                </c:pt>
                <c:pt idx="2610">
                  <c:v>2.61</c:v>
                </c:pt>
                <c:pt idx="2611">
                  <c:v>2.6110000000000002</c:v>
                </c:pt>
                <c:pt idx="2612">
                  <c:v>2.6120000000000001</c:v>
                </c:pt>
                <c:pt idx="2613">
                  <c:v>2.613</c:v>
                </c:pt>
                <c:pt idx="2614">
                  <c:v>2.6139999999999999</c:v>
                </c:pt>
                <c:pt idx="2615">
                  <c:v>2.6150000000000002</c:v>
                </c:pt>
                <c:pt idx="2616">
                  <c:v>2.6160000000000001</c:v>
                </c:pt>
                <c:pt idx="2617">
                  <c:v>2.617</c:v>
                </c:pt>
                <c:pt idx="2618">
                  <c:v>2.6179999999999999</c:v>
                </c:pt>
                <c:pt idx="2619">
                  <c:v>2.6190000000000002</c:v>
                </c:pt>
                <c:pt idx="2620">
                  <c:v>2.62</c:v>
                </c:pt>
                <c:pt idx="2621">
                  <c:v>2.621</c:v>
                </c:pt>
                <c:pt idx="2622">
                  <c:v>2.6219999999999999</c:v>
                </c:pt>
                <c:pt idx="2623">
                  <c:v>2.6230000000000002</c:v>
                </c:pt>
                <c:pt idx="2624">
                  <c:v>2.6240000000000001</c:v>
                </c:pt>
                <c:pt idx="2625">
                  <c:v>2.625</c:v>
                </c:pt>
                <c:pt idx="2626">
                  <c:v>2.6259999999999999</c:v>
                </c:pt>
                <c:pt idx="2627">
                  <c:v>2.6269999999999998</c:v>
                </c:pt>
                <c:pt idx="2628">
                  <c:v>2.6280000000000001</c:v>
                </c:pt>
                <c:pt idx="2629">
                  <c:v>2.629</c:v>
                </c:pt>
                <c:pt idx="2630">
                  <c:v>2.63</c:v>
                </c:pt>
                <c:pt idx="2631">
                  <c:v>2.6309999999999998</c:v>
                </c:pt>
                <c:pt idx="2632">
                  <c:v>2.6320000000000001</c:v>
                </c:pt>
                <c:pt idx="2633">
                  <c:v>2.633</c:v>
                </c:pt>
                <c:pt idx="2634">
                  <c:v>2.6339999999999999</c:v>
                </c:pt>
                <c:pt idx="2635">
                  <c:v>2.6349999999999998</c:v>
                </c:pt>
                <c:pt idx="2636">
                  <c:v>2.6360000000000001</c:v>
                </c:pt>
                <c:pt idx="2637">
                  <c:v>2.637</c:v>
                </c:pt>
                <c:pt idx="2638">
                  <c:v>2.6379999999999999</c:v>
                </c:pt>
                <c:pt idx="2639">
                  <c:v>2.6389999999999998</c:v>
                </c:pt>
                <c:pt idx="2640">
                  <c:v>2.64</c:v>
                </c:pt>
                <c:pt idx="2641">
                  <c:v>2.641</c:v>
                </c:pt>
                <c:pt idx="2642">
                  <c:v>2.6419999999999999</c:v>
                </c:pt>
                <c:pt idx="2643">
                  <c:v>2.6429999999999998</c:v>
                </c:pt>
                <c:pt idx="2644">
                  <c:v>2.6440000000000001</c:v>
                </c:pt>
                <c:pt idx="2645">
                  <c:v>2.645</c:v>
                </c:pt>
                <c:pt idx="2646">
                  <c:v>2.6459999999999999</c:v>
                </c:pt>
                <c:pt idx="2647">
                  <c:v>2.6469999999999998</c:v>
                </c:pt>
                <c:pt idx="2648">
                  <c:v>2.6480000000000001</c:v>
                </c:pt>
                <c:pt idx="2649">
                  <c:v>2.649</c:v>
                </c:pt>
                <c:pt idx="2650">
                  <c:v>2.65</c:v>
                </c:pt>
                <c:pt idx="2651">
                  <c:v>2.6509999999999998</c:v>
                </c:pt>
                <c:pt idx="2652">
                  <c:v>2.6520000000000001</c:v>
                </c:pt>
                <c:pt idx="2653">
                  <c:v>2.653</c:v>
                </c:pt>
                <c:pt idx="2654">
                  <c:v>2.6539999999999999</c:v>
                </c:pt>
                <c:pt idx="2655">
                  <c:v>2.6549999999999998</c:v>
                </c:pt>
                <c:pt idx="2656">
                  <c:v>2.6560000000000001</c:v>
                </c:pt>
                <c:pt idx="2657">
                  <c:v>2.657</c:v>
                </c:pt>
                <c:pt idx="2658">
                  <c:v>2.6579999999999999</c:v>
                </c:pt>
                <c:pt idx="2659">
                  <c:v>2.6589999999999998</c:v>
                </c:pt>
                <c:pt idx="2660">
                  <c:v>2.66</c:v>
                </c:pt>
                <c:pt idx="2661">
                  <c:v>2.661</c:v>
                </c:pt>
                <c:pt idx="2662">
                  <c:v>2.6619999999999999</c:v>
                </c:pt>
                <c:pt idx="2663">
                  <c:v>2.6629999999999998</c:v>
                </c:pt>
                <c:pt idx="2664">
                  <c:v>2.6640000000000001</c:v>
                </c:pt>
                <c:pt idx="2665">
                  <c:v>2.665</c:v>
                </c:pt>
                <c:pt idx="2666">
                  <c:v>2.6659999999999999</c:v>
                </c:pt>
                <c:pt idx="2667">
                  <c:v>2.6669999999999998</c:v>
                </c:pt>
                <c:pt idx="2668">
                  <c:v>2.6680000000000001</c:v>
                </c:pt>
                <c:pt idx="2669">
                  <c:v>2.669</c:v>
                </c:pt>
                <c:pt idx="2670">
                  <c:v>2.67</c:v>
                </c:pt>
                <c:pt idx="2671">
                  <c:v>2.6709999999999998</c:v>
                </c:pt>
                <c:pt idx="2672">
                  <c:v>2.6720000000000002</c:v>
                </c:pt>
                <c:pt idx="2673">
                  <c:v>2.673</c:v>
                </c:pt>
                <c:pt idx="2674">
                  <c:v>2.6739999999999999</c:v>
                </c:pt>
                <c:pt idx="2675">
                  <c:v>2.6749999999999998</c:v>
                </c:pt>
                <c:pt idx="2676">
                  <c:v>2.6760000000000002</c:v>
                </c:pt>
                <c:pt idx="2677">
                  <c:v>2.677</c:v>
                </c:pt>
                <c:pt idx="2678">
                  <c:v>2.6779999999999999</c:v>
                </c:pt>
                <c:pt idx="2679">
                  <c:v>2.6789999999999998</c:v>
                </c:pt>
                <c:pt idx="2680">
                  <c:v>2.68</c:v>
                </c:pt>
                <c:pt idx="2681">
                  <c:v>2.681</c:v>
                </c:pt>
                <c:pt idx="2682">
                  <c:v>2.6819999999999999</c:v>
                </c:pt>
                <c:pt idx="2683">
                  <c:v>2.6829999999999998</c:v>
                </c:pt>
                <c:pt idx="2684">
                  <c:v>2.6840000000000002</c:v>
                </c:pt>
                <c:pt idx="2685">
                  <c:v>2.6850000000000001</c:v>
                </c:pt>
                <c:pt idx="2686">
                  <c:v>2.6859999999999999</c:v>
                </c:pt>
                <c:pt idx="2687">
                  <c:v>2.6869999999999998</c:v>
                </c:pt>
                <c:pt idx="2688">
                  <c:v>2.6880000000000002</c:v>
                </c:pt>
                <c:pt idx="2689">
                  <c:v>2.6890000000000001</c:v>
                </c:pt>
                <c:pt idx="2690">
                  <c:v>2.69</c:v>
                </c:pt>
                <c:pt idx="2691">
                  <c:v>2.6909999999999998</c:v>
                </c:pt>
                <c:pt idx="2692">
                  <c:v>2.6920000000000002</c:v>
                </c:pt>
                <c:pt idx="2693">
                  <c:v>2.6930000000000001</c:v>
                </c:pt>
                <c:pt idx="2694">
                  <c:v>2.694</c:v>
                </c:pt>
                <c:pt idx="2695">
                  <c:v>2.6949999999999998</c:v>
                </c:pt>
                <c:pt idx="2696">
                  <c:v>2.6960000000000002</c:v>
                </c:pt>
                <c:pt idx="2697">
                  <c:v>2.6970000000000001</c:v>
                </c:pt>
                <c:pt idx="2698">
                  <c:v>2.698</c:v>
                </c:pt>
                <c:pt idx="2699">
                  <c:v>2.6989999999999998</c:v>
                </c:pt>
                <c:pt idx="2700">
                  <c:v>2.7</c:v>
                </c:pt>
                <c:pt idx="2701">
                  <c:v>2.7010000000000001</c:v>
                </c:pt>
                <c:pt idx="2702">
                  <c:v>2.702</c:v>
                </c:pt>
                <c:pt idx="2703">
                  <c:v>2.7029999999999998</c:v>
                </c:pt>
                <c:pt idx="2704">
                  <c:v>2.7040000000000002</c:v>
                </c:pt>
                <c:pt idx="2705">
                  <c:v>2.7050000000000001</c:v>
                </c:pt>
                <c:pt idx="2706">
                  <c:v>2.706</c:v>
                </c:pt>
                <c:pt idx="2707">
                  <c:v>2.7069999999999999</c:v>
                </c:pt>
                <c:pt idx="2708">
                  <c:v>2.7080000000000002</c:v>
                </c:pt>
                <c:pt idx="2709">
                  <c:v>2.7090000000000001</c:v>
                </c:pt>
                <c:pt idx="2710">
                  <c:v>2.71</c:v>
                </c:pt>
                <c:pt idx="2711">
                  <c:v>2.7109999999999999</c:v>
                </c:pt>
                <c:pt idx="2712">
                  <c:v>2.7120000000000002</c:v>
                </c:pt>
                <c:pt idx="2713">
                  <c:v>2.7130000000000001</c:v>
                </c:pt>
                <c:pt idx="2714">
                  <c:v>2.714</c:v>
                </c:pt>
                <c:pt idx="2715">
                  <c:v>2.7149999999999999</c:v>
                </c:pt>
                <c:pt idx="2716">
                  <c:v>2.7160000000000002</c:v>
                </c:pt>
                <c:pt idx="2717">
                  <c:v>2.7170000000000001</c:v>
                </c:pt>
                <c:pt idx="2718">
                  <c:v>2.718</c:v>
                </c:pt>
                <c:pt idx="2719">
                  <c:v>2.7189999999999999</c:v>
                </c:pt>
                <c:pt idx="2720">
                  <c:v>2.72</c:v>
                </c:pt>
                <c:pt idx="2721">
                  <c:v>2.7210000000000001</c:v>
                </c:pt>
                <c:pt idx="2722">
                  <c:v>2.722</c:v>
                </c:pt>
                <c:pt idx="2723">
                  <c:v>2.7229999999999999</c:v>
                </c:pt>
                <c:pt idx="2724">
                  <c:v>2.7240000000000002</c:v>
                </c:pt>
                <c:pt idx="2725">
                  <c:v>2.7250000000000001</c:v>
                </c:pt>
                <c:pt idx="2726">
                  <c:v>2.726</c:v>
                </c:pt>
                <c:pt idx="2727">
                  <c:v>2.7269999999999999</c:v>
                </c:pt>
                <c:pt idx="2728">
                  <c:v>2.7280000000000002</c:v>
                </c:pt>
                <c:pt idx="2729">
                  <c:v>2.7290000000000001</c:v>
                </c:pt>
                <c:pt idx="2730">
                  <c:v>2.73</c:v>
                </c:pt>
                <c:pt idx="2731">
                  <c:v>2.7309999999999999</c:v>
                </c:pt>
                <c:pt idx="2732">
                  <c:v>2.7320000000000002</c:v>
                </c:pt>
                <c:pt idx="2733">
                  <c:v>2.7330000000000001</c:v>
                </c:pt>
                <c:pt idx="2734">
                  <c:v>2.734</c:v>
                </c:pt>
                <c:pt idx="2735">
                  <c:v>2.7349999999999999</c:v>
                </c:pt>
                <c:pt idx="2736">
                  <c:v>2.7360000000000002</c:v>
                </c:pt>
                <c:pt idx="2737">
                  <c:v>2.7370000000000001</c:v>
                </c:pt>
                <c:pt idx="2738">
                  <c:v>2.738</c:v>
                </c:pt>
                <c:pt idx="2739">
                  <c:v>2.7389999999999999</c:v>
                </c:pt>
                <c:pt idx="2740">
                  <c:v>2.74</c:v>
                </c:pt>
                <c:pt idx="2741">
                  <c:v>2.7410000000000001</c:v>
                </c:pt>
                <c:pt idx="2742">
                  <c:v>2.742</c:v>
                </c:pt>
                <c:pt idx="2743">
                  <c:v>2.7429999999999999</c:v>
                </c:pt>
                <c:pt idx="2744">
                  <c:v>2.7440000000000002</c:v>
                </c:pt>
                <c:pt idx="2745">
                  <c:v>2.7450000000000001</c:v>
                </c:pt>
                <c:pt idx="2746">
                  <c:v>2.746</c:v>
                </c:pt>
                <c:pt idx="2747">
                  <c:v>2.7469999999999999</c:v>
                </c:pt>
                <c:pt idx="2748">
                  <c:v>2.7480000000000002</c:v>
                </c:pt>
                <c:pt idx="2749">
                  <c:v>2.7490000000000001</c:v>
                </c:pt>
                <c:pt idx="2750">
                  <c:v>2.75</c:v>
                </c:pt>
                <c:pt idx="2751">
                  <c:v>2.7509999999999999</c:v>
                </c:pt>
                <c:pt idx="2752">
                  <c:v>2.7519999999999998</c:v>
                </c:pt>
                <c:pt idx="2753">
                  <c:v>2.7530000000000001</c:v>
                </c:pt>
                <c:pt idx="2754">
                  <c:v>2.754</c:v>
                </c:pt>
                <c:pt idx="2755">
                  <c:v>2.7549999999999999</c:v>
                </c:pt>
                <c:pt idx="2756">
                  <c:v>2.7559999999999998</c:v>
                </c:pt>
                <c:pt idx="2757">
                  <c:v>2.7570000000000001</c:v>
                </c:pt>
                <c:pt idx="2758">
                  <c:v>2.758</c:v>
                </c:pt>
                <c:pt idx="2759">
                  <c:v>2.7589999999999999</c:v>
                </c:pt>
                <c:pt idx="2760">
                  <c:v>2.76</c:v>
                </c:pt>
                <c:pt idx="2761">
                  <c:v>2.7610000000000001</c:v>
                </c:pt>
                <c:pt idx="2762">
                  <c:v>2.762</c:v>
                </c:pt>
                <c:pt idx="2763">
                  <c:v>2.7629999999999999</c:v>
                </c:pt>
                <c:pt idx="2764">
                  <c:v>2.7639999999999998</c:v>
                </c:pt>
                <c:pt idx="2765">
                  <c:v>2.7650000000000001</c:v>
                </c:pt>
                <c:pt idx="2766">
                  <c:v>2.766</c:v>
                </c:pt>
                <c:pt idx="2767">
                  <c:v>2.7669999999999999</c:v>
                </c:pt>
                <c:pt idx="2768">
                  <c:v>2.7679999999999998</c:v>
                </c:pt>
                <c:pt idx="2769">
                  <c:v>2.7690000000000001</c:v>
                </c:pt>
                <c:pt idx="2770">
                  <c:v>2.77</c:v>
                </c:pt>
                <c:pt idx="2771">
                  <c:v>2.7709999999999999</c:v>
                </c:pt>
                <c:pt idx="2772">
                  <c:v>2.7719999999999998</c:v>
                </c:pt>
                <c:pt idx="2773">
                  <c:v>2.7730000000000001</c:v>
                </c:pt>
                <c:pt idx="2774">
                  <c:v>2.774</c:v>
                </c:pt>
                <c:pt idx="2775">
                  <c:v>2.7749999999999999</c:v>
                </c:pt>
                <c:pt idx="2776">
                  <c:v>2.7759999999999998</c:v>
                </c:pt>
                <c:pt idx="2777">
                  <c:v>2.7770000000000001</c:v>
                </c:pt>
                <c:pt idx="2778">
                  <c:v>2.778</c:v>
                </c:pt>
                <c:pt idx="2779">
                  <c:v>2.7789999999999999</c:v>
                </c:pt>
                <c:pt idx="2780">
                  <c:v>2.78</c:v>
                </c:pt>
                <c:pt idx="2781">
                  <c:v>2.7810000000000001</c:v>
                </c:pt>
                <c:pt idx="2782">
                  <c:v>2.782</c:v>
                </c:pt>
                <c:pt idx="2783">
                  <c:v>2.7829999999999999</c:v>
                </c:pt>
                <c:pt idx="2784">
                  <c:v>2.7839999999999998</c:v>
                </c:pt>
                <c:pt idx="2785">
                  <c:v>2.7850000000000001</c:v>
                </c:pt>
                <c:pt idx="2786">
                  <c:v>2.786</c:v>
                </c:pt>
                <c:pt idx="2787">
                  <c:v>2.7869999999999999</c:v>
                </c:pt>
                <c:pt idx="2788">
                  <c:v>2.7879999999999998</c:v>
                </c:pt>
                <c:pt idx="2789">
                  <c:v>2.7890000000000001</c:v>
                </c:pt>
                <c:pt idx="2790">
                  <c:v>2.79</c:v>
                </c:pt>
                <c:pt idx="2791">
                  <c:v>2.7909999999999999</c:v>
                </c:pt>
                <c:pt idx="2792">
                  <c:v>2.7919999999999998</c:v>
                </c:pt>
                <c:pt idx="2793">
                  <c:v>2.7930000000000001</c:v>
                </c:pt>
                <c:pt idx="2794">
                  <c:v>2.794</c:v>
                </c:pt>
                <c:pt idx="2795">
                  <c:v>2.7949999999999999</c:v>
                </c:pt>
                <c:pt idx="2796">
                  <c:v>2.7959999999999998</c:v>
                </c:pt>
                <c:pt idx="2797">
                  <c:v>2.7970000000000002</c:v>
                </c:pt>
                <c:pt idx="2798">
                  <c:v>2.798</c:v>
                </c:pt>
                <c:pt idx="2799">
                  <c:v>2.7989999999999999</c:v>
                </c:pt>
                <c:pt idx="2800">
                  <c:v>2.8</c:v>
                </c:pt>
                <c:pt idx="2801">
                  <c:v>2.8010000000000002</c:v>
                </c:pt>
                <c:pt idx="2802">
                  <c:v>2.802</c:v>
                </c:pt>
                <c:pt idx="2803">
                  <c:v>2.8029999999999999</c:v>
                </c:pt>
                <c:pt idx="2804">
                  <c:v>2.8039999999999998</c:v>
                </c:pt>
                <c:pt idx="2805">
                  <c:v>2.8050000000000002</c:v>
                </c:pt>
                <c:pt idx="2806">
                  <c:v>2.806</c:v>
                </c:pt>
                <c:pt idx="2807">
                  <c:v>2.8069999999999999</c:v>
                </c:pt>
                <c:pt idx="2808">
                  <c:v>2.8079999999999998</c:v>
                </c:pt>
                <c:pt idx="2809">
                  <c:v>2.8090000000000002</c:v>
                </c:pt>
                <c:pt idx="2810">
                  <c:v>2.81</c:v>
                </c:pt>
                <c:pt idx="2811">
                  <c:v>2.8109999999999999</c:v>
                </c:pt>
                <c:pt idx="2812">
                  <c:v>2.8119999999999998</c:v>
                </c:pt>
                <c:pt idx="2813">
                  <c:v>2.8130000000000002</c:v>
                </c:pt>
                <c:pt idx="2814">
                  <c:v>2.8140000000000001</c:v>
                </c:pt>
                <c:pt idx="2815">
                  <c:v>2.8149999999999999</c:v>
                </c:pt>
                <c:pt idx="2816">
                  <c:v>2.8159999999999998</c:v>
                </c:pt>
                <c:pt idx="2817">
                  <c:v>2.8170000000000002</c:v>
                </c:pt>
                <c:pt idx="2818">
                  <c:v>2.8180000000000001</c:v>
                </c:pt>
                <c:pt idx="2819">
                  <c:v>2.819</c:v>
                </c:pt>
                <c:pt idx="2820">
                  <c:v>2.82</c:v>
                </c:pt>
                <c:pt idx="2821">
                  <c:v>2.8210000000000002</c:v>
                </c:pt>
                <c:pt idx="2822">
                  <c:v>2.8220000000000001</c:v>
                </c:pt>
                <c:pt idx="2823">
                  <c:v>2.823</c:v>
                </c:pt>
                <c:pt idx="2824">
                  <c:v>2.8239999999999998</c:v>
                </c:pt>
                <c:pt idx="2825">
                  <c:v>2.8250000000000002</c:v>
                </c:pt>
                <c:pt idx="2826">
                  <c:v>2.8260000000000001</c:v>
                </c:pt>
                <c:pt idx="2827">
                  <c:v>2.827</c:v>
                </c:pt>
                <c:pt idx="2828">
                  <c:v>2.8279999999999998</c:v>
                </c:pt>
                <c:pt idx="2829">
                  <c:v>2.8290000000000002</c:v>
                </c:pt>
                <c:pt idx="2830">
                  <c:v>2.83</c:v>
                </c:pt>
                <c:pt idx="2831">
                  <c:v>2.831</c:v>
                </c:pt>
                <c:pt idx="2832">
                  <c:v>2.8319999999999999</c:v>
                </c:pt>
                <c:pt idx="2833">
                  <c:v>2.8330000000000002</c:v>
                </c:pt>
                <c:pt idx="2834">
                  <c:v>2.8340000000000001</c:v>
                </c:pt>
                <c:pt idx="2835">
                  <c:v>2.835</c:v>
                </c:pt>
                <c:pt idx="2836">
                  <c:v>2.8359999999999999</c:v>
                </c:pt>
                <c:pt idx="2837">
                  <c:v>2.8370000000000002</c:v>
                </c:pt>
                <c:pt idx="2838">
                  <c:v>2.8380000000000001</c:v>
                </c:pt>
                <c:pt idx="2839">
                  <c:v>2.839</c:v>
                </c:pt>
                <c:pt idx="2840">
                  <c:v>2.84</c:v>
                </c:pt>
                <c:pt idx="2841">
                  <c:v>2.8410000000000002</c:v>
                </c:pt>
                <c:pt idx="2842">
                  <c:v>2.8420000000000001</c:v>
                </c:pt>
                <c:pt idx="2843">
                  <c:v>2.843</c:v>
                </c:pt>
                <c:pt idx="2844">
                  <c:v>2.8439999999999999</c:v>
                </c:pt>
                <c:pt idx="2845">
                  <c:v>2.8450000000000002</c:v>
                </c:pt>
                <c:pt idx="2846">
                  <c:v>2.8460000000000001</c:v>
                </c:pt>
                <c:pt idx="2847">
                  <c:v>2.847</c:v>
                </c:pt>
                <c:pt idx="2848">
                  <c:v>2.8479999999999999</c:v>
                </c:pt>
                <c:pt idx="2849">
                  <c:v>2.8490000000000002</c:v>
                </c:pt>
                <c:pt idx="2850">
                  <c:v>2.85</c:v>
                </c:pt>
                <c:pt idx="2851">
                  <c:v>2.851</c:v>
                </c:pt>
                <c:pt idx="2852">
                  <c:v>2.8519999999999999</c:v>
                </c:pt>
                <c:pt idx="2853">
                  <c:v>2.8530000000000002</c:v>
                </c:pt>
                <c:pt idx="2854">
                  <c:v>2.8540000000000001</c:v>
                </c:pt>
                <c:pt idx="2855">
                  <c:v>2.855</c:v>
                </c:pt>
                <c:pt idx="2856">
                  <c:v>2.8559999999999999</c:v>
                </c:pt>
                <c:pt idx="2857">
                  <c:v>2.8570000000000002</c:v>
                </c:pt>
                <c:pt idx="2858">
                  <c:v>2.8580000000000001</c:v>
                </c:pt>
                <c:pt idx="2859">
                  <c:v>2.859</c:v>
                </c:pt>
                <c:pt idx="2860">
                  <c:v>2.86</c:v>
                </c:pt>
                <c:pt idx="2861">
                  <c:v>2.8610000000000002</c:v>
                </c:pt>
                <c:pt idx="2862">
                  <c:v>2.8620000000000001</c:v>
                </c:pt>
                <c:pt idx="2863">
                  <c:v>2.863</c:v>
                </c:pt>
                <c:pt idx="2864">
                  <c:v>2.8639999999999999</c:v>
                </c:pt>
                <c:pt idx="2865">
                  <c:v>2.8650000000000002</c:v>
                </c:pt>
                <c:pt idx="2866">
                  <c:v>2.8660000000000001</c:v>
                </c:pt>
                <c:pt idx="2867">
                  <c:v>2.867</c:v>
                </c:pt>
                <c:pt idx="2868">
                  <c:v>2.8679999999999999</c:v>
                </c:pt>
                <c:pt idx="2869">
                  <c:v>2.8690000000000002</c:v>
                </c:pt>
                <c:pt idx="2870">
                  <c:v>2.87</c:v>
                </c:pt>
                <c:pt idx="2871">
                  <c:v>2.871</c:v>
                </c:pt>
                <c:pt idx="2872">
                  <c:v>2.8719999999999999</c:v>
                </c:pt>
                <c:pt idx="2873">
                  <c:v>2.8730000000000002</c:v>
                </c:pt>
                <c:pt idx="2874">
                  <c:v>2.8740000000000001</c:v>
                </c:pt>
                <c:pt idx="2875">
                  <c:v>2.875</c:v>
                </c:pt>
                <c:pt idx="2876">
                  <c:v>2.8759999999999999</c:v>
                </c:pt>
                <c:pt idx="2877">
                  <c:v>2.8769999999999998</c:v>
                </c:pt>
                <c:pt idx="2878">
                  <c:v>2.8780000000000001</c:v>
                </c:pt>
                <c:pt idx="2879">
                  <c:v>2.879</c:v>
                </c:pt>
                <c:pt idx="2880">
                  <c:v>2.88</c:v>
                </c:pt>
                <c:pt idx="2881">
                  <c:v>2.8809999999999998</c:v>
                </c:pt>
                <c:pt idx="2882">
                  <c:v>2.8820000000000001</c:v>
                </c:pt>
                <c:pt idx="2883">
                  <c:v>2.883</c:v>
                </c:pt>
                <c:pt idx="2884">
                  <c:v>2.8839999999999999</c:v>
                </c:pt>
                <c:pt idx="2885">
                  <c:v>2.8849999999999998</c:v>
                </c:pt>
                <c:pt idx="2886">
                  <c:v>2.8860000000000001</c:v>
                </c:pt>
                <c:pt idx="2887">
                  <c:v>2.887</c:v>
                </c:pt>
                <c:pt idx="2888">
                  <c:v>2.8879999999999999</c:v>
                </c:pt>
                <c:pt idx="2889">
                  <c:v>2.8889999999999998</c:v>
                </c:pt>
                <c:pt idx="2890">
                  <c:v>2.89</c:v>
                </c:pt>
                <c:pt idx="2891">
                  <c:v>2.891</c:v>
                </c:pt>
                <c:pt idx="2892">
                  <c:v>2.8919999999999999</c:v>
                </c:pt>
                <c:pt idx="2893">
                  <c:v>2.8929999999999998</c:v>
                </c:pt>
                <c:pt idx="2894">
                  <c:v>2.8940000000000001</c:v>
                </c:pt>
                <c:pt idx="2895">
                  <c:v>2.895</c:v>
                </c:pt>
                <c:pt idx="2896">
                  <c:v>2.8959999999999999</c:v>
                </c:pt>
                <c:pt idx="2897">
                  <c:v>2.8969999999999998</c:v>
                </c:pt>
                <c:pt idx="2898">
                  <c:v>2.8980000000000001</c:v>
                </c:pt>
                <c:pt idx="2899">
                  <c:v>2.899</c:v>
                </c:pt>
                <c:pt idx="2900">
                  <c:v>2.9</c:v>
                </c:pt>
                <c:pt idx="2901">
                  <c:v>2.9009999999999998</c:v>
                </c:pt>
                <c:pt idx="2902">
                  <c:v>2.9020000000000001</c:v>
                </c:pt>
                <c:pt idx="2903">
                  <c:v>2.903</c:v>
                </c:pt>
                <c:pt idx="2904">
                  <c:v>2.9039999999999999</c:v>
                </c:pt>
                <c:pt idx="2905">
                  <c:v>2.9049999999999998</c:v>
                </c:pt>
                <c:pt idx="2906">
                  <c:v>2.9060000000000001</c:v>
                </c:pt>
                <c:pt idx="2907">
                  <c:v>2.907</c:v>
                </c:pt>
                <c:pt idx="2908">
                  <c:v>2.9079999999999999</c:v>
                </c:pt>
                <c:pt idx="2909">
                  <c:v>2.9089999999999998</c:v>
                </c:pt>
                <c:pt idx="2910">
                  <c:v>2.91</c:v>
                </c:pt>
                <c:pt idx="2911">
                  <c:v>2.911</c:v>
                </c:pt>
                <c:pt idx="2912">
                  <c:v>2.9119999999999999</c:v>
                </c:pt>
                <c:pt idx="2913">
                  <c:v>2.9129999999999998</c:v>
                </c:pt>
                <c:pt idx="2914">
                  <c:v>2.9140000000000001</c:v>
                </c:pt>
                <c:pt idx="2915">
                  <c:v>2.915</c:v>
                </c:pt>
                <c:pt idx="2916">
                  <c:v>2.9159999999999999</c:v>
                </c:pt>
                <c:pt idx="2917">
                  <c:v>2.9169999999999998</c:v>
                </c:pt>
                <c:pt idx="2918">
                  <c:v>2.9180000000000001</c:v>
                </c:pt>
                <c:pt idx="2919">
                  <c:v>2.919</c:v>
                </c:pt>
                <c:pt idx="2920">
                  <c:v>2.92</c:v>
                </c:pt>
                <c:pt idx="2921">
                  <c:v>2.9209999999999998</c:v>
                </c:pt>
                <c:pt idx="2922">
                  <c:v>2.9220000000000002</c:v>
                </c:pt>
                <c:pt idx="2923">
                  <c:v>2.923</c:v>
                </c:pt>
                <c:pt idx="2924">
                  <c:v>2.9239999999999999</c:v>
                </c:pt>
                <c:pt idx="2925">
                  <c:v>2.9249999999999998</c:v>
                </c:pt>
                <c:pt idx="2926">
                  <c:v>2.9260000000000002</c:v>
                </c:pt>
                <c:pt idx="2927">
                  <c:v>2.927</c:v>
                </c:pt>
                <c:pt idx="2928">
                  <c:v>2.9279999999999999</c:v>
                </c:pt>
                <c:pt idx="2929">
                  <c:v>2.9289999999999998</c:v>
                </c:pt>
                <c:pt idx="2930">
                  <c:v>2.93</c:v>
                </c:pt>
                <c:pt idx="2931">
                  <c:v>2.931</c:v>
                </c:pt>
                <c:pt idx="2932">
                  <c:v>2.9319999999999999</c:v>
                </c:pt>
                <c:pt idx="2933">
                  <c:v>2.9329999999999998</c:v>
                </c:pt>
                <c:pt idx="2934">
                  <c:v>2.9340000000000002</c:v>
                </c:pt>
                <c:pt idx="2935">
                  <c:v>2.9350000000000001</c:v>
                </c:pt>
                <c:pt idx="2936">
                  <c:v>2.9359999999999999</c:v>
                </c:pt>
                <c:pt idx="2937">
                  <c:v>2.9369999999999998</c:v>
                </c:pt>
                <c:pt idx="2938">
                  <c:v>2.9380000000000002</c:v>
                </c:pt>
                <c:pt idx="2939">
                  <c:v>2.9390000000000001</c:v>
                </c:pt>
                <c:pt idx="2940">
                  <c:v>2.94</c:v>
                </c:pt>
                <c:pt idx="2941">
                  <c:v>2.9409999999999998</c:v>
                </c:pt>
                <c:pt idx="2942">
                  <c:v>2.9420000000000002</c:v>
                </c:pt>
                <c:pt idx="2943">
                  <c:v>2.9430000000000001</c:v>
                </c:pt>
                <c:pt idx="2944">
                  <c:v>2.944</c:v>
                </c:pt>
                <c:pt idx="2945">
                  <c:v>2.9449999999999998</c:v>
                </c:pt>
                <c:pt idx="2946">
                  <c:v>2.9460000000000002</c:v>
                </c:pt>
                <c:pt idx="2947">
                  <c:v>2.9470000000000001</c:v>
                </c:pt>
                <c:pt idx="2948">
                  <c:v>2.948</c:v>
                </c:pt>
                <c:pt idx="2949">
                  <c:v>2.9489999999999998</c:v>
                </c:pt>
                <c:pt idx="2950">
                  <c:v>2.95</c:v>
                </c:pt>
                <c:pt idx="2951">
                  <c:v>2.9510000000000001</c:v>
                </c:pt>
                <c:pt idx="2952">
                  <c:v>2.952</c:v>
                </c:pt>
                <c:pt idx="2953">
                  <c:v>2.9529999999999998</c:v>
                </c:pt>
                <c:pt idx="2954">
                  <c:v>2.9540000000000002</c:v>
                </c:pt>
                <c:pt idx="2955">
                  <c:v>2.9550000000000001</c:v>
                </c:pt>
                <c:pt idx="2956">
                  <c:v>2.956</c:v>
                </c:pt>
                <c:pt idx="2957">
                  <c:v>2.9569999999999999</c:v>
                </c:pt>
                <c:pt idx="2958">
                  <c:v>2.9580000000000002</c:v>
                </c:pt>
                <c:pt idx="2959">
                  <c:v>2.9590000000000001</c:v>
                </c:pt>
                <c:pt idx="2960">
                  <c:v>2.96</c:v>
                </c:pt>
                <c:pt idx="2961">
                  <c:v>2.9609999999999999</c:v>
                </c:pt>
                <c:pt idx="2962">
                  <c:v>2.9620000000000002</c:v>
                </c:pt>
                <c:pt idx="2963">
                  <c:v>2.9630000000000001</c:v>
                </c:pt>
                <c:pt idx="2964">
                  <c:v>2.964</c:v>
                </c:pt>
                <c:pt idx="2965">
                  <c:v>2.9649999999999999</c:v>
                </c:pt>
                <c:pt idx="2966">
                  <c:v>2.9660000000000002</c:v>
                </c:pt>
                <c:pt idx="2967">
                  <c:v>2.9670000000000001</c:v>
                </c:pt>
                <c:pt idx="2968">
                  <c:v>2.968</c:v>
                </c:pt>
                <c:pt idx="2969">
                  <c:v>2.9689999999999999</c:v>
                </c:pt>
                <c:pt idx="2970">
                  <c:v>2.97</c:v>
                </c:pt>
                <c:pt idx="2971">
                  <c:v>2.9710000000000001</c:v>
                </c:pt>
                <c:pt idx="2972">
                  <c:v>2.972</c:v>
                </c:pt>
                <c:pt idx="2973">
                  <c:v>2.9729999999999999</c:v>
                </c:pt>
                <c:pt idx="2974">
                  <c:v>2.9740000000000002</c:v>
                </c:pt>
                <c:pt idx="2975">
                  <c:v>2.9750000000000001</c:v>
                </c:pt>
                <c:pt idx="2976">
                  <c:v>2.976</c:v>
                </c:pt>
                <c:pt idx="2977">
                  <c:v>2.9769999999999999</c:v>
                </c:pt>
                <c:pt idx="2978">
                  <c:v>2.9780000000000002</c:v>
                </c:pt>
                <c:pt idx="2979">
                  <c:v>2.9790000000000001</c:v>
                </c:pt>
                <c:pt idx="2980">
                  <c:v>2.98</c:v>
                </c:pt>
                <c:pt idx="2981">
                  <c:v>2.9809999999999999</c:v>
                </c:pt>
                <c:pt idx="2982">
                  <c:v>2.9820000000000002</c:v>
                </c:pt>
                <c:pt idx="2983">
                  <c:v>2.9830000000000001</c:v>
                </c:pt>
                <c:pt idx="2984">
                  <c:v>2.984</c:v>
                </c:pt>
                <c:pt idx="2985">
                  <c:v>2.9849999999999999</c:v>
                </c:pt>
                <c:pt idx="2986">
                  <c:v>2.9860000000000002</c:v>
                </c:pt>
                <c:pt idx="2987">
                  <c:v>2.9870000000000001</c:v>
                </c:pt>
                <c:pt idx="2988">
                  <c:v>2.988</c:v>
                </c:pt>
                <c:pt idx="2989">
                  <c:v>2.9889999999999999</c:v>
                </c:pt>
                <c:pt idx="2990">
                  <c:v>2.99</c:v>
                </c:pt>
                <c:pt idx="2991">
                  <c:v>2.9910000000000001</c:v>
                </c:pt>
                <c:pt idx="2992">
                  <c:v>2.992</c:v>
                </c:pt>
                <c:pt idx="2993">
                  <c:v>2.9929999999999999</c:v>
                </c:pt>
                <c:pt idx="2994">
                  <c:v>2.9940000000000002</c:v>
                </c:pt>
                <c:pt idx="2995">
                  <c:v>2.9950000000000001</c:v>
                </c:pt>
                <c:pt idx="2996">
                  <c:v>2.996</c:v>
                </c:pt>
                <c:pt idx="2997">
                  <c:v>2.9969999999999999</c:v>
                </c:pt>
                <c:pt idx="2998">
                  <c:v>2.9980000000000002</c:v>
                </c:pt>
                <c:pt idx="2999">
                  <c:v>2.9990000000000001</c:v>
                </c:pt>
                <c:pt idx="3000">
                  <c:v>3</c:v>
                </c:pt>
                <c:pt idx="3001">
                  <c:v>3.0009999999999999</c:v>
                </c:pt>
                <c:pt idx="3002">
                  <c:v>3.0019999999999998</c:v>
                </c:pt>
                <c:pt idx="3003">
                  <c:v>3.0030000000000001</c:v>
                </c:pt>
                <c:pt idx="3004">
                  <c:v>3.004</c:v>
                </c:pt>
                <c:pt idx="3005">
                  <c:v>3.0049999999999999</c:v>
                </c:pt>
                <c:pt idx="3006">
                  <c:v>3.0059999999999998</c:v>
                </c:pt>
                <c:pt idx="3007">
                  <c:v>3.0070000000000001</c:v>
                </c:pt>
                <c:pt idx="3008">
                  <c:v>3.008</c:v>
                </c:pt>
                <c:pt idx="3009">
                  <c:v>3.0089999999999999</c:v>
                </c:pt>
                <c:pt idx="3010">
                  <c:v>3.01</c:v>
                </c:pt>
                <c:pt idx="3011">
                  <c:v>3.0110000000000001</c:v>
                </c:pt>
                <c:pt idx="3012">
                  <c:v>3.012</c:v>
                </c:pt>
                <c:pt idx="3013">
                  <c:v>3.0129999999999999</c:v>
                </c:pt>
                <c:pt idx="3014">
                  <c:v>3.0139999999999998</c:v>
                </c:pt>
                <c:pt idx="3015">
                  <c:v>3.0150000000000001</c:v>
                </c:pt>
                <c:pt idx="3016">
                  <c:v>3.016</c:v>
                </c:pt>
                <c:pt idx="3017">
                  <c:v>3.0169999999999999</c:v>
                </c:pt>
                <c:pt idx="3018">
                  <c:v>3.0179999999999998</c:v>
                </c:pt>
                <c:pt idx="3019">
                  <c:v>3.0190000000000001</c:v>
                </c:pt>
                <c:pt idx="3020">
                  <c:v>3.02</c:v>
                </c:pt>
                <c:pt idx="3021">
                  <c:v>3.0209999999999999</c:v>
                </c:pt>
                <c:pt idx="3022">
                  <c:v>3.0219999999999998</c:v>
                </c:pt>
                <c:pt idx="3023">
                  <c:v>3.0230000000000001</c:v>
                </c:pt>
                <c:pt idx="3024">
                  <c:v>3.024</c:v>
                </c:pt>
                <c:pt idx="3025">
                  <c:v>3.0249999999999999</c:v>
                </c:pt>
                <c:pt idx="3026">
                  <c:v>3.0259999999999998</c:v>
                </c:pt>
                <c:pt idx="3027">
                  <c:v>3.0270000000000001</c:v>
                </c:pt>
                <c:pt idx="3028">
                  <c:v>3.028</c:v>
                </c:pt>
                <c:pt idx="3029">
                  <c:v>3.0289999999999999</c:v>
                </c:pt>
                <c:pt idx="3030">
                  <c:v>3.03</c:v>
                </c:pt>
                <c:pt idx="3031">
                  <c:v>3.0310000000000001</c:v>
                </c:pt>
                <c:pt idx="3032">
                  <c:v>3.032</c:v>
                </c:pt>
                <c:pt idx="3033">
                  <c:v>3.0329999999999999</c:v>
                </c:pt>
                <c:pt idx="3034">
                  <c:v>3.0339999999999998</c:v>
                </c:pt>
                <c:pt idx="3035">
                  <c:v>3.0350000000000001</c:v>
                </c:pt>
                <c:pt idx="3036">
                  <c:v>3.036</c:v>
                </c:pt>
                <c:pt idx="3037">
                  <c:v>3.0369999999999999</c:v>
                </c:pt>
                <c:pt idx="3038">
                  <c:v>3.0379999999999998</c:v>
                </c:pt>
                <c:pt idx="3039">
                  <c:v>3.0390000000000001</c:v>
                </c:pt>
                <c:pt idx="3040">
                  <c:v>3.04</c:v>
                </c:pt>
                <c:pt idx="3041">
                  <c:v>3.0409999999999999</c:v>
                </c:pt>
                <c:pt idx="3042">
                  <c:v>3.0419999999999998</c:v>
                </c:pt>
                <c:pt idx="3043">
                  <c:v>3.0430000000000001</c:v>
                </c:pt>
                <c:pt idx="3044">
                  <c:v>3.044</c:v>
                </c:pt>
                <c:pt idx="3045">
                  <c:v>3.0449999999999999</c:v>
                </c:pt>
                <c:pt idx="3046">
                  <c:v>3.0459999999999998</c:v>
                </c:pt>
                <c:pt idx="3047">
                  <c:v>3.0470000000000002</c:v>
                </c:pt>
                <c:pt idx="3048">
                  <c:v>3.048</c:v>
                </c:pt>
                <c:pt idx="3049">
                  <c:v>3.0489999999999999</c:v>
                </c:pt>
                <c:pt idx="3050">
                  <c:v>3.05</c:v>
                </c:pt>
                <c:pt idx="3051">
                  <c:v>3.0510000000000002</c:v>
                </c:pt>
                <c:pt idx="3052">
                  <c:v>3.052</c:v>
                </c:pt>
                <c:pt idx="3053">
                  <c:v>3.0529999999999999</c:v>
                </c:pt>
                <c:pt idx="3054">
                  <c:v>3.0539999999999998</c:v>
                </c:pt>
                <c:pt idx="3055">
                  <c:v>3.0550000000000002</c:v>
                </c:pt>
                <c:pt idx="3056">
                  <c:v>3.056</c:v>
                </c:pt>
                <c:pt idx="3057">
                  <c:v>3.0569999999999999</c:v>
                </c:pt>
                <c:pt idx="3058">
                  <c:v>3.0579999999999998</c:v>
                </c:pt>
                <c:pt idx="3059">
                  <c:v>3.0590000000000002</c:v>
                </c:pt>
                <c:pt idx="3060">
                  <c:v>3.06</c:v>
                </c:pt>
                <c:pt idx="3061">
                  <c:v>3.0609999999999999</c:v>
                </c:pt>
                <c:pt idx="3062">
                  <c:v>3.0619999999999998</c:v>
                </c:pt>
                <c:pt idx="3063">
                  <c:v>3.0630000000000002</c:v>
                </c:pt>
                <c:pt idx="3064">
                  <c:v>3.0640000000000001</c:v>
                </c:pt>
                <c:pt idx="3065">
                  <c:v>3.0649999999999999</c:v>
                </c:pt>
                <c:pt idx="3066">
                  <c:v>3.0659999999999998</c:v>
                </c:pt>
                <c:pt idx="3067">
                  <c:v>3.0670000000000002</c:v>
                </c:pt>
                <c:pt idx="3068">
                  <c:v>3.0680000000000001</c:v>
                </c:pt>
                <c:pt idx="3069">
                  <c:v>3.069</c:v>
                </c:pt>
                <c:pt idx="3070">
                  <c:v>3.07</c:v>
                </c:pt>
                <c:pt idx="3071">
                  <c:v>3.0710000000000002</c:v>
                </c:pt>
                <c:pt idx="3072">
                  <c:v>3.0720000000000001</c:v>
                </c:pt>
                <c:pt idx="3073">
                  <c:v>3.073</c:v>
                </c:pt>
                <c:pt idx="3074">
                  <c:v>3.0739999999999998</c:v>
                </c:pt>
                <c:pt idx="3075">
                  <c:v>3.0750000000000002</c:v>
                </c:pt>
                <c:pt idx="3076">
                  <c:v>3.0760000000000001</c:v>
                </c:pt>
                <c:pt idx="3077">
                  <c:v>3.077</c:v>
                </c:pt>
                <c:pt idx="3078">
                  <c:v>3.0779999999999998</c:v>
                </c:pt>
                <c:pt idx="3079">
                  <c:v>3.0790000000000002</c:v>
                </c:pt>
                <c:pt idx="3080">
                  <c:v>3.08</c:v>
                </c:pt>
                <c:pt idx="3081">
                  <c:v>3.081</c:v>
                </c:pt>
                <c:pt idx="3082">
                  <c:v>3.0819999999999999</c:v>
                </c:pt>
                <c:pt idx="3083">
                  <c:v>3.0830000000000002</c:v>
                </c:pt>
                <c:pt idx="3084">
                  <c:v>3.0840000000000001</c:v>
                </c:pt>
                <c:pt idx="3085">
                  <c:v>3.085</c:v>
                </c:pt>
                <c:pt idx="3086">
                  <c:v>3.0859999999999999</c:v>
                </c:pt>
                <c:pt idx="3087">
                  <c:v>3.0870000000000002</c:v>
                </c:pt>
                <c:pt idx="3088">
                  <c:v>3.0880000000000001</c:v>
                </c:pt>
                <c:pt idx="3089">
                  <c:v>3.089</c:v>
                </c:pt>
                <c:pt idx="3090">
                  <c:v>3.09</c:v>
                </c:pt>
                <c:pt idx="3091">
                  <c:v>3.0910000000000002</c:v>
                </c:pt>
                <c:pt idx="3092">
                  <c:v>3.0920000000000001</c:v>
                </c:pt>
                <c:pt idx="3093">
                  <c:v>3.093</c:v>
                </c:pt>
                <c:pt idx="3094">
                  <c:v>3.0939999999999999</c:v>
                </c:pt>
                <c:pt idx="3095">
                  <c:v>3.0950000000000002</c:v>
                </c:pt>
                <c:pt idx="3096">
                  <c:v>3.0960000000000001</c:v>
                </c:pt>
                <c:pt idx="3097">
                  <c:v>3.097</c:v>
                </c:pt>
                <c:pt idx="3098">
                  <c:v>3.0979999999999999</c:v>
                </c:pt>
                <c:pt idx="3099">
                  <c:v>3.0990000000000002</c:v>
                </c:pt>
                <c:pt idx="3100">
                  <c:v>3.1</c:v>
                </c:pt>
                <c:pt idx="3101">
                  <c:v>3.101</c:v>
                </c:pt>
                <c:pt idx="3102">
                  <c:v>3.1019999999999999</c:v>
                </c:pt>
                <c:pt idx="3103">
                  <c:v>3.1030000000000002</c:v>
                </c:pt>
                <c:pt idx="3104">
                  <c:v>3.1040000000000001</c:v>
                </c:pt>
                <c:pt idx="3105">
                  <c:v>3.105</c:v>
                </c:pt>
                <c:pt idx="3106">
                  <c:v>3.1059999999999999</c:v>
                </c:pt>
                <c:pt idx="3107">
                  <c:v>3.1070000000000002</c:v>
                </c:pt>
                <c:pt idx="3108">
                  <c:v>3.1080000000000001</c:v>
                </c:pt>
                <c:pt idx="3109">
                  <c:v>3.109</c:v>
                </c:pt>
                <c:pt idx="3110">
                  <c:v>3.11</c:v>
                </c:pt>
                <c:pt idx="3111">
                  <c:v>3.1110000000000002</c:v>
                </c:pt>
                <c:pt idx="3112">
                  <c:v>3.1120000000000001</c:v>
                </c:pt>
                <c:pt idx="3113">
                  <c:v>3.113</c:v>
                </c:pt>
                <c:pt idx="3114">
                  <c:v>3.1139999999999999</c:v>
                </c:pt>
                <c:pt idx="3115">
                  <c:v>3.1150000000000002</c:v>
                </c:pt>
                <c:pt idx="3116">
                  <c:v>3.1160000000000001</c:v>
                </c:pt>
                <c:pt idx="3117">
                  <c:v>3.117</c:v>
                </c:pt>
                <c:pt idx="3118">
                  <c:v>3.1179999999999999</c:v>
                </c:pt>
                <c:pt idx="3119">
                  <c:v>3.1190000000000002</c:v>
                </c:pt>
                <c:pt idx="3120">
                  <c:v>3.12</c:v>
                </c:pt>
                <c:pt idx="3121">
                  <c:v>3.121</c:v>
                </c:pt>
                <c:pt idx="3122">
                  <c:v>3.1219999999999999</c:v>
                </c:pt>
                <c:pt idx="3123">
                  <c:v>3.1230000000000002</c:v>
                </c:pt>
                <c:pt idx="3124">
                  <c:v>3.1240000000000001</c:v>
                </c:pt>
                <c:pt idx="3125">
                  <c:v>3.125</c:v>
                </c:pt>
                <c:pt idx="3126">
                  <c:v>3.1259999999999999</c:v>
                </c:pt>
                <c:pt idx="3127">
                  <c:v>3.1269999999999998</c:v>
                </c:pt>
                <c:pt idx="3128">
                  <c:v>3.1280000000000001</c:v>
                </c:pt>
                <c:pt idx="3129">
                  <c:v>3.129</c:v>
                </c:pt>
                <c:pt idx="3130">
                  <c:v>3.13</c:v>
                </c:pt>
                <c:pt idx="3131">
                  <c:v>3.1309999999999998</c:v>
                </c:pt>
                <c:pt idx="3132">
                  <c:v>3.1320000000000001</c:v>
                </c:pt>
                <c:pt idx="3133">
                  <c:v>3.133</c:v>
                </c:pt>
                <c:pt idx="3134">
                  <c:v>3.1339999999999999</c:v>
                </c:pt>
                <c:pt idx="3135">
                  <c:v>3.1349999999999998</c:v>
                </c:pt>
                <c:pt idx="3136">
                  <c:v>3.1360000000000001</c:v>
                </c:pt>
                <c:pt idx="3137">
                  <c:v>3.137</c:v>
                </c:pt>
                <c:pt idx="3138">
                  <c:v>3.1379999999999999</c:v>
                </c:pt>
                <c:pt idx="3139">
                  <c:v>3.1389999999999998</c:v>
                </c:pt>
                <c:pt idx="3140">
                  <c:v>3.14</c:v>
                </c:pt>
                <c:pt idx="3141">
                  <c:v>3.141</c:v>
                </c:pt>
                <c:pt idx="3142">
                  <c:v>3.1419999999999999</c:v>
                </c:pt>
                <c:pt idx="3143">
                  <c:v>3.1429999999999998</c:v>
                </c:pt>
                <c:pt idx="3144">
                  <c:v>3.1440000000000001</c:v>
                </c:pt>
                <c:pt idx="3145">
                  <c:v>3.145</c:v>
                </c:pt>
                <c:pt idx="3146">
                  <c:v>3.1459999999999999</c:v>
                </c:pt>
                <c:pt idx="3147">
                  <c:v>3.1469999999999998</c:v>
                </c:pt>
                <c:pt idx="3148">
                  <c:v>3.1480000000000001</c:v>
                </c:pt>
                <c:pt idx="3149">
                  <c:v>3.149</c:v>
                </c:pt>
                <c:pt idx="3150">
                  <c:v>3.15</c:v>
                </c:pt>
                <c:pt idx="3151">
                  <c:v>3.1509999999999998</c:v>
                </c:pt>
                <c:pt idx="3152">
                  <c:v>3.1520000000000001</c:v>
                </c:pt>
                <c:pt idx="3153">
                  <c:v>3.153</c:v>
                </c:pt>
                <c:pt idx="3154">
                  <c:v>3.1539999999999999</c:v>
                </c:pt>
                <c:pt idx="3155">
                  <c:v>3.1549999999999998</c:v>
                </c:pt>
                <c:pt idx="3156">
                  <c:v>3.1560000000000001</c:v>
                </c:pt>
                <c:pt idx="3157">
                  <c:v>3.157</c:v>
                </c:pt>
                <c:pt idx="3158">
                  <c:v>3.1579999999999999</c:v>
                </c:pt>
                <c:pt idx="3159">
                  <c:v>3.1589999999999998</c:v>
                </c:pt>
                <c:pt idx="3160">
                  <c:v>3.16</c:v>
                </c:pt>
                <c:pt idx="3161">
                  <c:v>3.161</c:v>
                </c:pt>
                <c:pt idx="3162">
                  <c:v>3.1619999999999999</c:v>
                </c:pt>
                <c:pt idx="3163">
                  <c:v>3.1629999999999998</c:v>
                </c:pt>
                <c:pt idx="3164">
                  <c:v>3.1640000000000001</c:v>
                </c:pt>
                <c:pt idx="3165">
                  <c:v>3.165</c:v>
                </c:pt>
                <c:pt idx="3166">
                  <c:v>3.1659999999999999</c:v>
                </c:pt>
                <c:pt idx="3167">
                  <c:v>3.1669999999999998</c:v>
                </c:pt>
                <c:pt idx="3168">
                  <c:v>3.1680000000000001</c:v>
                </c:pt>
                <c:pt idx="3169">
                  <c:v>3.169</c:v>
                </c:pt>
                <c:pt idx="3170">
                  <c:v>3.17</c:v>
                </c:pt>
                <c:pt idx="3171">
                  <c:v>3.1709999999999998</c:v>
                </c:pt>
                <c:pt idx="3172">
                  <c:v>3.1720000000000002</c:v>
                </c:pt>
                <c:pt idx="3173">
                  <c:v>3.173</c:v>
                </c:pt>
                <c:pt idx="3174">
                  <c:v>3.1739999999999999</c:v>
                </c:pt>
                <c:pt idx="3175">
                  <c:v>3.1749999999999998</c:v>
                </c:pt>
                <c:pt idx="3176">
                  <c:v>3.1760000000000002</c:v>
                </c:pt>
                <c:pt idx="3177">
                  <c:v>3.177</c:v>
                </c:pt>
                <c:pt idx="3178">
                  <c:v>3.1779999999999999</c:v>
                </c:pt>
                <c:pt idx="3179">
                  <c:v>3.1789999999999998</c:v>
                </c:pt>
                <c:pt idx="3180">
                  <c:v>3.18</c:v>
                </c:pt>
                <c:pt idx="3181">
                  <c:v>3.181</c:v>
                </c:pt>
                <c:pt idx="3182">
                  <c:v>3.1819999999999999</c:v>
                </c:pt>
                <c:pt idx="3183">
                  <c:v>3.1829999999999998</c:v>
                </c:pt>
                <c:pt idx="3184">
                  <c:v>3.1840000000000002</c:v>
                </c:pt>
                <c:pt idx="3185">
                  <c:v>3.1850000000000001</c:v>
                </c:pt>
                <c:pt idx="3186">
                  <c:v>3.1859999999999999</c:v>
                </c:pt>
                <c:pt idx="3187">
                  <c:v>3.1869999999999998</c:v>
                </c:pt>
                <c:pt idx="3188">
                  <c:v>3.1880000000000002</c:v>
                </c:pt>
                <c:pt idx="3189">
                  <c:v>3.1890000000000001</c:v>
                </c:pt>
                <c:pt idx="3190">
                  <c:v>3.19</c:v>
                </c:pt>
                <c:pt idx="3191">
                  <c:v>3.1909999999999998</c:v>
                </c:pt>
                <c:pt idx="3192">
                  <c:v>3.1920000000000002</c:v>
                </c:pt>
                <c:pt idx="3193">
                  <c:v>3.1930000000000001</c:v>
                </c:pt>
                <c:pt idx="3194">
                  <c:v>3.194</c:v>
                </c:pt>
                <c:pt idx="3195">
                  <c:v>3.1949999999999998</c:v>
                </c:pt>
                <c:pt idx="3196">
                  <c:v>3.1960000000000002</c:v>
                </c:pt>
                <c:pt idx="3197">
                  <c:v>3.1970000000000001</c:v>
                </c:pt>
                <c:pt idx="3198">
                  <c:v>3.198</c:v>
                </c:pt>
                <c:pt idx="3199">
                  <c:v>3.1989999999999998</c:v>
                </c:pt>
                <c:pt idx="3200">
                  <c:v>3.2</c:v>
                </c:pt>
                <c:pt idx="3201">
                  <c:v>3.2010000000000001</c:v>
                </c:pt>
                <c:pt idx="3202">
                  <c:v>3.202</c:v>
                </c:pt>
                <c:pt idx="3203">
                  <c:v>3.2029999999999998</c:v>
                </c:pt>
                <c:pt idx="3204">
                  <c:v>3.2040000000000002</c:v>
                </c:pt>
                <c:pt idx="3205">
                  <c:v>3.2050000000000001</c:v>
                </c:pt>
                <c:pt idx="3206">
                  <c:v>3.206</c:v>
                </c:pt>
                <c:pt idx="3207">
                  <c:v>3.2069999999999999</c:v>
                </c:pt>
                <c:pt idx="3208">
                  <c:v>3.2080000000000002</c:v>
                </c:pt>
                <c:pt idx="3209">
                  <c:v>3.2090000000000001</c:v>
                </c:pt>
                <c:pt idx="3210">
                  <c:v>3.21</c:v>
                </c:pt>
                <c:pt idx="3211">
                  <c:v>3.2109999999999999</c:v>
                </c:pt>
                <c:pt idx="3212">
                  <c:v>3.2120000000000002</c:v>
                </c:pt>
                <c:pt idx="3213">
                  <c:v>3.2130000000000001</c:v>
                </c:pt>
                <c:pt idx="3214">
                  <c:v>3.214</c:v>
                </c:pt>
                <c:pt idx="3215">
                  <c:v>3.2149999999999999</c:v>
                </c:pt>
                <c:pt idx="3216">
                  <c:v>3.2160000000000002</c:v>
                </c:pt>
                <c:pt idx="3217">
                  <c:v>3.2170000000000001</c:v>
                </c:pt>
                <c:pt idx="3218">
                  <c:v>3.218</c:v>
                </c:pt>
                <c:pt idx="3219">
                  <c:v>3.2189999999999999</c:v>
                </c:pt>
                <c:pt idx="3220">
                  <c:v>3.22</c:v>
                </c:pt>
                <c:pt idx="3221">
                  <c:v>3.2210000000000001</c:v>
                </c:pt>
                <c:pt idx="3222">
                  <c:v>3.222</c:v>
                </c:pt>
                <c:pt idx="3223">
                  <c:v>3.2229999999999999</c:v>
                </c:pt>
                <c:pt idx="3224">
                  <c:v>3.2240000000000002</c:v>
                </c:pt>
                <c:pt idx="3225">
                  <c:v>3.2250000000000001</c:v>
                </c:pt>
                <c:pt idx="3226">
                  <c:v>3.226</c:v>
                </c:pt>
                <c:pt idx="3227">
                  <c:v>3.2269999999999999</c:v>
                </c:pt>
                <c:pt idx="3228">
                  <c:v>3.2280000000000002</c:v>
                </c:pt>
                <c:pt idx="3229">
                  <c:v>3.2290000000000001</c:v>
                </c:pt>
                <c:pt idx="3230">
                  <c:v>3.23</c:v>
                </c:pt>
                <c:pt idx="3231">
                  <c:v>3.2309999999999999</c:v>
                </c:pt>
                <c:pt idx="3232">
                  <c:v>3.2320000000000002</c:v>
                </c:pt>
                <c:pt idx="3233">
                  <c:v>3.2330000000000001</c:v>
                </c:pt>
                <c:pt idx="3234">
                  <c:v>3.234</c:v>
                </c:pt>
                <c:pt idx="3235">
                  <c:v>3.2349999999999999</c:v>
                </c:pt>
                <c:pt idx="3236">
                  <c:v>3.2360000000000002</c:v>
                </c:pt>
                <c:pt idx="3237">
                  <c:v>3.2370000000000001</c:v>
                </c:pt>
                <c:pt idx="3238">
                  <c:v>3.238</c:v>
                </c:pt>
                <c:pt idx="3239">
                  <c:v>3.2389999999999999</c:v>
                </c:pt>
                <c:pt idx="3240">
                  <c:v>3.24</c:v>
                </c:pt>
                <c:pt idx="3241">
                  <c:v>3.2410000000000001</c:v>
                </c:pt>
                <c:pt idx="3242">
                  <c:v>3.242</c:v>
                </c:pt>
                <c:pt idx="3243">
                  <c:v>3.2429999999999999</c:v>
                </c:pt>
                <c:pt idx="3244">
                  <c:v>3.2440000000000002</c:v>
                </c:pt>
                <c:pt idx="3245">
                  <c:v>3.2450000000000001</c:v>
                </c:pt>
                <c:pt idx="3246">
                  <c:v>3.246</c:v>
                </c:pt>
                <c:pt idx="3247">
                  <c:v>3.2469999999999999</c:v>
                </c:pt>
                <c:pt idx="3248">
                  <c:v>3.2480000000000002</c:v>
                </c:pt>
                <c:pt idx="3249">
                  <c:v>3.2490000000000001</c:v>
                </c:pt>
                <c:pt idx="3250">
                  <c:v>3.25</c:v>
                </c:pt>
                <c:pt idx="3251">
                  <c:v>3.2509999999999999</c:v>
                </c:pt>
                <c:pt idx="3252">
                  <c:v>3.2519999999999998</c:v>
                </c:pt>
                <c:pt idx="3253">
                  <c:v>3.2530000000000001</c:v>
                </c:pt>
                <c:pt idx="3254">
                  <c:v>3.254</c:v>
                </c:pt>
                <c:pt idx="3255">
                  <c:v>3.2549999999999999</c:v>
                </c:pt>
                <c:pt idx="3256">
                  <c:v>3.2559999999999998</c:v>
                </c:pt>
                <c:pt idx="3257">
                  <c:v>3.2570000000000001</c:v>
                </c:pt>
                <c:pt idx="3258">
                  <c:v>3.258</c:v>
                </c:pt>
                <c:pt idx="3259">
                  <c:v>3.2589999999999999</c:v>
                </c:pt>
                <c:pt idx="3260">
                  <c:v>3.26</c:v>
                </c:pt>
                <c:pt idx="3261">
                  <c:v>3.2610000000000001</c:v>
                </c:pt>
                <c:pt idx="3262">
                  <c:v>3.262</c:v>
                </c:pt>
                <c:pt idx="3263">
                  <c:v>3.2629999999999999</c:v>
                </c:pt>
                <c:pt idx="3264">
                  <c:v>3.2639999999999998</c:v>
                </c:pt>
                <c:pt idx="3265">
                  <c:v>3.2650000000000001</c:v>
                </c:pt>
                <c:pt idx="3266">
                  <c:v>3.266</c:v>
                </c:pt>
                <c:pt idx="3267">
                  <c:v>3.2669999999999999</c:v>
                </c:pt>
                <c:pt idx="3268">
                  <c:v>3.2679999999999998</c:v>
                </c:pt>
                <c:pt idx="3269">
                  <c:v>3.2690000000000001</c:v>
                </c:pt>
                <c:pt idx="3270">
                  <c:v>3.27</c:v>
                </c:pt>
                <c:pt idx="3271">
                  <c:v>3.2709999999999999</c:v>
                </c:pt>
                <c:pt idx="3272">
                  <c:v>3.2719999999999998</c:v>
                </c:pt>
                <c:pt idx="3273">
                  <c:v>3.2730000000000001</c:v>
                </c:pt>
                <c:pt idx="3274">
                  <c:v>3.274</c:v>
                </c:pt>
                <c:pt idx="3275">
                  <c:v>3.2749999999999999</c:v>
                </c:pt>
                <c:pt idx="3276">
                  <c:v>3.2759999999999998</c:v>
                </c:pt>
                <c:pt idx="3277">
                  <c:v>3.2770000000000001</c:v>
                </c:pt>
                <c:pt idx="3278">
                  <c:v>3.278</c:v>
                </c:pt>
                <c:pt idx="3279">
                  <c:v>3.2789999999999999</c:v>
                </c:pt>
                <c:pt idx="3280">
                  <c:v>3.28</c:v>
                </c:pt>
                <c:pt idx="3281">
                  <c:v>3.2810000000000001</c:v>
                </c:pt>
                <c:pt idx="3282">
                  <c:v>3.282</c:v>
                </c:pt>
                <c:pt idx="3283">
                  <c:v>3.2829999999999999</c:v>
                </c:pt>
                <c:pt idx="3284">
                  <c:v>3.2839999999999998</c:v>
                </c:pt>
                <c:pt idx="3285">
                  <c:v>3.2850000000000001</c:v>
                </c:pt>
                <c:pt idx="3286">
                  <c:v>3.286</c:v>
                </c:pt>
                <c:pt idx="3287">
                  <c:v>3.2869999999999999</c:v>
                </c:pt>
                <c:pt idx="3288">
                  <c:v>3.2879999999999998</c:v>
                </c:pt>
                <c:pt idx="3289">
                  <c:v>3.2890000000000001</c:v>
                </c:pt>
                <c:pt idx="3290">
                  <c:v>3.29</c:v>
                </c:pt>
                <c:pt idx="3291">
                  <c:v>3.2909999999999999</c:v>
                </c:pt>
                <c:pt idx="3292">
                  <c:v>3.2919999999999998</c:v>
                </c:pt>
                <c:pt idx="3293">
                  <c:v>3.2930000000000001</c:v>
                </c:pt>
                <c:pt idx="3294">
                  <c:v>3.294</c:v>
                </c:pt>
                <c:pt idx="3295">
                  <c:v>3.2949999999999999</c:v>
                </c:pt>
                <c:pt idx="3296">
                  <c:v>3.2959999999999998</c:v>
                </c:pt>
                <c:pt idx="3297">
                  <c:v>3.2970000000000002</c:v>
                </c:pt>
                <c:pt idx="3298">
                  <c:v>3.298</c:v>
                </c:pt>
                <c:pt idx="3299">
                  <c:v>3.2989999999999999</c:v>
                </c:pt>
                <c:pt idx="3300">
                  <c:v>3.3</c:v>
                </c:pt>
                <c:pt idx="3301">
                  <c:v>3.3010000000000002</c:v>
                </c:pt>
                <c:pt idx="3302">
                  <c:v>3.302</c:v>
                </c:pt>
                <c:pt idx="3303">
                  <c:v>3.3029999999999999</c:v>
                </c:pt>
                <c:pt idx="3304">
                  <c:v>3.3039999999999998</c:v>
                </c:pt>
                <c:pt idx="3305">
                  <c:v>3.3050000000000002</c:v>
                </c:pt>
                <c:pt idx="3306">
                  <c:v>3.306</c:v>
                </c:pt>
                <c:pt idx="3307">
                  <c:v>3.3069999999999999</c:v>
                </c:pt>
                <c:pt idx="3308">
                  <c:v>3.3079999999999998</c:v>
                </c:pt>
                <c:pt idx="3309">
                  <c:v>3.3090000000000002</c:v>
                </c:pt>
                <c:pt idx="3310">
                  <c:v>3.31</c:v>
                </c:pt>
                <c:pt idx="3311">
                  <c:v>3.3109999999999999</c:v>
                </c:pt>
                <c:pt idx="3312">
                  <c:v>3.3119999999999998</c:v>
                </c:pt>
                <c:pt idx="3313">
                  <c:v>3.3130000000000002</c:v>
                </c:pt>
                <c:pt idx="3314">
                  <c:v>3.3140000000000001</c:v>
                </c:pt>
                <c:pt idx="3315">
                  <c:v>3.3149999999999999</c:v>
                </c:pt>
                <c:pt idx="3316">
                  <c:v>3.3159999999999998</c:v>
                </c:pt>
                <c:pt idx="3317">
                  <c:v>3.3170000000000002</c:v>
                </c:pt>
                <c:pt idx="3318">
                  <c:v>3.3180000000000001</c:v>
                </c:pt>
                <c:pt idx="3319">
                  <c:v>3.319</c:v>
                </c:pt>
                <c:pt idx="3320">
                  <c:v>3.32</c:v>
                </c:pt>
                <c:pt idx="3321">
                  <c:v>3.3210000000000002</c:v>
                </c:pt>
                <c:pt idx="3322">
                  <c:v>3.3220000000000001</c:v>
                </c:pt>
                <c:pt idx="3323">
                  <c:v>3.323</c:v>
                </c:pt>
                <c:pt idx="3324">
                  <c:v>3.3239999999999998</c:v>
                </c:pt>
                <c:pt idx="3325">
                  <c:v>3.3250000000000002</c:v>
                </c:pt>
                <c:pt idx="3326">
                  <c:v>3.3260000000000001</c:v>
                </c:pt>
                <c:pt idx="3327">
                  <c:v>3.327</c:v>
                </c:pt>
                <c:pt idx="3328">
                  <c:v>3.3279999999999998</c:v>
                </c:pt>
                <c:pt idx="3329">
                  <c:v>3.3290000000000002</c:v>
                </c:pt>
                <c:pt idx="3330">
                  <c:v>3.33</c:v>
                </c:pt>
                <c:pt idx="3331">
                  <c:v>3.331</c:v>
                </c:pt>
                <c:pt idx="3332">
                  <c:v>3.3319999999999999</c:v>
                </c:pt>
                <c:pt idx="3333">
                  <c:v>3.3330000000000002</c:v>
                </c:pt>
                <c:pt idx="3334">
                  <c:v>3.3340000000000001</c:v>
                </c:pt>
                <c:pt idx="3335">
                  <c:v>3.335</c:v>
                </c:pt>
                <c:pt idx="3336">
                  <c:v>3.3359999999999999</c:v>
                </c:pt>
                <c:pt idx="3337">
                  <c:v>3.3370000000000002</c:v>
                </c:pt>
                <c:pt idx="3338">
                  <c:v>3.3380000000000001</c:v>
                </c:pt>
                <c:pt idx="3339">
                  <c:v>3.339</c:v>
                </c:pt>
                <c:pt idx="3340">
                  <c:v>3.34</c:v>
                </c:pt>
                <c:pt idx="3341">
                  <c:v>3.3410000000000002</c:v>
                </c:pt>
                <c:pt idx="3342">
                  <c:v>3.3420000000000001</c:v>
                </c:pt>
                <c:pt idx="3343">
                  <c:v>3.343</c:v>
                </c:pt>
                <c:pt idx="3344">
                  <c:v>3.3439999999999999</c:v>
                </c:pt>
                <c:pt idx="3345">
                  <c:v>3.3450000000000002</c:v>
                </c:pt>
                <c:pt idx="3346">
                  <c:v>3.3460000000000001</c:v>
                </c:pt>
                <c:pt idx="3347">
                  <c:v>3.347</c:v>
                </c:pt>
                <c:pt idx="3348">
                  <c:v>3.3479999999999999</c:v>
                </c:pt>
                <c:pt idx="3349">
                  <c:v>3.3490000000000002</c:v>
                </c:pt>
                <c:pt idx="3350">
                  <c:v>3.35</c:v>
                </c:pt>
                <c:pt idx="3351">
                  <c:v>3.351</c:v>
                </c:pt>
                <c:pt idx="3352">
                  <c:v>3.3519999999999999</c:v>
                </c:pt>
                <c:pt idx="3353">
                  <c:v>3.3530000000000002</c:v>
                </c:pt>
                <c:pt idx="3354">
                  <c:v>3.3540000000000001</c:v>
                </c:pt>
                <c:pt idx="3355">
                  <c:v>3.355</c:v>
                </c:pt>
                <c:pt idx="3356">
                  <c:v>3.3559999999999999</c:v>
                </c:pt>
                <c:pt idx="3357">
                  <c:v>3.3570000000000002</c:v>
                </c:pt>
                <c:pt idx="3358">
                  <c:v>3.3580000000000001</c:v>
                </c:pt>
                <c:pt idx="3359">
                  <c:v>3.359</c:v>
                </c:pt>
                <c:pt idx="3360">
                  <c:v>3.36</c:v>
                </c:pt>
                <c:pt idx="3361">
                  <c:v>3.3610000000000002</c:v>
                </c:pt>
                <c:pt idx="3362">
                  <c:v>3.3620000000000001</c:v>
                </c:pt>
                <c:pt idx="3363">
                  <c:v>3.363</c:v>
                </c:pt>
                <c:pt idx="3364">
                  <c:v>3.3639999999999999</c:v>
                </c:pt>
                <c:pt idx="3365">
                  <c:v>3.3650000000000002</c:v>
                </c:pt>
                <c:pt idx="3366">
                  <c:v>3.3660000000000001</c:v>
                </c:pt>
                <c:pt idx="3367">
                  <c:v>3.367</c:v>
                </c:pt>
                <c:pt idx="3368">
                  <c:v>3.3679999999999999</c:v>
                </c:pt>
                <c:pt idx="3369">
                  <c:v>3.3690000000000002</c:v>
                </c:pt>
                <c:pt idx="3370">
                  <c:v>3.37</c:v>
                </c:pt>
                <c:pt idx="3371">
                  <c:v>3.371</c:v>
                </c:pt>
                <c:pt idx="3372">
                  <c:v>3.3719999999999999</c:v>
                </c:pt>
                <c:pt idx="3373">
                  <c:v>3.3730000000000002</c:v>
                </c:pt>
                <c:pt idx="3374">
                  <c:v>3.3740000000000001</c:v>
                </c:pt>
                <c:pt idx="3375">
                  <c:v>3.375</c:v>
                </c:pt>
                <c:pt idx="3376">
                  <c:v>3.3759999999999999</c:v>
                </c:pt>
                <c:pt idx="3377">
                  <c:v>3.3769999999999998</c:v>
                </c:pt>
                <c:pt idx="3378">
                  <c:v>3.3780000000000001</c:v>
                </c:pt>
                <c:pt idx="3379">
                  <c:v>3.379</c:v>
                </c:pt>
                <c:pt idx="3380">
                  <c:v>3.38</c:v>
                </c:pt>
                <c:pt idx="3381">
                  <c:v>3.3809999999999998</c:v>
                </c:pt>
                <c:pt idx="3382">
                  <c:v>3.3820000000000001</c:v>
                </c:pt>
                <c:pt idx="3383">
                  <c:v>3.383</c:v>
                </c:pt>
                <c:pt idx="3384">
                  <c:v>3.3839999999999999</c:v>
                </c:pt>
                <c:pt idx="3385">
                  <c:v>3.3849999999999998</c:v>
                </c:pt>
                <c:pt idx="3386">
                  <c:v>3.3860000000000001</c:v>
                </c:pt>
                <c:pt idx="3387">
                  <c:v>3.387</c:v>
                </c:pt>
                <c:pt idx="3388">
                  <c:v>3.3879999999999999</c:v>
                </c:pt>
                <c:pt idx="3389">
                  <c:v>3.3889999999999998</c:v>
                </c:pt>
                <c:pt idx="3390">
                  <c:v>3.39</c:v>
                </c:pt>
                <c:pt idx="3391">
                  <c:v>3.391</c:v>
                </c:pt>
                <c:pt idx="3392">
                  <c:v>3.3919999999999999</c:v>
                </c:pt>
                <c:pt idx="3393">
                  <c:v>3.3929999999999998</c:v>
                </c:pt>
                <c:pt idx="3394">
                  <c:v>3.3940000000000001</c:v>
                </c:pt>
                <c:pt idx="3395">
                  <c:v>3.395</c:v>
                </c:pt>
                <c:pt idx="3396">
                  <c:v>3.3959999999999999</c:v>
                </c:pt>
                <c:pt idx="3397">
                  <c:v>3.3969999999999998</c:v>
                </c:pt>
                <c:pt idx="3398">
                  <c:v>3.3980000000000001</c:v>
                </c:pt>
                <c:pt idx="3399">
                  <c:v>3.399</c:v>
                </c:pt>
                <c:pt idx="3400">
                  <c:v>3.4</c:v>
                </c:pt>
                <c:pt idx="3401">
                  <c:v>3.4009999999999998</c:v>
                </c:pt>
                <c:pt idx="3402">
                  <c:v>3.4020000000000001</c:v>
                </c:pt>
                <c:pt idx="3403">
                  <c:v>3.403</c:v>
                </c:pt>
                <c:pt idx="3404">
                  <c:v>3.4039999999999999</c:v>
                </c:pt>
                <c:pt idx="3405">
                  <c:v>3.4049999999999998</c:v>
                </c:pt>
                <c:pt idx="3406">
                  <c:v>3.4060000000000001</c:v>
                </c:pt>
                <c:pt idx="3407">
                  <c:v>3.407</c:v>
                </c:pt>
                <c:pt idx="3408">
                  <c:v>3.4079999999999999</c:v>
                </c:pt>
                <c:pt idx="3409">
                  <c:v>3.4089999999999998</c:v>
                </c:pt>
                <c:pt idx="3410">
                  <c:v>3.41</c:v>
                </c:pt>
                <c:pt idx="3411">
                  <c:v>3.411</c:v>
                </c:pt>
                <c:pt idx="3412">
                  <c:v>3.4119999999999999</c:v>
                </c:pt>
                <c:pt idx="3413">
                  <c:v>3.4129999999999998</c:v>
                </c:pt>
                <c:pt idx="3414">
                  <c:v>3.4140000000000001</c:v>
                </c:pt>
                <c:pt idx="3415">
                  <c:v>3.415</c:v>
                </c:pt>
                <c:pt idx="3416">
                  <c:v>3.4159999999999999</c:v>
                </c:pt>
                <c:pt idx="3417">
                  <c:v>3.4169999999999998</c:v>
                </c:pt>
                <c:pt idx="3418">
                  <c:v>3.4180000000000001</c:v>
                </c:pt>
                <c:pt idx="3419">
                  <c:v>3.419</c:v>
                </c:pt>
                <c:pt idx="3420">
                  <c:v>3.42</c:v>
                </c:pt>
                <c:pt idx="3421">
                  <c:v>3.4209999999999998</c:v>
                </c:pt>
                <c:pt idx="3422">
                  <c:v>3.4220000000000002</c:v>
                </c:pt>
                <c:pt idx="3423">
                  <c:v>3.423</c:v>
                </c:pt>
                <c:pt idx="3424">
                  <c:v>3.4239999999999999</c:v>
                </c:pt>
                <c:pt idx="3425">
                  <c:v>3.4249999999999998</c:v>
                </c:pt>
                <c:pt idx="3426">
                  <c:v>3.4260000000000002</c:v>
                </c:pt>
                <c:pt idx="3427">
                  <c:v>3.427</c:v>
                </c:pt>
                <c:pt idx="3428">
                  <c:v>3.4279999999999999</c:v>
                </c:pt>
                <c:pt idx="3429">
                  <c:v>3.4289999999999998</c:v>
                </c:pt>
                <c:pt idx="3430">
                  <c:v>3.43</c:v>
                </c:pt>
                <c:pt idx="3431">
                  <c:v>3.431</c:v>
                </c:pt>
                <c:pt idx="3432">
                  <c:v>3.4319999999999999</c:v>
                </c:pt>
                <c:pt idx="3433">
                  <c:v>3.4329999999999998</c:v>
                </c:pt>
                <c:pt idx="3434">
                  <c:v>3.4340000000000002</c:v>
                </c:pt>
                <c:pt idx="3435">
                  <c:v>3.4350000000000001</c:v>
                </c:pt>
                <c:pt idx="3436">
                  <c:v>3.4359999999999999</c:v>
                </c:pt>
                <c:pt idx="3437">
                  <c:v>3.4369999999999998</c:v>
                </c:pt>
                <c:pt idx="3438">
                  <c:v>3.4380000000000002</c:v>
                </c:pt>
                <c:pt idx="3439">
                  <c:v>3.4390000000000001</c:v>
                </c:pt>
                <c:pt idx="3440">
                  <c:v>3.44</c:v>
                </c:pt>
                <c:pt idx="3441">
                  <c:v>3.4409999999999998</c:v>
                </c:pt>
                <c:pt idx="3442">
                  <c:v>3.4420000000000002</c:v>
                </c:pt>
                <c:pt idx="3443">
                  <c:v>3.4430000000000001</c:v>
                </c:pt>
                <c:pt idx="3444">
                  <c:v>3.444</c:v>
                </c:pt>
                <c:pt idx="3445">
                  <c:v>3.4449999999999998</c:v>
                </c:pt>
                <c:pt idx="3446">
                  <c:v>3.4460000000000002</c:v>
                </c:pt>
                <c:pt idx="3447">
                  <c:v>3.4470000000000001</c:v>
                </c:pt>
                <c:pt idx="3448">
                  <c:v>3.448</c:v>
                </c:pt>
                <c:pt idx="3449">
                  <c:v>3.4489999999999998</c:v>
                </c:pt>
                <c:pt idx="3450">
                  <c:v>3.45</c:v>
                </c:pt>
                <c:pt idx="3451">
                  <c:v>3.4510000000000001</c:v>
                </c:pt>
                <c:pt idx="3452">
                  <c:v>3.452</c:v>
                </c:pt>
                <c:pt idx="3453">
                  <c:v>3.4529999999999998</c:v>
                </c:pt>
                <c:pt idx="3454">
                  <c:v>3.4540000000000002</c:v>
                </c:pt>
                <c:pt idx="3455">
                  <c:v>3.4550000000000001</c:v>
                </c:pt>
                <c:pt idx="3456">
                  <c:v>3.456</c:v>
                </c:pt>
                <c:pt idx="3457">
                  <c:v>3.4569999999999999</c:v>
                </c:pt>
                <c:pt idx="3458">
                  <c:v>3.4580000000000002</c:v>
                </c:pt>
                <c:pt idx="3459">
                  <c:v>3.4590000000000001</c:v>
                </c:pt>
                <c:pt idx="3460">
                  <c:v>3.46</c:v>
                </c:pt>
                <c:pt idx="3461">
                  <c:v>3.4609999999999999</c:v>
                </c:pt>
                <c:pt idx="3462">
                  <c:v>3.4620000000000002</c:v>
                </c:pt>
                <c:pt idx="3463">
                  <c:v>3.4630000000000001</c:v>
                </c:pt>
                <c:pt idx="3464">
                  <c:v>3.464</c:v>
                </c:pt>
                <c:pt idx="3465">
                  <c:v>3.4649999999999999</c:v>
                </c:pt>
                <c:pt idx="3466">
                  <c:v>3.4660000000000002</c:v>
                </c:pt>
                <c:pt idx="3467">
                  <c:v>3.4670000000000001</c:v>
                </c:pt>
                <c:pt idx="3468">
                  <c:v>3.468</c:v>
                </c:pt>
                <c:pt idx="3469">
                  <c:v>3.4689999999999999</c:v>
                </c:pt>
                <c:pt idx="3470">
                  <c:v>3.47</c:v>
                </c:pt>
                <c:pt idx="3471">
                  <c:v>3.4710000000000001</c:v>
                </c:pt>
                <c:pt idx="3472">
                  <c:v>3.472</c:v>
                </c:pt>
                <c:pt idx="3473">
                  <c:v>3.4729999999999999</c:v>
                </c:pt>
                <c:pt idx="3474">
                  <c:v>3.4740000000000002</c:v>
                </c:pt>
                <c:pt idx="3475">
                  <c:v>3.4750000000000001</c:v>
                </c:pt>
                <c:pt idx="3476">
                  <c:v>3.476</c:v>
                </c:pt>
                <c:pt idx="3477">
                  <c:v>3.4769999999999999</c:v>
                </c:pt>
                <c:pt idx="3478">
                  <c:v>3.4780000000000002</c:v>
                </c:pt>
                <c:pt idx="3479">
                  <c:v>3.4790000000000001</c:v>
                </c:pt>
                <c:pt idx="3480">
                  <c:v>3.48</c:v>
                </c:pt>
                <c:pt idx="3481">
                  <c:v>3.4809999999999999</c:v>
                </c:pt>
                <c:pt idx="3482">
                  <c:v>3.4820000000000002</c:v>
                </c:pt>
                <c:pt idx="3483">
                  <c:v>3.4830000000000001</c:v>
                </c:pt>
                <c:pt idx="3484">
                  <c:v>3.484</c:v>
                </c:pt>
                <c:pt idx="3485">
                  <c:v>3.4849999999999999</c:v>
                </c:pt>
                <c:pt idx="3486">
                  <c:v>3.4860000000000002</c:v>
                </c:pt>
                <c:pt idx="3487">
                  <c:v>3.4870000000000001</c:v>
                </c:pt>
                <c:pt idx="3488">
                  <c:v>3.488</c:v>
                </c:pt>
                <c:pt idx="3489">
                  <c:v>3.4889999999999999</c:v>
                </c:pt>
                <c:pt idx="3490">
                  <c:v>3.49</c:v>
                </c:pt>
                <c:pt idx="3491">
                  <c:v>3.4910000000000001</c:v>
                </c:pt>
                <c:pt idx="3492">
                  <c:v>3.492</c:v>
                </c:pt>
                <c:pt idx="3493">
                  <c:v>3.4929999999999999</c:v>
                </c:pt>
                <c:pt idx="3494">
                  <c:v>3.4940000000000002</c:v>
                </c:pt>
                <c:pt idx="3495">
                  <c:v>3.4950000000000001</c:v>
                </c:pt>
                <c:pt idx="3496">
                  <c:v>3.496</c:v>
                </c:pt>
                <c:pt idx="3497">
                  <c:v>3.4969999999999999</c:v>
                </c:pt>
                <c:pt idx="3498">
                  <c:v>3.4980000000000002</c:v>
                </c:pt>
                <c:pt idx="3499">
                  <c:v>3.4990000000000001</c:v>
                </c:pt>
                <c:pt idx="3500">
                  <c:v>3.5</c:v>
                </c:pt>
                <c:pt idx="3501">
                  <c:v>3.5009999999999999</c:v>
                </c:pt>
                <c:pt idx="3502">
                  <c:v>3.5019999999999998</c:v>
                </c:pt>
                <c:pt idx="3503">
                  <c:v>3.5030000000000001</c:v>
                </c:pt>
                <c:pt idx="3504">
                  <c:v>3.504</c:v>
                </c:pt>
                <c:pt idx="3505">
                  <c:v>3.5049999999999999</c:v>
                </c:pt>
                <c:pt idx="3506">
                  <c:v>3.5059999999999998</c:v>
                </c:pt>
                <c:pt idx="3507">
                  <c:v>3.5070000000000001</c:v>
                </c:pt>
                <c:pt idx="3508">
                  <c:v>3.508</c:v>
                </c:pt>
                <c:pt idx="3509">
                  <c:v>3.5089999999999999</c:v>
                </c:pt>
                <c:pt idx="3510">
                  <c:v>3.51</c:v>
                </c:pt>
                <c:pt idx="3511">
                  <c:v>3.5110000000000001</c:v>
                </c:pt>
                <c:pt idx="3512">
                  <c:v>3.512</c:v>
                </c:pt>
                <c:pt idx="3513">
                  <c:v>3.5129999999999999</c:v>
                </c:pt>
                <c:pt idx="3514">
                  <c:v>3.5139999999999998</c:v>
                </c:pt>
                <c:pt idx="3515">
                  <c:v>3.5150000000000001</c:v>
                </c:pt>
                <c:pt idx="3516">
                  <c:v>3.516</c:v>
                </c:pt>
                <c:pt idx="3517">
                  <c:v>3.5169999999999999</c:v>
                </c:pt>
                <c:pt idx="3518">
                  <c:v>3.5179999999999998</c:v>
                </c:pt>
                <c:pt idx="3519">
                  <c:v>3.5190000000000001</c:v>
                </c:pt>
                <c:pt idx="3520">
                  <c:v>3.52</c:v>
                </c:pt>
                <c:pt idx="3521">
                  <c:v>3.5209999999999999</c:v>
                </c:pt>
                <c:pt idx="3522">
                  <c:v>3.5219999999999998</c:v>
                </c:pt>
                <c:pt idx="3523">
                  <c:v>3.5230000000000001</c:v>
                </c:pt>
                <c:pt idx="3524">
                  <c:v>3.524</c:v>
                </c:pt>
                <c:pt idx="3525">
                  <c:v>3.5249999999999999</c:v>
                </c:pt>
                <c:pt idx="3526">
                  <c:v>3.5259999999999998</c:v>
                </c:pt>
                <c:pt idx="3527">
                  <c:v>3.5270000000000001</c:v>
                </c:pt>
                <c:pt idx="3528">
                  <c:v>3.528</c:v>
                </c:pt>
                <c:pt idx="3529">
                  <c:v>3.5289999999999999</c:v>
                </c:pt>
                <c:pt idx="3530">
                  <c:v>3.53</c:v>
                </c:pt>
                <c:pt idx="3531">
                  <c:v>3.5310000000000001</c:v>
                </c:pt>
                <c:pt idx="3532">
                  <c:v>3.532</c:v>
                </c:pt>
                <c:pt idx="3533">
                  <c:v>3.5329999999999999</c:v>
                </c:pt>
                <c:pt idx="3534">
                  <c:v>3.5339999999999998</c:v>
                </c:pt>
                <c:pt idx="3535">
                  <c:v>3.5350000000000001</c:v>
                </c:pt>
                <c:pt idx="3536">
                  <c:v>3.536</c:v>
                </c:pt>
                <c:pt idx="3537">
                  <c:v>3.5369999999999999</c:v>
                </c:pt>
                <c:pt idx="3538">
                  <c:v>3.5379999999999998</c:v>
                </c:pt>
                <c:pt idx="3539">
                  <c:v>3.5390000000000001</c:v>
                </c:pt>
                <c:pt idx="3540">
                  <c:v>3.54</c:v>
                </c:pt>
                <c:pt idx="3541">
                  <c:v>3.5409999999999999</c:v>
                </c:pt>
                <c:pt idx="3542">
                  <c:v>3.5419999999999998</c:v>
                </c:pt>
                <c:pt idx="3543">
                  <c:v>3.5430000000000001</c:v>
                </c:pt>
                <c:pt idx="3544">
                  <c:v>3.544</c:v>
                </c:pt>
                <c:pt idx="3545">
                  <c:v>3.5449999999999999</c:v>
                </c:pt>
                <c:pt idx="3546">
                  <c:v>3.5459999999999998</c:v>
                </c:pt>
                <c:pt idx="3547">
                  <c:v>3.5470000000000002</c:v>
                </c:pt>
                <c:pt idx="3548">
                  <c:v>3.548</c:v>
                </c:pt>
                <c:pt idx="3549">
                  <c:v>3.5489999999999999</c:v>
                </c:pt>
                <c:pt idx="3550">
                  <c:v>3.55</c:v>
                </c:pt>
                <c:pt idx="3551">
                  <c:v>3.5510000000000002</c:v>
                </c:pt>
                <c:pt idx="3552">
                  <c:v>3.552</c:v>
                </c:pt>
                <c:pt idx="3553">
                  <c:v>3.5529999999999999</c:v>
                </c:pt>
                <c:pt idx="3554">
                  <c:v>3.5539999999999998</c:v>
                </c:pt>
                <c:pt idx="3555">
                  <c:v>3.5550000000000002</c:v>
                </c:pt>
                <c:pt idx="3556">
                  <c:v>3.556</c:v>
                </c:pt>
                <c:pt idx="3557">
                  <c:v>3.5569999999999999</c:v>
                </c:pt>
                <c:pt idx="3558">
                  <c:v>3.5579999999999998</c:v>
                </c:pt>
                <c:pt idx="3559">
                  <c:v>3.5590000000000002</c:v>
                </c:pt>
                <c:pt idx="3560">
                  <c:v>3.56</c:v>
                </c:pt>
                <c:pt idx="3561">
                  <c:v>3.5609999999999999</c:v>
                </c:pt>
                <c:pt idx="3562">
                  <c:v>3.5619999999999998</c:v>
                </c:pt>
                <c:pt idx="3563">
                  <c:v>3.5630000000000002</c:v>
                </c:pt>
                <c:pt idx="3564">
                  <c:v>3.5640000000000001</c:v>
                </c:pt>
                <c:pt idx="3565">
                  <c:v>3.5649999999999999</c:v>
                </c:pt>
                <c:pt idx="3566">
                  <c:v>3.5659999999999998</c:v>
                </c:pt>
                <c:pt idx="3567">
                  <c:v>3.5670000000000002</c:v>
                </c:pt>
                <c:pt idx="3568">
                  <c:v>3.5680000000000001</c:v>
                </c:pt>
                <c:pt idx="3569">
                  <c:v>3.569</c:v>
                </c:pt>
                <c:pt idx="3570">
                  <c:v>3.57</c:v>
                </c:pt>
                <c:pt idx="3571">
                  <c:v>3.5710000000000002</c:v>
                </c:pt>
                <c:pt idx="3572">
                  <c:v>3.5720000000000001</c:v>
                </c:pt>
                <c:pt idx="3573">
                  <c:v>3.573</c:v>
                </c:pt>
                <c:pt idx="3574">
                  <c:v>3.5739999999999998</c:v>
                </c:pt>
                <c:pt idx="3575">
                  <c:v>3.5750000000000002</c:v>
                </c:pt>
                <c:pt idx="3576">
                  <c:v>3.5760000000000001</c:v>
                </c:pt>
                <c:pt idx="3577">
                  <c:v>3.577</c:v>
                </c:pt>
                <c:pt idx="3578">
                  <c:v>3.5779999999999998</c:v>
                </c:pt>
                <c:pt idx="3579">
                  <c:v>3.5790000000000002</c:v>
                </c:pt>
                <c:pt idx="3580">
                  <c:v>3.58</c:v>
                </c:pt>
                <c:pt idx="3581">
                  <c:v>3.581</c:v>
                </c:pt>
                <c:pt idx="3582">
                  <c:v>3.5819999999999999</c:v>
                </c:pt>
                <c:pt idx="3583">
                  <c:v>3.5830000000000002</c:v>
                </c:pt>
                <c:pt idx="3584">
                  <c:v>3.5840000000000001</c:v>
                </c:pt>
                <c:pt idx="3585">
                  <c:v>3.585</c:v>
                </c:pt>
                <c:pt idx="3586">
                  <c:v>3.5859999999999999</c:v>
                </c:pt>
                <c:pt idx="3587">
                  <c:v>3.5870000000000002</c:v>
                </c:pt>
                <c:pt idx="3588">
                  <c:v>3.5880000000000001</c:v>
                </c:pt>
                <c:pt idx="3589">
                  <c:v>3.589</c:v>
                </c:pt>
                <c:pt idx="3590">
                  <c:v>3.59</c:v>
                </c:pt>
                <c:pt idx="3591">
                  <c:v>3.5910000000000002</c:v>
                </c:pt>
                <c:pt idx="3592">
                  <c:v>3.5920000000000001</c:v>
                </c:pt>
                <c:pt idx="3593">
                  <c:v>3.593</c:v>
                </c:pt>
                <c:pt idx="3594">
                  <c:v>3.5939999999999999</c:v>
                </c:pt>
                <c:pt idx="3595">
                  <c:v>3.5950000000000002</c:v>
                </c:pt>
                <c:pt idx="3596">
                  <c:v>3.5960000000000001</c:v>
                </c:pt>
                <c:pt idx="3597">
                  <c:v>3.597</c:v>
                </c:pt>
                <c:pt idx="3598">
                  <c:v>3.5979999999999999</c:v>
                </c:pt>
                <c:pt idx="3599">
                  <c:v>3.5990000000000002</c:v>
                </c:pt>
                <c:pt idx="3600">
                  <c:v>3.6</c:v>
                </c:pt>
                <c:pt idx="3601">
                  <c:v>3.601</c:v>
                </c:pt>
                <c:pt idx="3602">
                  <c:v>3.6019999999999999</c:v>
                </c:pt>
                <c:pt idx="3603">
                  <c:v>3.6030000000000002</c:v>
                </c:pt>
                <c:pt idx="3604">
                  <c:v>3.6040000000000001</c:v>
                </c:pt>
                <c:pt idx="3605">
                  <c:v>3.605</c:v>
                </c:pt>
                <c:pt idx="3606">
                  <c:v>3.6059999999999999</c:v>
                </c:pt>
                <c:pt idx="3607">
                  <c:v>3.6070000000000002</c:v>
                </c:pt>
                <c:pt idx="3608">
                  <c:v>3.6080000000000001</c:v>
                </c:pt>
                <c:pt idx="3609">
                  <c:v>3.609</c:v>
                </c:pt>
                <c:pt idx="3610">
                  <c:v>3.61</c:v>
                </c:pt>
                <c:pt idx="3611">
                  <c:v>3.6110000000000002</c:v>
                </c:pt>
                <c:pt idx="3612">
                  <c:v>3.6120000000000001</c:v>
                </c:pt>
                <c:pt idx="3613">
                  <c:v>3.613</c:v>
                </c:pt>
                <c:pt idx="3614">
                  <c:v>3.6139999999999999</c:v>
                </c:pt>
                <c:pt idx="3615">
                  <c:v>3.6150000000000002</c:v>
                </c:pt>
                <c:pt idx="3616">
                  <c:v>3.6160000000000001</c:v>
                </c:pt>
                <c:pt idx="3617">
                  <c:v>3.617</c:v>
                </c:pt>
                <c:pt idx="3618">
                  <c:v>3.6179999999999999</c:v>
                </c:pt>
                <c:pt idx="3619">
                  <c:v>3.6190000000000002</c:v>
                </c:pt>
                <c:pt idx="3620">
                  <c:v>3.62</c:v>
                </c:pt>
                <c:pt idx="3621">
                  <c:v>3.621</c:v>
                </c:pt>
                <c:pt idx="3622">
                  <c:v>3.6219999999999999</c:v>
                </c:pt>
                <c:pt idx="3623">
                  <c:v>3.6230000000000002</c:v>
                </c:pt>
                <c:pt idx="3624">
                  <c:v>3.6240000000000001</c:v>
                </c:pt>
                <c:pt idx="3625">
                  <c:v>3.625</c:v>
                </c:pt>
                <c:pt idx="3626">
                  <c:v>3.6259999999999999</c:v>
                </c:pt>
                <c:pt idx="3627">
                  <c:v>3.6269999999999998</c:v>
                </c:pt>
                <c:pt idx="3628">
                  <c:v>3.6280000000000001</c:v>
                </c:pt>
                <c:pt idx="3629">
                  <c:v>3.629</c:v>
                </c:pt>
                <c:pt idx="3630">
                  <c:v>3.63</c:v>
                </c:pt>
                <c:pt idx="3631">
                  <c:v>3.6309999999999998</c:v>
                </c:pt>
                <c:pt idx="3632">
                  <c:v>3.6320000000000001</c:v>
                </c:pt>
                <c:pt idx="3633">
                  <c:v>3.633</c:v>
                </c:pt>
                <c:pt idx="3634">
                  <c:v>3.6339999999999999</c:v>
                </c:pt>
                <c:pt idx="3635">
                  <c:v>3.6349999999999998</c:v>
                </c:pt>
                <c:pt idx="3636">
                  <c:v>3.6360000000000001</c:v>
                </c:pt>
                <c:pt idx="3637">
                  <c:v>3.637</c:v>
                </c:pt>
                <c:pt idx="3638">
                  <c:v>3.6379999999999999</c:v>
                </c:pt>
                <c:pt idx="3639">
                  <c:v>3.6389999999999998</c:v>
                </c:pt>
                <c:pt idx="3640">
                  <c:v>3.64</c:v>
                </c:pt>
                <c:pt idx="3641">
                  <c:v>3.641</c:v>
                </c:pt>
                <c:pt idx="3642">
                  <c:v>3.6419999999999999</c:v>
                </c:pt>
                <c:pt idx="3643">
                  <c:v>3.6429999999999998</c:v>
                </c:pt>
                <c:pt idx="3644">
                  <c:v>3.6440000000000001</c:v>
                </c:pt>
                <c:pt idx="3645">
                  <c:v>3.645</c:v>
                </c:pt>
                <c:pt idx="3646">
                  <c:v>3.6459999999999999</c:v>
                </c:pt>
                <c:pt idx="3647">
                  <c:v>3.6469999999999998</c:v>
                </c:pt>
                <c:pt idx="3648">
                  <c:v>3.6480000000000001</c:v>
                </c:pt>
                <c:pt idx="3649">
                  <c:v>3.649</c:v>
                </c:pt>
                <c:pt idx="3650">
                  <c:v>3.65</c:v>
                </c:pt>
                <c:pt idx="3651">
                  <c:v>3.6509999999999998</c:v>
                </c:pt>
                <c:pt idx="3652">
                  <c:v>3.6520000000000001</c:v>
                </c:pt>
                <c:pt idx="3653">
                  <c:v>3.653</c:v>
                </c:pt>
                <c:pt idx="3654">
                  <c:v>3.6539999999999999</c:v>
                </c:pt>
                <c:pt idx="3655">
                  <c:v>3.6549999999999998</c:v>
                </c:pt>
                <c:pt idx="3656">
                  <c:v>3.6560000000000001</c:v>
                </c:pt>
                <c:pt idx="3657">
                  <c:v>3.657</c:v>
                </c:pt>
                <c:pt idx="3658">
                  <c:v>3.6579999999999999</c:v>
                </c:pt>
                <c:pt idx="3659">
                  <c:v>3.6589999999999998</c:v>
                </c:pt>
                <c:pt idx="3660">
                  <c:v>3.66</c:v>
                </c:pt>
                <c:pt idx="3661">
                  <c:v>3.661</c:v>
                </c:pt>
                <c:pt idx="3662">
                  <c:v>3.6619999999999999</c:v>
                </c:pt>
                <c:pt idx="3663">
                  <c:v>3.6629999999999998</c:v>
                </c:pt>
                <c:pt idx="3664">
                  <c:v>3.6640000000000001</c:v>
                </c:pt>
                <c:pt idx="3665">
                  <c:v>3.665</c:v>
                </c:pt>
                <c:pt idx="3666">
                  <c:v>3.6659999999999999</c:v>
                </c:pt>
                <c:pt idx="3667">
                  <c:v>3.6669999999999998</c:v>
                </c:pt>
                <c:pt idx="3668">
                  <c:v>3.6680000000000001</c:v>
                </c:pt>
                <c:pt idx="3669">
                  <c:v>3.669</c:v>
                </c:pt>
                <c:pt idx="3670">
                  <c:v>3.67</c:v>
                </c:pt>
                <c:pt idx="3671">
                  <c:v>3.6709999999999998</c:v>
                </c:pt>
                <c:pt idx="3672">
                  <c:v>3.6720000000000002</c:v>
                </c:pt>
                <c:pt idx="3673">
                  <c:v>3.673</c:v>
                </c:pt>
                <c:pt idx="3674">
                  <c:v>3.6739999999999999</c:v>
                </c:pt>
                <c:pt idx="3675">
                  <c:v>3.6749999999999998</c:v>
                </c:pt>
                <c:pt idx="3676">
                  <c:v>3.6760000000000002</c:v>
                </c:pt>
                <c:pt idx="3677">
                  <c:v>3.677</c:v>
                </c:pt>
                <c:pt idx="3678">
                  <c:v>3.6779999999999999</c:v>
                </c:pt>
                <c:pt idx="3679">
                  <c:v>3.6789999999999998</c:v>
                </c:pt>
                <c:pt idx="3680">
                  <c:v>3.68</c:v>
                </c:pt>
                <c:pt idx="3681">
                  <c:v>3.681</c:v>
                </c:pt>
                <c:pt idx="3682">
                  <c:v>3.6819999999999999</c:v>
                </c:pt>
                <c:pt idx="3683">
                  <c:v>3.6829999999999998</c:v>
                </c:pt>
                <c:pt idx="3684">
                  <c:v>3.6840000000000002</c:v>
                </c:pt>
                <c:pt idx="3685">
                  <c:v>3.6850000000000001</c:v>
                </c:pt>
                <c:pt idx="3686">
                  <c:v>3.6859999999999999</c:v>
                </c:pt>
                <c:pt idx="3687">
                  <c:v>3.6869999999999998</c:v>
                </c:pt>
                <c:pt idx="3688">
                  <c:v>3.6880000000000002</c:v>
                </c:pt>
                <c:pt idx="3689">
                  <c:v>3.6890000000000001</c:v>
                </c:pt>
                <c:pt idx="3690">
                  <c:v>3.69</c:v>
                </c:pt>
                <c:pt idx="3691">
                  <c:v>3.6909999999999998</c:v>
                </c:pt>
                <c:pt idx="3692">
                  <c:v>3.6920000000000002</c:v>
                </c:pt>
                <c:pt idx="3693">
                  <c:v>3.6930000000000001</c:v>
                </c:pt>
                <c:pt idx="3694">
                  <c:v>3.694</c:v>
                </c:pt>
                <c:pt idx="3695">
                  <c:v>3.6949999999999998</c:v>
                </c:pt>
                <c:pt idx="3696">
                  <c:v>3.6960000000000002</c:v>
                </c:pt>
                <c:pt idx="3697">
                  <c:v>3.6970000000000001</c:v>
                </c:pt>
                <c:pt idx="3698">
                  <c:v>3.698</c:v>
                </c:pt>
                <c:pt idx="3699">
                  <c:v>3.6989999999999998</c:v>
                </c:pt>
                <c:pt idx="3700">
                  <c:v>3.7</c:v>
                </c:pt>
                <c:pt idx="3701">
                  <c:v>3.7010000000000001</c:v>
                </c:pt>
                <c:pt idx="3702">
                  <c:v>3.702</c:v>
                </c:pt>
                <c:pt idx="3703">
                  <c:v>3.7029999999999998</c:v>
                </c:pt>
                <c:pt idx="3704">
                  <c:v>3.7040000000000002</c:v>
                </c:pt>
                <c:pt idx="3705">
                  <c:v>3.7050000000000001</c:v>
                </c:pt>
                <c:pt idx="3706">
                  <c:v>3.706</c:v>
                </c:pt>
                <c:pt idx="3707">
                  <c:v>3.7069999999999999</c:v>
                </c:pt>
                <c:pt idx="3708">
                  <c:v>3.7080000000000002</c:v>
                </c:pt>
                <c:pt idx="3709">
                  <c:v>3.7090000000000001</c:v>
                </c:pt>
                <c:pt idx="3710">
                  <c:v>3.71</c:v>
                </c:pt>
                <c:pt idx="3711">
                  <c:v>3.7109999999999999</c:v>
                </c:pt>
                <c:pt idx="3712">
                  <c:v>3.7120000000000002</c:v>
                </c:pt>
                <c:pt idx="3713">
                  <c:v>3.7130000000000001</c:v>
                </c:pt>
                <c:pt idx="3714">
                  <c:v>3.714</c:v>
                </c:pt>
                <c:pt idx="3715">
                  <c:v>3.7149999999999999</c:v>
                </c:pt>
                <c:pt idx="3716">
                  <c:v>3.7160000000000002</c:v>
                </c:pt>
                <c:pt idx="3717">
                  <c:v>3.7170000000000001</c:v>
                </c:pt>
                <c:pt idx="3718">
                  <c:v>3.718</c:v>
                </c:pt>
                <c:pt idx="3719">
                  <c:v>3.7189999999999999</c:v>
                </c:pt>
                <c:pt idx="3720">
                  <c:v>3.72</c:v>
                </c:pt>
                <c:pt idx="3721">
                  <c:v>3.7210000000000001</c:v>
                </c:pt>
                <c:pt idx="3722">
                  <c:v>3.722</c:v>
                </c:pt>
                <c:pt idx="3723">
                  <c:v>3.7229999999999999</c:v>
                </c:pt>
                <c:pt idx="3724">
                  <c:v>3.7240000000000002</c:v>
                </c:pt>
                <c:pt idx="3725">
                  <c:v>3.7250000000000001</c:v>
                </c:pt>
                <c:pt idx="3726">
                  <c:v>3.726</c:v>
                </c:pt>
                <c:pt idx="3727">
                  <c:v>3.7269999999999999</c:v>
                </c:pt>
                <c:pt idx="3728">
                  <c:v>3.7280000000000002</c:v>
                </c:pt>
                <c:pt idx="3729">
                  <c:v>3.7290000000000001</c:v>
                </c:pt>
                <c:pt idx="3730">
                  <c:v>3.73</c:v>
                </c:pt>
                <c:pt idx="3731">
                  <c:v>3.7309999999999999</c:v>
                </c:pt>
                <c:pt idx="3732">
                  <c:v>3.7320000000000002</c:v>
                </c:pt>
                <c:pt idx="3733">
                  <c:v>3.7330000000000001</c:v>
                </c:pt>
                <c:pt idx="3734">
                  <c:v>3.734</c:v>
                </c:pt>
                <c:pt idx="3735">
                  <c:v>3.7349999999999999</c:v>
                </c:pt>
                <c:pt idx="3736">
                  <c:v>3.7360000000000002</c:v>
                </c:pt>
                <c:pt idx="3737">
                  <c:v>3.7370000000000001</c:v>
                </c:pt>
                <c:pt idx="3738">
                  <c:v>3.738</c:v>
                </c:pt>
                <c:pt idx="3739">
                  <c:v>3.7389999999999999</c:v>
                </c:pt>
                <c:pt idx="3740">
                  <c:v>3.74</c:v>
                </c:pt>
                <c:pt idx="3741">
                  <c:v>3.7410000000000001</c:v>
                </c:pt>
                <c:pt idx="3742">
                  <c:v>3.742</c:v>
                </c:pt>
                <c:pt idx="3743">
                  <c:v>3.7429999999999999</c:v>
                </c:pt>
                <c:pt idx="3744">
                  <c:v>3.7440000000000002</c:v>
                </c:pt>
                <c:pt idx="3745">
                  <c:v>3.7450000000000001</c:v>
                </c:pt>
                <c:pt idx="3746">
                  <c:v>3.746</c:v>
                </c:pt>
                <c:pt idx="3747">
                  <c:v>3.7469999999999999</c:v>
                </c:pt>
                <c:pt idx="3748">
                  <c:v>3.7480000000000002</c:v>
                </c:pt>
                <c:pt idx="3749">
                  <c:v>3.7490000000000001</c:v>
                </c:pt>
                <c:pt idx="3750">
                  <c:v>3.75</c:v>
                </c:pt>
                <c:pt idx="3751">
                  <c:v>3.7509999999999999</c:v>
                </c:pt>
                <c:pt idx="3752">
                  <c:v>3.7519999999999998</c:v>
                </c:pt>
                <c:pt idx="3753">
                  <c:v>3.7530000000000001</c:v>
                </c:pt>
                <c:pt idx="3754">
                  <c:v>3.754</c:v>
                </c:pt>
                <c:pt idx="3755">
                  <c:v>3.7549999999999999</c:v>
                </c:pt>
                <c:pt idx="3756">
                  <c:v>3.7559999999999998</c:v>
                </c:pt>
                <c:pt idx="3757">
                  <c:v>3.7570000000000001</c:v>
                </c:pt>
                <c:pt idx="3758">
                  <c:v>3.758</c:v>
                </c:pt>
                <c:pt idx="3759">
                  <c:v>3.7589999999999999</c:v>
                </c:pt>
                <c:pt idx="3760">
                  <c:v>3.76</c:v>
                </c:pt>
                <c:pt idx="3761">
                  <c:v>3.7610000000000001</c:v>
                </c:pt>
                <c:pt idx="3762">
                  <c:v>3.762</c:v>
                </c:pt>
                <c:pt idx="3763">
                  <c:v>3.7629999999999999</c:v>
                </c:pt>
                <c:pt idx="3764">
                  <c:v>3.7639999999999998</c:v>
                </c:pt>
                <c:pt idx="3765">
                  <c:v>3.7650000000000001</c:v>
                </c:pt>
                <c:pt idx="3766">
                  <c:v>3.766</c:v>
                </c:pt>
                <c:pt idx="3767">
                  <c:v>3.7669999999999999</c:v>
                </c:pt>
                <c:pt idx="3768">
                  <c:v>3.7679999999999998</c:v>
                </c:pt>
                <c:pt idx="3769">
                  <c:v>3.7690000000000001</c:v>
                </c:pt>
                <c:pt idx="3770">
                  <c:v>3.77</c:v>
                </c:pt>
                <c:pt idx="3771">
                  <c:v>3.7709999999999999</c:v>
                </c:pt>
                <c:pt idx="3772">
                  <c:v>3.7719999999999998</c:v>
                </c:pt>
                <c:pt idx="3773">
                  <c:v>3.7730000000000001</c:v>
                </c:pt>
                <c:pt idx="3774">
                  <c:v>3.774</c:v>
                </c:pt>
                <c:pt idx="3775">
                  <c:v>3.7749999999999999</c:v>
                </c:pt>
                <c:pt idx="3776">
                  <c:v>3.7759999999999998</c:v>
                </c:pt>
                <c:pt idx="3777">
                  <c:v>3.7770000000000001</c:v>
                </c:pt>
                <c:pt idx="3778">
                  <c:v>3.778</c:v>
                </c:pt>
                <c:pt idx="3779">
                  <c:v>3.7789999999999999</c:v>
                </c:pt>
                <c:pt idx="3780">
                  <c:v>3.78</c:v>
                </c:pt>
                <c:pt idx="3781">
                  <c:v>3.7810000000000001</c:v>
                </c:pt>
                <c:pt idx="3782">
                  <c:v>3.782</c:v>
                </c:pt>
                <c:pt idx="3783">
                  <c:v>3.7829999999999999</c:v>
                </c:pt>
                <c:pt idx="3784">
                  <c:v>3.7839999999999998</c:v>
                </c:pt>
                <c:pt idx="3785">
                  <c:v>3.7850000000000001</c:v>
                </c:pt>
                <c:pt idx="3786">
                  <c:v>3.786</c:v>
                </c:pt>
                <c:pt idx="3787">
                  <c:v>3.7869999999999999</c:v>
                </c:pt>
                <c:pt idx="3788">
                  <c:v>3.7879999999999998</c:v>
                </c:pt>
                <c:pt idx="3789">
                  <c:v>3.7890000000000001</c:v>
                </c:pt>
                <c:pt idx="3790">
                  <c:v>3.79</c:v>
                </c:pt>
                <c:pt idx="3791">
                  <c:v>3.7909999999999999</c:v>
                </c:pt>
                <c:pt idx="3792">
                  <c:v>3.7919999999999998</c:v>
                </c:pt>
                <c:pt idx="3793">
                  <c:v>3.7930000000000001</c:v>
                </c:pt>
                <c:pt idx="3794">
                  <c:v>3.794</c:v>
                </c:pt>
                <c:pt idx="3795">
                  <c:v>3.7949999999999999</c:v>
                </c:pt>
                <c:pt idx="3796">
                  <c:v>3.7959999999999998</c:v>
                </c:pt>
                <c:pt idx="3797">
                  <c:v>3.7970000000000002</c:v>
                </c:pt>
                <c:pt idx="3798">
                  <c:v>3.798</c:v>
                </c:pt>
                <c:pt idx="3799">
                  <c:v>3.7989999999999999</c:v>
                </c:pt>
                <c:pt idx="3800">
                  <c:v>3.8</c:v>
                </c:pt>
                <c:pt idx="3801">
                  <c:v>3.8010000000000002</c:v>
                </c:pt>
                <c:pt idx="3802">
                  <c:v>3.802</c:v>
                </c:pt>
                <c:pt idx="3803">
                  <c:v>3.8029999999999999</c:v>
                </c:pt>
                <c:pt idx="3804">
                  <c:v>3.8039999999999998</c:v>
                </c:pt>
                <c:pt idx="3805">
                  <c:v>3.8050000000000002</c:v>
                </c:pt>
                <c:pt idx="3806">
                  <c:v>3.806</c:v>
                </c:pt>
                <c:pt idx="3807">
                  <c:v>3.8069999999999999</c:v>
                </c:pt>
                <c:pt idx="3808">
                  <c:v>3.8079999999999998</c:v>
                </c:pt>
                <c:pt idx="3809">
                  <c:v>3.8090000000000002</c:v>
                </c:pt>
                <c:pt idx="3810">
                  <c:v>3.81</c:v>
                </c:pt>
                <c:pt idx="3811">
                  <c:v>3.8109999999999999</c:v>
                </c:pt>
                <c:pt idx="3812">
                  <c:v>3.8119999999999998</c:v>
                </c:pt>
                <c:pt idx="3813">
                  <c:v>3.8130000000000002</c:v>
                </c:pt>
                <c:pt idx="3814">
                  <c:v>3.8140000000000001</c:v>
                </c:pt>
                <c:pt idx="3815">
                  <c:v>3.8149999999999999</c:v>
                </c:pt>
                <c:pt idx="3816">
                  <c:v>3.8159999999999998</c:v>
                </c:pt>
                <c:pt idx="3817">
                  <c:v>3.8170000000000002</c:v>
                </c:pt>
                <c:pt idx="3818">
                  <c:v>3.8180000000000001</c:v>
                </c:pt>
                <c:pt idx="3819">
                  <c:v>3.819</c:v>
                </c:pt>
                <c:pt idx="3820">
                  <c:v>3.82</c:v>
                </c:pt>
                <c:pt idx="3821">
                  <c:v>3.8210000000000002</c:v>
                </c:pt>
                <c:pt idx="3822">
                  <c:v>3.8220000000000001</c:v>
                </c:pt>
                <c:pt idx="3823">
                  <c:v>3.823</c:v>
                </c:pt>
                <c:pt idx="3824">
                  <c:v>3.8239999999999998</c:v>
                </c:pt>
                <c:pt idx="3825">
                  <c:v>3.8250000000000002</c:v>
                </c:pt>
                <c:pt idx="3826">
                  <c:v>3.8260000000000001</c:v>
                </c:pt>
                <c:pt idx="3827">
                  <c:v>3.827</c:v>
                </c:pt>
                <c:pt idx="3828">
                  <c:v>3.8279999999999998</c:v>
                </c:pt>
                <c:pt idx="3829">
                  <c:v>3.8290000000000002</c:v>
                </c:pt>
                <c:pt idx="3830">
                  <c:v>3.83</c:v>
                </c:pt>
                <c:pt idx="3831">
                  <c:v>3.831</c:v>
                </c:pt>
                <c:pt idx="3832">
                  <c:v>3.8319999999999999</c:v>
                </c:pt>
                <c:pt idx="3833">
                  <c:v>3.8330000000000002</c:v>
                </c:pt>
                <c:pt idx="3834">
                  <c:v>3.8340000000000001</c:v>
                </c:pt>
                <c:pt idx="3835">
                  <c:v>3.835</c:v>
                </c:pt>
                <c:pt idx="3836">
                  <c:v>3.8359999999999999</c:v>
                </c:pt>
                <c:pt idx="3837">
                  <c:v>3.8370000000000002</c:v>
                </c:pt>
                <c:pt idx="3838">
                  <c:v>3.8380000000000001</c:v>
                </c:pt>
                <c:pt idx="3839">
                  <c:v>3.839</c:v>
                </c:pt>
                <c:pt idx="3840">
                  <c:v>3.84</c:v>
                </c:pt>
                <c:pt idx="3841">
                  <c:v>3.8410000000000002</c:v>
                </c:pt>
                <c:pt idx="3842">
                  <c:v>3.8420000000000001</c:v>
                </c:pt>
                <c:pt idx="3843">
                  <c:v>3.843</c:v>
                </c:pt>
                <c:pt idx="3844">
                  <c:v>3.8439999999999999</c:v>
                </c:pt>
                <c:pt idx="3845">
                  <c:v>3.8450000000000002</c:v>
                </c:pt>
                <c:pt idx="3846">
                  <c:v>3.8460000000000001</c:v>
                </c:pt>
                <c:pt idx="3847">
                  <c:v>3.847</c:v>
                </c:pt>
                <c:pt idx="3848">
                  <c:v>3.8479999999999999</c:v>
                </c:pt>
                <c:pt idx="3849">
                  <c:v>3.8490000000000002</c:v>
                </c:pt>
                <c:pt idx="3850">
                  <c:v>3.85</c:v>
                </c:pt>
                <c:pt idx="3851">
                  <c:v>3.851</c:v>
                </c:pt>
                <c:pt idx="3852">
                  <c:v>3.8519999999999999</c:v>
                </c:pt>
                <c:pt idx="3853">
                  <c:v>3.8530000000000002</c:v>
                </c:pt>
                <c:pt idx="3854">
                  <c:v>3.8540000000000001</c:v>
                </c:pt>
                <c:pt idx="3855">
                  <c:v>3.855</c:v>
                </c:pt>
                <c:pt idx="3856">
                  <c:v>3.8559999999999999</c:v>
                </c:pt>
                <c:pt idx="3857">
                  <c:v>3.8570000000000002</c:v>
                </c:pt>
                <c:pt idx="3858">
                  <c:v>3.8580000000000001</c:v>
                </c:pt>
                <c:pt idx="3859">
                  <c:v>3.859</c:v>
                </c:pt>
                <c:pt idx="3860">
                  <c:v>3.86</c:v>
                </c:pt>
                <c:pt idx="3861">
                  <c:v>3.8610000000000002</c:v>
                </c:pt>
                <c:pt idx="3862">
                  <c:v>3.8620000000000001</c:v>
                </c:pt>
                <c:pt idx="3863">
                  <c:v>3.863</c:v>
                </c:pt>
                <c:pt idx="3864">
                  <c:v>3.8639999999999999</c:v>
                </c:pt>
                <c:pt idx="3865">
                  <c:v>3.8650000000000002</c:v>
                </c:pt>
                <c:pt idx="3866">
                  <c:v>3.8660000000000001</c:v>
                </c:pt>
                <c:pt idx="3867">
                  <c:v>3.867</c:v>
                </c:pt>
                <c:pt idx="3868">
                  <c:v>3.8679999999999999</c:v>
                </c:pt>
                <c:pt idx="3869">
                  <c:v>3.8690000000000002</c:v>
                </c:pt>
                <c:pt idx="3870">
                  <c:v>3.87</c:v>
                </c:pt>
                <c:pt idx="3871">
                  <c:v>3.871</c:v>
                </c:pt>
                <c:pt idx="3872">
                  <c:v>3.8719999999999999</c:v>
                </c:pt>
                <c:pt idx="3873">
                  <c:v>3.8730000000000002</c:v>
                </c:pt>
                <c:pt idx="3874">
                  <c:v>3.8740000000000001</c:v>
                </c:pt>
                <c:pt idx="3875">
                  <c:v>3.875</c:v>
                </c:pt>
                <c:pt idx="3876">
                  <c:v>3.8759999999999999</c:v>
                </c:pt>
                <c:pt idx="3877">
                  <c:v>3.8769999999999998</c:v>
                </c:pt>
                <c:pt idx="3878">
                  <c:v>3.8780000000000001</c:v>
                </c:pt>
                <c:pt idx="3879">
                  <c:v>3.879</c:v>
                </c:pt>
                <c:pt idx="3880">
                  <c:v>3.88</c:v>
                </c:pt>
                <c:pt idx="3881">
                  <c:v>3.8809999999999998</c:v>
                </c:pt>
                <c:pt idx="3882">
                  <c:v>3.8820000000000001</c:v>
                </c:pt>
                <c:pt idx="3883">
                  <c:v>3.883</c:v>
                </c:pt>
                <c:pt idx="3884">
                  <c:v>3.8839999999999999</c:v>
                </c:pt>
                <c:pt idx="3885">
                  <c:v>3.8849999999999998</c:v>
                </c:pt>
                <c:pt idx="3886">
                  <c:v>3.8860000000000001</c:v>
                </c:pt>
                <c:pt idx="3887">
                  <c:v>3.887</c:v>
                </c:pt>
                <c:pt idx="3888">
                  <c:v>3.8879999999999999</c:v>
                </c:pt>
                <c:pt idx="3889">
                  <c:v>3.8889999999999998</c:v>
                </c:pt>
                <c:pt idx="3890">
                  <c:v>3.89</c:v>
                </c:pt>
                <c:pt idx="3891">
                  <c:v>3.891</c:v>
                </c:pt>
                <c:pt idx="3892">
                  <c:v>3.8919999999999999</c:v>
                </c:pt>
                <c:pt idx="3893">
                  <c:v>3.8929999999999998</c:v>
                </c:pt>
                <c:pt idx="3894">
                  <c:v>3.8940000000000001</c:v>
                </c:pt>
                <c:pt idx="3895">
                  <c:v>3.895</c:v>
                </c:pt>
                <c:pt idx="3896">
                  <c:v>3.8959999999999999</c:v>
                </c:pt>
                <c:pt idx="3897">
                  <c:v>3.8969999999999998</c:v>
                </c:pt>
                <c:pt idx="3898">
                  <c:v>3.8980000000000001</c:v>
                </c:pt>
                <c:pt idx="3899">
                  <c:v>3.899</c:v>
                </c:pt>
                <c:pt idx="3900">
                  <c:v>3.9</c:v>
                </c:pt>
                <c:pt idx="3901">
                  <c:v>3.9009999999999998</c:v>
                </c:pt>
                <c:pt idx="3902">
                  <c:v>3.9020000000000001</c:v>
                </c:pt>
                <c:pt idx="3903">
                  <c:v>3.903</c:v>
                </c:pt>
                <c:pt idx="3904">
                  <c:v>3.9039999999999999</c:v>
                </c:pt>
                <c:pt idx="3905">
                  <c:v>3.9049999999999998</c:v>
                </c:pt>
                <c:pt idx="3906">
                  <c:v>3.9060000000000001</c:v>
                </c:pt>
                <c:pt idx="3907">
                  <c:v>3.907</c:v>
                </c:pt>
                <c:pt idx="3908">
                  <c:v>3.9079999999999999</c:v>
                </c:pt>
                <c:pt idx="3909">
                  <c:v>3.9089999999999998</c:v>
                </c:pt>
                <c:pt idx="3910">
                  <c:v>3.91</c:v>
                </c:pt>
                <c:pt idx="3911">
                  <c:v>3.911</c:v>
                </c:pt>
                <c:pt idx="3912">
                  <c:v>3.9119999999999999</c:v>
                </c:pt>
                <c:pt idx="3913">
                  <c:v>3.9129999999999998</c:v>
                </c:pt>
                <c:pt idx="3914">
                  <c:v>3.9140000000000001</c:v>
                </c:pt>
                <c:pt idx="3915">
                  <c:v>3.915</c:v>
                </c:pt>
                <c:pt idx="3916">
                  <c:v>3.9159999999999999</c:v>
                </c:pt>
                <c:pt idx="3917">
                  <c:v>3.9169999999999998</c:v>
                </c:pt>
                <c:pt idx="3918">
                  <c:v>3.9180000000000001</c:v>
                </c:pt>
                <c:pt idx="3919">
                  <c:v>3.919</c:v>
                </c:pt>
                <c:pt idx="3920">
                  <c:v>3.92</c:v>
                </c:pt>
                <c:pt idx="3921">
                  <c:v>3.9209999999999998</c:v>
                </c:pt>
                <c:pt idx="3922">
                  <c:v>3.9220000000000002</c:v>
                </c:pt>
                <c:pt idx="3923">
                  <c:v>3.923</c:v>
                </c:pt>
                <c:pt idx="3924">
                  <c:v>3.9239999999999999</c:v>
                </c:pt>
                <c:pt idx="3925">
                  <c:v>3.9249999999999998</c:v>
                </c:pt>
                <c:pt idx="3926">
                  <c:v>3.9260000000000002</c:v>
                </c:pt>
                <c:pt idx="3927">
                  <c:v>3.927</c:v>
                </c:pt>
                <c:pt idx="3928">
                  <c:v>3.9279999999999999</c:v>
                </c:pt>
                <c:pt idx="3929">
                  <c:v>3.9289999999999998</c:v>
                </c:pt>
                <c:pt idx="3930">
                  <c:v>3.93</c:v>
                </c:pt>
                <c:pt idx="3931">
                  <c:v>3.931</c:v>
                </c:pt>
                <c:pt idx="3932">
                  <c:v>3.9319999999999999</c:v>
                </c:pt>
                <c:pt idx="3933">
                  <c:v>3.9329999999999998</c:v>
                </c:pt>
                <c:pt idx="3934">
                  <c:v>3.9340000000000002</c:v>
                </c:pt>
                <c:pt idx="3935">
                  <c:v>3.9350000000000001</c:v>
                </c:pt>
                <c:pt idx="3936">
                  <c:v>3.9359999999999999</c:v>
                </c:pt>
                <c:pt idx="3937">
                  <c:v>3.9369999999999998</c:v>
                </c:pt>
                <c:pt idx="3938">
                  <c:v>3.9380000000000002</c:v>
                </c:pt>
                <c:pt idx="3939">
                  <c:v>3.9390000000000001</c:v>
                </c:pt>
                <c:pt idx="3940">
                  <c:v>3.94</c:v>
                </c:pt>
                <c:pt idx="3941">
                  <c:v>3.9409999999999998</c:v>
                </c:pt>
                <c:pt idx="3942">
                  <c:v>3.9420000000000002</c:v>
                </c:pt>
                <c:pt idx="3943">
                  <c:v>3.9430000000000001</c:v>
                </c:pt>
                <c:pt idx="3944">
                  <c:v>3.944</c:v>
                </c:pt>
                <c:pt idx="3945">
                  <c:v>3.9449999999999998</c:v>
                </c:pt>
                <c:pt idx="3946">
                  <c:v>3.9460000000000002</c:v>
                </c:pt>
                <c:pt idx="3947">
                  <c:v>3.9470000000000001</c:v>
                </c:pt>
                <c:pt idx="3948">
                  <c:v>3.948</c:v>
                </c:pt>
                <c:pt idx="3949">
                  <c:v>3.9489999999999998</c:v>
                </c:pt>
                <c:pt idx="3950">
                  <c:v>3.95</c:v>
                </c:pt>
                <c:pt idx="3951">
                  <c:v>3.9510000000000001</c:v>
                </c:pt>
                <c:pt idx="3952">
                  <c:v>3.952</c:v>
                </c:pt>
                <c:pt idx="3953">
                  <c:v>3.9529999999999998</c:v>
                </c:pt>
                <c:pt idx="3954">
                  <c:v>3.9540000000000002</c:v>
                </c:pt>
                <c:pt idx="3955">
                  <c:v>3.9550000000000001</c:v>
                </c:pt>
                <c:pt idx="3956">
                  <c:v>3.956</c:v>
                </c:pt>
                <c:pt idx="3957">
                  <c:v>3.9569999999999999</c:v>
                </c:pt>
                <c:pt idx="3958">
                  <c:v>3.9580000000000002</c:v>
                </c:pt>
                <c:pt idx="3959">
                  <c:v>3.9590000000000001</c:v>
                </c:pt>
                <c:pt idx="3960">
                  <c:v>3.96</c:v>
                </c:pt>
                <c:pt idx="3961">
                  <c:v>3.9609999999999999</c:v>
                </c:pt>
                <c:pt idx="3962">
                  <c:v>3.9620000000000002</c:v>
                </c:pt>
                <c:pt idx="3963">
                  <c:v>3.9630000000000001</c:v>
                </c:pt>
                <c:pt idx="3964">
                  <c:v>3.964</c:v>
                </c:pt>
                <c:pt idx="3965">
                  <c:v>3.9649999999999999</c:v>
                </c:pt>
                <c:pt idx="3966">
                  <c:v>3.9660000000000002</c:v>
                </c:pt>
                <c:pt idx="3967">
                  <c:v>3.9670000000000001</c:v>
                </c:pt>
                <c:pt idx="3968">
                  <c:v>3.968</c:v>
                </c:pt>
                <c:pt idx="3969">
                  <c:v>3.9689999999999999</c:v>
                </c:pt>
                <c:pt idx="3970">
                  <c:v>3.97</c:v>
                </c:pt>
                <c:pt idx="3971">
                  <c:v>3.9710000000000001</c:v>
                </c:pt>
                <c:pt idx="3972">
                  <c:v>3.972</c:v>
                </c:pt>
                <c:pt idx="3973">
                  <c:v>3.9729999999999999</c:v>
                </c:pt>
                <c:pt idx="3974">
                  <c:v>3.9740000000000002</c:v>
                </c:pt>
                <c:pt idx="3975">
                  <c:v>3.9750000000000001</c:v>
                </c:pt>
                <c:pt idx="3976">
                  <c:v>3.976</c:v>
                </c:pt>
                <c:pt idx="3977">
                  <c:v>3.9769999999999999</c:v>
                </c:pt>
                <c:pt idx="3978">
                  <c:v>3.9780000000000002</c:v>
                </c:pt>
                <c:pt idx="3979">
                  <c:v>3.9790000000000001</c:v>
                </c:pt>
                <c:pt idx="3980">
                  <c:v>3.98</c:v>
                </c:pt>
                <c:pt idx="3981">
                  <c:v>3.9809999999999999</c:v>
                </c:pt>
                <c:pt idx="3982">
                  <c:v>3.9820000000000002</c:v>
                </c:pt>
                <c:pt idx="3983">
                  <c:v>3.9830000000000001</c:v>
                </c:pt>
                <c:pt idx="3984">
                  <c:v>3.984</c:v>
                </c:pt>
                <c:pt idx="3985">
                  <c:v>3.9849999999999999</c:v>
                </c:pt>
                <c:pt idx="3986">
                  <c:v>3.9860000000000002</c:v>
                </c:pt>
                <c:pt idx="3987">
                  <c:v>3.9870000000000001</c:v>
                </c:pt>
                <c:pt idx="3988">
                  <c:v>3.988</c:v>
                </c:pt>
                <c:pt idx="3989">
                  <c:v>3.9889999999999999</c:v>
                </c:pt>
                <c:pt idx="3990">
                  <c:v>3.99</c:v>
                </c:pt>
                <c:pt idx="3991">
                  <c:v>3.9910000000000001</c:v>
                </c:pt>
                <c:pt idx="3992">
                  <c:v>3.992</c:v>
                </c:pt>
                <c:pt idx="3993">
                  <c:v>3.9929999999999999</c:v>
                </c:pt>
                <c:pt idx="3994">
                  <c:v>3.9940000000000002</c:v>
                </c:pt>
                <c:pt idx="3995">
                  <c:v>3.9950000000000001</c:v>
                </c:pt>
                <c:pt idx="3996">
                  <c:v>3.996</c:v>
                </c:pt>
                <c:pt idx="3997">
                  <c:v>3.9969999999999999</c:v>
                </c:pt>
                <c:pt idx="3998">
                  <c:v>3.9980000000000002</c:v>
                </c:pt>
                <c:pt idx="3999">
                  <c:v>3.9990000000000001</c:v>
                </c:pt>
                <c:pt idx="4000">
                  <c:v>4</c:v>
                </c:pt>
                <c:pt idx="4001">
                  <c:v>4.0010000000000003</c:v>
                </c:pt>
                <c:pt idx="4002">
                  <c:v>4.0019999999999998</c:v>
                </c:pt>
                <c:pt idx="4003">
                  <c:v>4.0030000000000001</c:v>
                </c:pt>
                <c:pt idx="4004">
                  <c:v>4.0039999999999996</c:v>
                </c:pt>
                <c:pt idx="4005">
                  <c:v>4.0049999999999999</c:v>
                </c:pt>
                <c:pt idx="4006">
                  <c:v>4.0060000000000002</c:v>
                </c:pt>
                <c:pt idx="4007">
                  <c:v>4.0069999999999997</c:v>
                </c:pt>
                <c:pt idx="4008">
                  <c:v>4.008</c:v>
                </c:pt>
                <c:pt idx="4009">
                  <c:v>4.0090000000000003</c:v>
                </c:pt>
                <c:pt idx="4010">
                  <c:v>4.01</c:v>
                </c:pt>
                <c:pt idx="4011">
                  <c:v>4.0110000000000001</c:v>
                </c:pt>
                <c:pt idx="4012">
                  <c:v>4.0119999999999996</c:v>
                </c:pt>
                <c:pt idx="4013">
                  <c:v>4.0129999999999999</c:v>
                </c:pt>
                <c:pt idx="4014">
                  <c:v>4.0140000000000002</c:v>
                </c:pt>
                <c:pt idx="4015">
                  <c:v>4.0149999999999997</c:v>
                </c:pt>
                <c:pt idx="4016">
                  <c:v>4.016</c:v>
                </c:pt>
                <c:pt idx="4017">
                  <c:v>4.0170000000000003</c:v>
                </c:pt>
                <c:pt idx="4018">
                  <c:v>4.0179999999999998</c:v>
                </c:pt>
                <c:pt idx="4019">
                  <c:v>4.0190000000000001</c:v>
                </c:pt>
                <c:pt idx="4020">
                  <c:v>4.0199999999999996</c:v>
                </c:pt>
                <c:pt idx="4021">
                  <c:v>4.0209999999999999</c:v>
                </c:pt>
                <c:pt idx="4022">
                  <c:v>4.0220000000000002</c:v>
                </c:pt>
                <c:pt idx="4023">
                  <c:v>4.0229999999999997</c:v>
                </c:pt>
                <c:pt idx="4024">
                  <c:v>4.024</c:v>
                </c:pt>
                <c:pt idx="4025">
                  <c:v>4.0250000000000004</c:v>
                </c:pt>
                <c:pt idx="4026">
                  <c:v>4.0259999999999998</c:v>
                </c:pt>
                <c:pt idx="4027">
                  <c:v>4.0270000000000001</c:v>
                </c:pt>
                <c:pt idx="4028">
                  <c:v>4.0279999999999996</c:v>
                </c:pt>
                <c:pt idx="4029">
                  <c:v>4.0289999999999999</c:v>
                </c:pt>
                <c:pt idx="4030">
                  <c:v>4.03</c:v>
                </c:pt>
                <c:pt idx="4031">
                  <c:v>4.0309999999999997</c:v>
                </c:pt>
                <c:pt idx="4032">
                  <c:v>4.032</c:v>
                </c:pt>
                <c:pt idx="4033">
                  <c:v>4.0330000000000004</c:v>
                </c:pt>
                <c:pt idx="4034">
                  <c:v>4.0339999999999998</c:v>
                </c:pt>
                <c:pt idx="4035">
                  <c:v>4.0350000000000001</c:v>
                </c:pt>
                <c:pt idx="4036">
                  <c:v>4.0359999999999996</c:v>
                </c:pt>
                <c:pt idx="4037">
                  <c:v>4.0369999999999999</c:v>
                </c:pt>
                <c:pt idx="4038">
                  <c:v>4.0380000000000003</c:v>
                </c:pt>
                <c:pt idx="4039">
                  <c:v>4.0389999999999997</c:v>
                </c:pt>
                <c:pt idx="4040">
                  <c:v>4.04</c:v>
                </c:pt>
                <c:pt idx="4041">
                  <c:v>4.0410000000000004</c:v>
                </c:pt>
                <c:pt idx="4042">
                  <c:v>4.0419999999999998</c:v>
                </c:pt>
                <c:pt idx="4043">
                  <c:v>4.0430000000000001</c:v>
                </c:pt>
                <c:pt idx="4044">
                  <c:v>4.0439999999999996</c:v>
                </c:pt>
                <c:pt idx="4045">
                  <c:v>4.0449999999999999</c:v>
                </c:pt>
                <c:pt idx="4046">
                  <c:v>4.0460000000000003</c:v>
                </c:pt>
                <c:pt idx="4047">
                  <c:v>4.0469999999999997</c:v>
                </c:pt>
                <c:pt idx="4048">
                  <c:v>4.048</c:v>
                </c:pt>
                <c:pt idx="4049">
                  <c:v>4.0490000000000004</c:v>
                </c:pt>
                <c:pt idx="4050">
                  <c:v>4.05</c:v>
                </c:pt>
                <c:pt idx="4051">
                  <c:v>4.0510000000000002</c:v>
                </c:pt>
                <c:pt idx="4052">
                  <c:v>4.0519999999999996</c:v>
                </c:pt>
                <c:pt idx="4053">
                  <c:v>4.0529999999999999</c:v>
                </c:pt>
                <c:pt idx="4054">
                  <c:v>4.0540000000000003</c:v>
                </c:pt>
                <c:pt idx="4055">
                  <c:v>4.0549999999999997</c:v>
                </c:pt>
                <c:pt idx="4056">
                  <c:v>4.056</c:v>
                </c:pt>
                <c:pt idx="4057">
                  <c:v>4.0570000000000004</c:v>
                </c:pt>
                <c:pt idx="4058">
                  <c:v>4.0579999999999998</c:v>
                </c:pt>
                <c:pt idx="4059">
                  <c:v>4.0590000000000002</c:v>
                </c:pt>
                <c:pt idx="4060">
                  <c:v>4.0599999999999996</c:v>
                </c:pt>
                <c:pt idx="4061">
                  <c:v>4.0609999999999999</c:v>
                </c:pt>
                <c:pt idx="4062">
                  <c:v>4.0620000000000003</c:v>
                </c:pt>
                <c:pt idx="4063">
                  <c:v>4.0629999999999997</c:v>
                </c:pt>
                <c:pt idx="4064">
                  <c:v>4.0640000000000001</c:v>
                </c:pt>
                <c:pt idx="4065">
                  <c:v>4.0650000000000004</c:v>
                </c:pt>
                <c:pt idx="4066">
                  <c:v>4.0659999999999998</c:v>
                </c:pt>
                <c:pt idx="4067">
                  <c:v>4.0670000000000002</c:v>
                </c:pt>
                <c:pt idx="4068">
                  <c:v>4.0679999999999996</c:v>
                </c:pt>
                <c:pt idx="4069">
                  <c:v>4.069</c:v>
                </c:pt>
                <c:pt idx="4070">
                  <c:v>4.07</c:v>
                </c:pt>
                <c:pt idx="4071">
                  <c:v>4.0709999999999997</c:v>
                </c:pt>
                <c:pt idx="4072">
                  <c:v>4.0720000000000001</c:v>
                </c:pt>
                <c:pt idx="4073">
                  <c:v>4.0730000000000004</c:v>
                </c:pt>
                <c:pt idx="4074">
                  <c:v>4.0739999999999998</c:v>
                </c:pt>
                <c:pt idx="4075">
                  <c:v>4.0750000000000002</c:v>
                </c:pt>
                <c:pt idx="4076">
                  <c:v>4.0759999999999996</c:v>
                </c:pt>
                <c:pt idx="4077">
                  <c:v>4.077</c:v>
                </c:pt>
                <c:pt idx="4078">
                  <c:v>4.0780000000000003</c:v>
                </c:pt>
                <c:pt idx="4079">
                  <c:v>4.0789999999999997</c:v>
                </c:pt>
                <c:pt idx="4080">
                  <c:v>4.08</c:v>
                </c:pt>
                <c:pt idx="4081">
                  <c:v>4.0810000000000004</c:v>
                </c:pt>
                <c:pt idx="4082">
                  <c:v>4.0819999999999999</c:v>
                </c:pt>
                <c:pt idx="4083">
                  <c:v>4.0830000000000002</c:v>
                </c:pt>
                <c:pt idx="4084">
                  <c:v>4.0839999999999996</c:v>
                </c:pt>
                <c:pt idx="4085">
                  <c:v>4.085</c:v>
                </c:pt>
                <c:pt idx="4086">
                  <c:v>4.0860000000000003</c:v>
                </c:pt>
                <c:pt idx="4087">
                  <c:v>4.0869999999999997</c:v>
                </c:pt>
                <c:pt idx="4088">
                  <c:v>4.0880000000000001</c:v>
                </c:pt>
                <c:pt idx="4089">
                  <c:v>4.0890000000000004</c:v>
                </c:pt>
                <c:pt idx="4090">
                  <c:v>4.09</c:v>
                </c:pt>
                <c:pt idx="4091">
                  <c:v>4.0910000000000002</c:v>
                </c:pt>
                <c:pt idx="4092">
                  <c:v>4.0919999999999996</c:v>
                </c:pt>
                <c:pt idx="4093">
                  <c:v>4.093</c:v>
                </c:pt>
                <c:pt idx="4094">
                  <c:v>4.0940000000000003</c:v>
                </c:pt>
                <c:pt idx="4095">
                  <c:v>4.0949999999999998</c:v>
                </c:pt>
                <c:pt idx="4096">
                  <c:v>4.0960000000000001</c:v>
                </c:pt>
                <c:pt idx="4097">
                  <c:v>4.0970000000000004</c:v>
                </c:pt>
                <c:pt idx="4098">
                  <c:v>4.0979999999999999</c:v>
                </c:pt>
                <c:pt idx="4099">
                  <c:v>4.0990000000000002</c:v>
                </c:pt>
                <c:pt idx="4100">
                  <c:v>4.0999999999999996</c:v>
                </c:pt>
                <c:pt idx="4101">
                  <c:v>4.101</c:v>
                </c:pt>
                <c:pt idx="4102">
                  <c:v>4.1020000000000003</c:v>
                </c:pt>
                <c:pt idx="4103">
                  <c:v>4.1029999999999998</c:v>
                </c:pt>
                <c:pt idx="4104">
                  <c:v>4.1040000000000001</c:v>
                </c:pt>
                <c:pt idx="4105">
                  <c:v>4.1050000000000004</c:v>
                </c:pt>
                <c:pt idx="4106">
                  <c:v>4.1059999999999999</c:v>
                </c:pt>
                <c:pt idx="4107">
                  <c:v>4.1070000000000002</c:v>
                </c:pt>
                <c:pt idx="4108">
                  <c:v>4.1079999999999997</c:v>
                </c:pt>
                <c:pt idx="4109">
                  <c:v>4.109</c:v>
                </c:pt>
                <c:pt idx="4110">
                  <c:v>4.1100000000000003</c:v>
                </c:pt>
                <c:pt idx="4111">
                  <c:v>4.1109999999999998</c:v>
                </c:pt>
                <c:pt idx="4112">
                  <c:v>4.1120000000000001</c:v>
                </c:pt>
                <c:pt idx="4113">
                  <c:v>4.1130000000000004</c:v>
                </c:pt>
                <c:pt idx="4114">
                  <c:v>4.1139999999999999</c:v>
                </c:pt>
                <c:pt idx="4115">
                  <c:v>4.1150000000000002</c:v>
                </c:pt>
                <c:pt idx="4116">
                  <c:v>4.1159999999999997</c:v>
                </c:pt>
                <c:pt idx="4117">
                  <c:v>4.117</c:v>
                </c:pt>
                <c:pt idx="4118">
                  <c:v>4.1180000000000003</c:v>
                </c:pt>
                <c:pt idx="4119">
                  <c:v>4.1189999999999998</c:v>
                </c:pt>
                <c:pt idx="4120">
                  <c:v>4.12</c:v>
                </c:pt>
                <c:pt idx="4121">
                  <c:v>4.1210000000000004</c:v>
                </c:pt>
                <c:pt idx="4122">
                  <c:v>4.1219999999999999</c:v>
                </c:pt>
                <c:pt idx="4123">
                  <c:v>4.1230000000000002</c:v>
                </c:pt>
                <c:pt idx="4124">
                  <c:v>4.1239999999999997</c:v>
                </c:pt>
                <c:pt idx="4125">
                  <c:v>4.125</c:v>
                </c:pt>
                <c:pt idx="4126">
                  <c:v>4.1260000000000003</c:v>
                </c:pt>
                <c:pt idx="4127">
                  <c:v>4.1269999999999998</c:v>
                </c:pt>
                <c:pt idx="4128">
                  <c:v>4.1280000000000001</c:v>
                </c:pt>
                <c:pt idx="4129">
                  <c:v>4.1289999999999996</c:v>
                </c:pt>
                <c:pt idx="4130">
                  <c:v>4.13</c:v>
                </c:pt>
                <c:pt idx="4131">
                  <c:v>4.1310000000000002</c:v>
                </c:pt>
                <c:pt idx="4132">
                  <c:v>4.1319999999999997</c:v>
                </c:pt>
                <c:pt idx="4133">
                  <c:v>4.133</c:v>
                </c:pt>
                <c:pt idx="4134">
                  <c:v>4.1340000000000003</c:v>
                </c:pt>
                <c:pt idx="4135">
                  <c:v>4.1349999999999998</c:v>
                </c:pt>
                <c:pt idx="4136">
                  <c:v>4.1360000000000001</c:v>
                </c:pt>
                <c:pt idx="4137">
                  <c:v>4.1369999999999996</c:v>
                </c:pt>
                <c:pt idx="4138">
                  <c:v>4.1379999999999999</c:v>
                </c:pt>
                <c:pt idx="4139">
                  <c:v>4.1390000000000002</c:v>
                </c:pt>
                <c:pt idx="4140">
                  <c:v>4.1399999999999997</c:v>
                </c:pt>
                <c:pt idx="4141">
                  <c:v>4.141</c:v>
                </c:pt>
                <c:pt idx="4142">
                  <c:v>4.1420000000000003</c:v>
                </c:pt>
                <c:pt idx="4143">
                  <c:v>4.1429999999999998</c:v>
                </c:pt>
                <c:pt idx="4144">
                  <c:v>4.1440000000000001</c:v>
                </c:pt>
                <c:pt idx="4145">
                  <c:v>4.1449999999999996</c:v>
                </c:pt>
                <c:pt idx="4146">
                  <c:v>4.1459999999999999</c:v>
                </c:pt>
                <c:pt idx="4147">
                  <c:v>4.1470000000000002</c:v>
                </c:pt>
                <c:pt idx="4148">
                  <c:v>4.1479999999999997</c:v>
                </c:pt>
                <c:pt idx="4149">
                  <c:v>4.149</c:v>
                </c:pt>
                <c:pt idx="4150">
                  <c:v>4.1500000000000004</c:v>
                </c:pt>
                <c:pt idx="4151">
                  <c:v>4.1509999999999998</c:v>
                </c:pt>
                <c:pt idx="4152">
                  <c:v>4.1520000000000001</c:v>
                </c:pt>
                <c:pt idx="4153">
                  <c:v>4.1529999999999996</c:v>
                </c:pt>
                <c:pt idx="4154">
                  <c:v>4.1539999999999999</c:v>
                </c:pt>
                <c:pt idx="4155">
                  <c:v>4.1550000000000002</c:v>
                </c:pt>
                <c:pt idx="4156">
                  <c:v>4.1559999999999997</c:v>
                </c:pt>
                <c:pt idx="4157">
                  <c:v>4.157</c:v>
                </c:pt>
                <c:pt idx="4158">
                  <c:v>4.1580000000000004</c:v>
                </c:pt>
                <c:pt idx="4159">
                  <c:v>4.1589999999999998</c:v>
                </c:pt>
                <c:pt idx="4160">
                  <c:v>4.16</c:v>
                </c:pt>
                <c:pt idx="4161">
                  <c:v>4.1609999999999996</c:v>
                </c:pt>
                <c:pt idx="4162">
                  <c:v>4.1619999999999999</c:v>
                </c:pt>
                <c:pt idx="4163">
                  <c:v>4.1630000000000003</c:v>
                </c:pt>
                <c:pt idx="4164">
                  <c:v>4.1639999999999997</c:v>
                </c:pt>
                <c:pt idx="4165">
                  <c:v>4.165</c:v>
                </c:pt>
                <c:pt idx="4166">
                  <c:v>4.1660000000000004</c:v>
                </c:pt>
                <c:pt idx="4167">
                  <c:v>4.1669999999999998</c:v>
                </c:pt>
                <c:pt idx="4168">
                  <c:v>4.1680000000000001</c:v>
                </c:pt>
                <c:pt idx="4169">
                  <c:v>4.1689999999999996</c:v>
                </c:pt>
                <c:pt idx="4170">
                  <c:v>4.17</c:v>
                </c:pt>
                <c:pt idx="4171">
                  <c:v>4.1710000000000003</c:v>
                </c:pt>
                <c:pt idx="4172">
                  <c:v>4.1719999999999997</c:v>
                </c:pt>
                <c:pt idx="4173">
                  <c:v>4.173</c:v>
                </c:pt>
                <c:pt idx="4174">
                  <c:v>4.1740000000000004</c:v>
                </c:pt>
                <c:pt idx="4175">
                  <c:v>4.1749999999999998</c:v>
                </c:pt>
                <c:pt idx="4176">
                  <c:v>4.1760000000000002</c:v>
                </c:pt>
                <c:pt idx="4177">
                  <c:v>4.1769999999999996</c:v>
                </c:pt>
                <c:pt idx="4178">
                  <c:v>4.1779999999999999</c:v>
                </c:pt>
                <c:pt idx="4179">
                  <c:v>4.1790000000000003</c:v>
                </c:pt>
                <c:pt idx="4180">
                  <c:v>4.18</c:v>
                </c:pt>
                <c:pt idx="4181">
                  <c:v>4.181</c:v>
                </c:pt>
                <c:pt idx="4182">
                  <c:v>4.1820000000000004</c:v>
                </c:pt>
                <c:pt idx="4183">
                  <c:v>4.1829999999999998</c:v>
                </c:pt>
                <c:pt idx="4184">
                  <c:v>4.1840000000000002</c:v>
                </c:pt>
                <c:pt idx="4185">
                  <c:v>4.1849999999999996</c:v>
                </c:pt>
                <c:pt idx="4186">
                  <c:v>4.1859999999999999</c:v>
                </c:pt>
                <c:pt idx="4187">
                  <c:v>4.1870000000000003</c:v>
                </c:pt>
                <c:pt idx="4188">
                  <c:v>4.1879999999999997</c:v>
                </c:pt>
                <c:pt idx="4189">
                  <c:v>4.1890000000000001</c:v>
                </c:pt>
                <c:pt idx="4190">
                  <c:v>4.1900000000000004</c:v>
                </c:pt>
                <c:pt idx="4191">
                  <c:v>4.1909999999999998</c:v>
                </c:pt>
                <c:pt idx="4192">
                  <c:v>4.1920000000000002</c:v>
                </c:pt>
                <c:pt idx="4193">
                  <c:v>4.1929999999999996</c:v>
                </c:pt>
                <c:pt idx="4194">
                  <c:v>4.194</c:v>
                </c:pt>
                <c:pt idx="4195">
                  <c:v>4.1950000000000003</c:v>
                </c:pt>
                <c:pt idx="4196">
                  <c:v>4.1959999999999997</c:v>
                </c:pt>
                <c:pt idx="4197">
                  <c:v>4.1970000000000001</c:v>
                </c:pt>
                <c:pt idx="4198">
                  <c:v>4.1980000000000004</c:v>
                </c:pt>
                <c:pt idx="4199">
                  <c:v>4.1989999999999998</c:v>
                </c:pt>
                <c:pt idx="4200">
                  <c:v>4.2</c:v>
                </c:pt>
                <c:pt idx="4201">
                  <c:v>4.2009999999999996</c:v>
                </c:pt>
                <c:pt idx="4202">
                  <c:v>4.202</c:v>
                </c:pt>
                <c:pt idx="4203">
                  <c:v>4.2030000000000003</c:v>
                </c:pt>
                <c:pt idx="4204">
                  <c:v>4.2039999999999997</c:v>
                </c:pt>
                <c:pt idx="4205">
                  <c:v>4.2050000000000001</c:v>
                </c:pt>
                <c:pt idx="4206">
                  <c:v>4.2060000000000004</c:v>
                </c:pt>
                <c:pt idx="4207">
                  <c:v>4.2069999999999999</c:v>
                </c:pt>
                <c:pt idx="4208">
                  <c:v>4.2080000000000002</c:v>
                </c:pt>
                <c:pt idx="4209">
                  <c:v>4.2089999999999996</c:v>
                </c:pt>
                <c:pt idx="4210">
                  <c:v>4.21</c:v>
                </c:pt>
                <c:pt idx="4211">
                  <c:v>4.2110000000000003</c:v>
                </c:pt>
                <c:pt idx="4212">
                  <c:v>4.2119999999999997</c:v>
                </c:pt>
                <c:pt idx="4213">
                  <c:v>4.2130000000000001</c:v>
                </c:pt>
                <c:pt idx="4214">
                  <c:v>4.2140000000000004</c:v>
                </c:pt>
                <c:pt idx="4215">
                  <c:v>4.2149999999999999</c:v>
                </c:pt>
                <c:pt idx="4216">
                  <c:v>4.2160000000000002</c:v>
                </c:pt>
                <c:pt idx="4217">
                  <c:v>4.2169999999999996</c:v>
                </c:pt>
                <c:pt idx="4218">
                  <c:v>4.218</c:v>
                </c:pt>
                <c:pt idx="4219">
                  <c:v>4.2190000000000003</c:v>
                </c:pt>
                <c:pt idx="4220">
                  <c:v>4.22</c:v>
                </c:pt>
                <c:pt idx="4221">
                  <c:v>4.2210000000000001</c:v>
                </c:pt>
                <c:pt idx="4222">
                  <c:v>4.2220000000000004</c:v>
                </c:pt>
                <c:pt idx="4223">
                  <c:v>4.2229999999999999</c:v>
                </c:pt>
                <c:pt idx="4224">
                  <c:v>4.2240000000000002</c:v>
                </c:pt>
                <c:pt idx="4225">
                  <c:v>4.2249999999999996</c:v>
                </c:pt>
                <c:pt idx="4226">
                  <c:v>4.226</c:v>
                </c:pt>
                <c:pt idx="4227">
                  <c:v>4.2270000000000003</c:v>
                </c:pt>
                <c:pt idx="4228">
                  <c:v>4.2279999999999998</c:v>
                </c:pt>
                <c:pt idx="4229">
                  <c:v>4.2290000000000001</c:v>
                </c:pt>
                <c:pt idx="4230">
                  <c:v>4.2300000000000004</c:v>
                </c:pt>
                <c:pt idx="4231">
                  <c:v>4.2309999999999999</c:v>
                </c:pt>
                <c:pt idx="4232">
                  <c:v>4.2320000000000002</c:v>
                </c:pt>
                <c:pt idx="4233">
                  <c:v>4.2329999999999997</c:v>
                </c:pt>
                <c:pt idx="4234">
                  <c:v>4.234</c:v>
                </c:pt>
                <c:pt idx="4235">
                  <c:v>4.2350000000000003</c:v>
                </c:pt>
                <c:pt idx="4236">
                  <c:v>4.2359999999999998</c:v>
                </c:pt>
                <c:pt idx="4237">
                  <c:v>4.2370000000000001</c:v>
                </c:pt>
                <c:pt idx="4238">
                  <c:v>4.2380000000000004</c:v>
                </c:pt>
                <c:pt idx="4239">
                  <c:v>4.2389999999999999</c:v>
                </c:pt>
                <c:pt idx="4240">
                  <c:v>4.24</c:v>
                </c:pt>
                <c:pt idx="4241">
                  <c:v>4.2409999999999997</c:v>
                </c:pt>
                <c:pt idx="4242">
                  <c:v>4.242</c:v>
                </c:pt>
                <c:pt idx="4243">
                  <c:v>4.2430000000000003</c:v>
                </c:pt>
                <c:pt idx="4244">
                  <c:v>4.2439999999999998</c:v>
                </c:pt>
                <c:pt idx="4245">
                  <c:v>4.2450000000000001</c:v>
                </c:pt>
                <c:pt idx="4246">
                  <c:v>4.2460000000000004</c:v>
                </c:pt>
                <c:pt idx="4247">
                  <c:v>4.2469999999999999</c:v>
                </c:pt>
                <c:pt idx="4248">
                  <c:v>4.2480000000000002</c:v>
                </c:pt>
                <c:pt idx="4249">
                  <c:v>4.2489999999999997</c:v>
                </c:pt>
                <c:pt idx="4250">
                  <c:v>4.25</c:v>
                </c:pt>
                <c:pt idx="4251">
                  <c:v>4.2510000000000003</c:v>
                </c:pt>
                <c:pt idx="4252">
                  <c:v>4.2519999999999998</c:v>
                </c:pt>
                <c:pt idx="4253">
                  <c:v>4.2530000000000001</c:v>
                </c:pt>
                <c:pt idx="4254">
                  <c:v>4.2539999999999996</c:v>
                </c:pt>
                <c:pt idx="4255">
                  <c:v>4.2549999999999999</c:v>
                </c:pt>
                <c:pt idx="4256">
                  <c:v>4.2560000000000002</c:v>
                </c:pt>
                <c:pt idx="4257">
                  <c:v>4.2569999999999997</c:v>
                </c:pt>
                <c:pt idx="4258">
                  <c:v>4.258</c:v>
                </c:pt>
                <c:pt idx="4259">
                  <c:v>4.2590000000000003</c:v>
                </c:pt>
                <c:pt idx="4260">
                  <c:v>4.26</c:v>
                </c:pt>
                <c:pt idx="4261">
                  <c:v>4.2610000000000001</c:v>
                </c:pt>
                <c:pt idx="4262">
                  <c:v>4.2619999999999996</c:v>
                </c:pt>
                <c:pt idx="4263">
                  <c:v>4.2629999999999999</c:v>
                </c:pt>
                <c:pt idx="4264">
                  <c:v>4.2640000000000002</c:v>
                </c:pt>
                <c:pt idx="4265">
                  <c:v>4.2649999999999997</c:v>
                </c:pt>
                <c:pt idx="4266">
                  <c:v>4.266</c:v>
                </c:pt>
                <c:pt idx="4267">
                  <c:v>4.2670000000000003</c:v>
                </c:pt>
                <c:pt idx="4268">
                  <c:v>4.2679999999999998</c:v>
                </c:pt>
                <c:pt idx="4269">
                  <c:v>4.2690000000000001</c:v>
                </c:pt>
                <c:pt idx="4270">
                  <c:v>4.2699999999999996</c:v>
                </c:pt>
                <c:pt idx="4271">
                  <c:v>4.2709999999999999</c:v>
                </c:pt>
                <c:pt idx="4272">
                  <c:v>4.2720000000000002</c:v>
                </c:pt>
                <c:pt idx="4273">
                  <c:v>4.2729999999999997</c:v>
                </c:pt>
                <c:pt idx="4274">
                  <c:v>4.274</c:v>
                </c:pt>
                <c:pt idx="4275">
                  <c:v>4.2750000000000004</c:v>
                </c:pt>
                <c:pt idx="4276">
                  <c:v>4.2759999999999998</c:v>
                </c:pt>
                <c:pt idx="4277">
                  <c:v>4.2770000000000001</c:v>
                </c:pt>
                <c:pt idx="4278">
                  <c:v>4.2779999999999996</c:v>
                </c:pt>
                <c:pt idx="4279">
                  <c:v>4.2789999999999999</c:v>
                </c:pt>
                <c:pt idx="4280">
                  <c:v>4.28</c:v>
                </c:pt>
                <c:pt idx="4281">
                  <c:v>4.2809999999999997</c:v>
                </c:pt>
                <c:pt idx="4282">
                  <c:v>4.282</c:v>
                </c:pt>
                <c:pt idx="4283">
                  <c:v>4.2830000000000004</c:v>
                </c:pt>
                <c:pt idx="4284">
                  <c:v>4.2839999999999998</c:v>
                </c:pt>
                <c:pt idx="4285">
                  <c:v>4.2850000000000001</c:v>
                </c:pt>
                <c:pt idx="4286">
                  <c:v>4.2859999999999996</c:v>
                </c:pt>
                <c:pt idx="4287">
                  <c:v>4.2869999999999999</c:v>
                </c:pt>
                <c:pt idx="4288">
                  <c:v>4.2880000000000003</c:v>
                </c:pt>
                <c:pt idx="4289">
                  <c:v>4.2889999999999997</c:v>
                </c:pt>
                <c:pt idx="4290">
                  <c:v>4.29</c:v>
                </c:pt>
                <c:pt idx="4291">
                  <c:v>4.2910000000000004</c:v>
                </c:pt>
                <c:pt idx="4292">
                  <c:v>4.2919999999999998</c:v>
                </c:pt>
                <c:pt idx="4293">
                  <c:v>4.2930000000000001</c:v>
                </c:pt>
                <c:pt idx="4294">
                  <c:v>4.2939999999999996</c:v>
                </c:pt>
                <c:pt idx="4295">
                  <c:v>4.2949999999999999</c:v>
                </c:pt>
                <c:pt idx="4296">
                  <c:v>4.2960000000000003</c:v>
                </c:pt>
                <c:pt idx="4297">
                  <c:v>4.2969999999999997</c:v>
                </c:pt>
                <c:pt idx="4298">
                  <c:v>4.298</c:v>
                </c:pt>
                <c:pt idx="4299">
                  <c:v>4.2990000000000004</c:v>
                </c:pt>
                <c:pt idx="4300">
                  <c:v>4.3</c:v>
                </c:pt>
                <c:pt idx="4301">
                  <c:v>4.3010000000000002</c:v>
                </c:pt>
                <c:pt idx="4302">
                  <c:v>4.3019999999999996</c:v>
                </c:pt>
                <c:pt idx="4303">
                  <c:v>4.3029999999999999</c:v>
                </c:pt>
                <c:pt idx="4304">
                  <c:v>4.3040000000000003</c:v>
                </c:pt>
                <c:pt idx="4305">
                  <c:v>4.3049999999999997</c:v>
                </c:pt>
                <c:pt idx="4306">
                  <c:v>4.306</c:v>
                </c:pt>
                <c:pt idx="4307">
                  <c:v>4.3070000000000004</c:v>
                </c:pt>
                <c:pt idx="4308">
                  <c:v>4.3079999999999998</c:v>
                </c:pt>
                <c:pt idx="4309">
                  <c:v>4.3090000000000002</c:v>
                </c:pt>
                <c:pt idx="4310">
                  <c:v>4.3099999999999996</c:v>
                </c:pt>
                <c:pt idx="4311">
                  <c:v>4.3109999999999999</c:v>
                </c:pt>
                <c:pt idx="4312">
                  <c:v>4.3120000000000003</c:v>
                </c:pt>
                <c:pt idx="4313">
                  <c:v>4.3129999999999997</c:v>
                </c:pt>
                <c:pt idx="4314">
                  <c:v>4.3140000000000001</c:v>
                </c:pt>
                <c:pt idx="4315">
                  <c:v>4.3150000000000004</c:v>
                </c:pt>
                <c:pt idx="4316">
                  <c:v>4.3159999999999998</c:v>
                </c:pt>
                <c:pt idx="4317">
                  <c:v>4.3170000000000002</c:v>
                </c:pt>
                <c:pt idx="4318">
                  <c:v>4.3179999999999996</c:v>
                </c:pt>
                <c:pt idx="4319">
                  <c:v>4.319</c:v>
                </c:pt>
                <c:pt idx="4320">
                  <c:v>4.32</c:v>
                </c:pt>
                <c:pt idx="4321">
                  <c:v>4.3209999999999997</c:v>
                </c:pt>
                <c:pt idx="4322">
                  <c:v>4.3220000000000001</c:v>
                </c:pt>
                <c:pt idx="4323">
                  <c:v>4.3230000000000004</c:v>
                </c:pt>
                <c:pt idx="4324">
                  <c:v>4.3239999999999998</c:v>
                </c:pt>
                <c:pt idx="4325">
                  <c:v>4.3250000000000002</c:v>
                </c:pt>
                <c:pt idx="4326">
                  <c:v>4.3259999999999996</c:v>
                </c:pt>
                <c:pt idx="4327">
                  <c:v>4.327</c:v>
                </c:pt>
                <c:pt idx="4328">
                  <c:v>4.3280000000000003</c:v>
                </c:pt>
                <c:pt idx="4329">
                  <c:v>4.3289999999999997</c:v>
                </c:pt>
                <c:pt idx="4330">
                  <c:v>4.33</c:v>
                </c:pt>
                <c:pt idx="4331">
                  <c:v>4.3310000000000004</c:v>
                </c:pt>
                <c:pt idx="4332">
                  <c:v>4.3319999999999999</c:v>
                </c:pt>
                <c:pt idx="4333">
                  <c:v>4.3330000000000002</c:v>
                </c:pt>
                <c:pt idx="4334">
                  <c:v>4.3339999999999996</c:v>
                </c:pt>
                <c:pt idx="4335">
                  <c:v>4.335</c:v>
                </c:pt>
                <c:pt idx="4336">
                  <c:v>4.3360000000000003</c:v>
                </c:pt>
                <c:pt idx="4337">
                  <c:v>4.3369999999999997</c:v>
                </c:pt>
                <c:pt idx="4338">
                  <c:v>4.3380000000000001</c:v>
                </c:pt>
                <c:pt idx="4339">
                  <c:v>4.3390000000000004</c:v>
                </c:pt>
                <c:pt idx="4340">
                  <c:v>4.34</c:v>
                </c:pt>
                <c:pt idx="4341">
                  <c:v>4.3410000000000002</c:v>
                </c:pt>
                <c:pt idx="4342">
                  <c:v>4.3419999999999996</c:v>
                </c:pt>
                <c:pt idx="4343">
                  <c:v>4.343</c:v>
                </c:pt>
                <c:pt idx="4344">
                  <c:v>4.3440000000000003</c:v>
                </c:pt>
                <c:pt idx="4345">
                  <c:v>4.3449999999999998</c:v>
                </c:pt>
                <c:pt idx="4346">
                  <c:v>4.3460000000000001</c:v>
                </c:pt>
                <c:pt idx="4347">
                  <c:v>4.3470000000000004</c:v>
                </c:pt>
                <c:pt idx="4348">
                  <c:v>4.3479999999999999</c:v>
                </c:pt>
                <c:pt idx="4349">
                  <c:v>4.3490000000000002</c:v>
                </c:pt>
                <c:pt idx="4350">
                  <c:v>4.3499999999999996</c:v>
                </c:pt>
                <c:pt idx="4351">
                  <c:v>4.351</c:v>
                </c:pt>
                <c:pt idx="4352">
                  <c:v>4.3520000000000003</c:v>
                </c:pt>
                <c:pt idx="4353">
                  <c:v>4.3529999999999998</c:v>
                </c:pt>
                <c:pt idx="4354">
                  <c:v>4.3540000000000001</c:v>
                </c:pt>
                <c:pt idx="4355">
                  <c:v>4.3550000000000004</c:v>
                </c:pt>
                <c:pt idx="4356">
                  <c:v>4.3559999999999999</c:v>
                </c:pt>
                <c:pt idx="4357">
                  <c:v>4.3570000000000002</c:v>
                </c:pt>
                <c:pt idx="4358">
                  <c:v>4.3579999999999997</c:v>
                </c:pt>
                <c:pt idx="4359">
                  <c:v>4.359</c:v>
                </c:pt>
                <c:pt idx="4360">
                  <c:v>4.3600000000000003</c:v>
                </c:pt>
                <c:pt idx="4361">
                  <c:v>4.3609999999999998</c:v>
                </c:pt>
                <c:pt idx="4362">
                  <c:v>4.3620000000000001</c:v>
                </c:pt>
                <c:pt idx="4363">
                  <c:v>4.3630000000000004</c:v>
                </c:pt>
                <c:pt idx="4364">
                  <c:v>4.3639999999999999</c:v>
                </c:pt>
                <c:pt idx="4365">
                  <c:v>4.3650000000000002</c:v>
                </c:pt>
                <c:pt idx="4366">
                  <c:v>4.3659999999999997</c:v>
                </c:pt>
                <c:pt idx="4367">
                  <c:v>4.367</c:v>
                </c:pt>
                <c:pt idx="4368">
                  <c:v>4.3680000000000003</c:v>
                </c:pt>
                <c:pt idx="4369">
                  <c:v>4.3689999999999998</c:v>
                </c:pt>
                <c:pt idx="4370">
                  <c:v>4.37</c:v>
                </c:pt>
                <c:pt idx="4371">
                  <c:v>4.3710000000000004</c:v>
                </c:pt>
                <c:pt idx="4372">
                  <c:v>4.3719999999999999</c:v>
                </c:pt>
                <c:pt idx="4373">
                  <c:v>4.3730000000000002</c:v>
                </c:pt>
                <c:pt idx="4374">
                  <c:v>4.3739999999999997</c:v>
                </c:pt>
                <c:pt idx="4375">
                  <c:v>4.375</c:v>
                </c:pt>
                <c:pt idx="4376">
                  <c:v>4.3760000000000003</c:v>
                </c:pt>
                <c:pt idx="4377">
                  <c:v>4.3769999999999998</c:v>
                </c:pt>
                <c:pt idx="4378">
                  <c:v>4.3780000000000001</c:v>
                </c:pt>
                <c:pt idx="4379">
                  <c:v>4.3789999999999996</c:v>
                </c:pt>
                <c:pt idx="4380">
                  <c:v>4.38</c:v>
                </c:pt>
                <c:pt idx="4381">
                  <c:v>4.3810000000000002</c:v>
                </c:pt>
                <c:pt idx="4382">
                  <c:v>4.3819999999999997</c:v>
                </c:pt>
                <c:pt idx="4383">
                  <c:v>4.383</c:v>
                </c:pt>
                <c:pt idx="4384">
                  <c:v>4.3840000000000003</c:v>
                </c:pt>
                <c:pt idx="4385">
                  <c:v>4.3849999999999998</c:v>
                </c:pt>
                <c:pt idx="4386">
                  <c:v>4.3860000000000001</c:v>
                </c:pt>
                <c:pt idx="4387">
                  <c:v>4.3869999999999996</c:v>
                </c:pt>
                <c:pt idx="4388">
                  <c:v>4.3879999999999999</c:v>
                </c:pt>
                <c:pt idx="4389">
                  <c:v>4.3890000000000002</c:v>
                </c:pt>
                <c:pt idx="4390">
                  <c:v>4.3899999999999997</c:v>
                </c:pt>
                <c:pt idx="4391">
                  <c:v>4.391</c:v>
                </c:pt>
                <c:pt idx="4392">
                  <c:v>4.3920000000000003</c:v>
                </c:pt>
                <c:pt idx="4393">
                  <c:v>4.3929999999999998</c:v>
                </c:pt>
                <c:pt idx="4394">
                  <c:v>4.3940000000000001</c:v>
                </c:pt>
                <c:pt idx="4395">
                  <c:v>4.3949999999999996</c:v>
                </c:pt>
                <c:pt idx="4396">
                  <c:v>4.3959999999999999</c:v>
                </c:pt>
                <c:pt idx="4397">
                  <c:v>4.3970000000000002</c:v>
                </c:pt>
                <c:pt idx="4398">
                  <c:v>4.3979999999999997</c:v>
                </c:pt>
                <c:pt idx="4399">
                  <c:v>4.399</c:v>
                </c:pt>
                <c:pt idx="4400">
                  <c:v>4.4000000000000004</c:v>
                </c:pt>
                <c:pt idx="4401">
                  <c:v>4.4009999999999998</c:v>
                </c:pt>
                <c:pt idx="4402">
                  <c:v>4.4020000000000001</c:v>
                </c:pt>
                <c:pt idx="4403">
                  <c:v>4.4029999999999996</c:v>
                </c:pt>
                <c:pt idx="4404">
                  <c:v>4.4039999999999999</c:v>
                </c:pt>
                <c:pt idx="4405">
                  <c:v>4.4050000000000002</c:v>
                </c:pt>
                <c:pt idx="4406">
                  <c:v>4.4059999999999997</c:v>
                </c:pt>
                <c:pt idx="4407">
                  <c:v>4.407</c:v>
                </c:pt>
                <c:pt idx="4408">
                  <c:v>4.4080000000000004</c:v>
                </c:pt>
                <c:pt idx="4409">
                  <c:v>4.4089999999999998</c:v>
                </c:pt>
                <c:pt idx="4410">
                  <c:v>4.41</c:v>
                </c:pt>
                <c:pt idx="4411">
                  <c:v>4.4109999999999996</c:v>
                </c:pt>
                <c:pt idx="4412">
                  <c:v>4.4119999999999999</c:v>
                </c:pt>
                <c:pt idx="4413">
                  <c:v>4.4130000000000003</c:v>
                </c:pt>
                <c:pt idx="4414">
                  <c:v>4.4139999999999997</c:v>
                </c:pt>
                <c:pt idx="4415">
                  <c:v>4.415</c:v>
                </c:pt>
                <c:pt idx="4416">
                  <c:v>4.4160000000000004</c:v>
                </c:pt>
                <c:pt idx="4417">
                  <c:v>4.4169999999999998</c:v>
                </c:pt>
                <c:pt idx="4418">
                  <c:v>4.4180000000000001</c:v>
                </c:pt>
                <c:pt idx="4419">
                  <c:v>4.4189999999999996</c:v>
                </c:pt>
                <c:pt idx="4420">
                  <c:v>4.42</c:v>
                </c:pt>
                <c:pt idx="4421">
                  <c:v>4.4210000000000003</c:v>
                </c:pt>
                <c:pt idx="4422">
                  <c:v>4.4219999999999997</c:v>
                </c:pt>
                <c:pt idx="4423">
                  <c:v>4.423</c:v>
                </c:pt>
                <c:pt idx="4424">
                  <c:v>4.4240000000000004</c:v>
                </c:pt>
                <c:pt idx="4425">
                  <c:v>4.4249999999999998</c:v>
                </c:pt>
                <c:pt idx="4426">
                  <c:v>4.4260000000000002</c:v>
                </c:pt>
                <c:pt idx="4427">
                  <c:v>4.4269999999999996</c:v>
                </c:pt>
                <c:pt idx="4428">
                  <c:v>4.4279999999999999</c:v>
                </c:pt>
                <c:pt idx="4429">
                  <c:v>4.4290000000000003</c:v>
                </c:pt>
                <c:pt idx="4430">
                  <c:v>4.43</c:v>
                </c:pt>
                <c:pt idx="4431">
                  <c:v>4.431</c:v>
                </c:pt>
                <c:pt idx="4432">
                  <c:v>4.4320000000000004</c:v>
                </c:pt>
                <c:pt idx="4433">
                  <c:v>4.4329999999999998</c:v>
                </c:pt>
                <c:pt idx="4434">
                  <c:v>4.4340000000000002</c:v>
                </c:pt>
                <c:pt idx="4435">
                  <c:v>4.4349999999999996</c:v>
                </c:pt>
                <c:pt idx="4436">
                  <c:v>4.4359999999999999</c:v>
                </c:pt>
                <c:pt idx="4437">
                  <c:v>4.4370000000000003</c:v>
                </c:pt>
                <c:pt idx="4438">
                  <c:v>4.4379999999999997</c:v>
                </c:pt>
                <c:pt idx="4439">
                  <c:v>4.4390000000000001</c:v>
                </c:pt>
                <c:pt idx="4440">
                  <c:v>4.4400000000000004</c:v>
                </c:pt>
                <c:pt idx="4441">
                  <c:v>4.4409999999999998</c:v>
                </c:pt>
                <c:pt idx="4442">
                  <c:v>4.4420000000000002</c:v>
                </c:pt>
                <c:pt idx="4443">
                  <c:v>4.4429999999999996</c:v>
                </c:pt>
                <c:pt idx="4444">
                  <c:v>4.444</c:v>
                </c:pt>
                <c:pt idx="4445">
                  <c:v>4.4450000000000003</c:v>
                </c:pt>
                <c:pt idx="4446">
                  <c:v>4.4459999999999997</c:v>
                </c:pt>
                <c:pt idx="4447">
                  <c:v>4.4470000000000001</c:v>
                </c:pt>
                <c:pt idx="4448">
                  <c:v>4.4480000000000004</c:v>
                </c:pt>
                <c:pt idx="4449">
                  <c:v>4.4489999999999998</c:v>
                </c:pt>
                <c:pt idx="4450">
                  <c:v>4.45</c:v>
                </c:pt>
                <c:pt idx="4451">
                  <c:v>4.4509999999999996</c:v>
                </c:pt>
                <c:pt idx="4452">
                  <c:v>4.452</c:v>
                </c:pt>
                <c:pt idx="4453">
                  <c:v>4.4530000000000003</c:v>
                </c:pt>
                <c:pt idx="4454">
                  <c:v>4.4539999999999997</c:v>
                </c:pt>
                <c:pt idx="4455">
                  <c:v>4.4550000000000001</c:v>
                </c:pt>
                <c:pt idx="4456">
                  <c:v>4.4560000000000004</c:v>
                </c:pt>
                <c:pt idx="4457">
                  <c:v>4.4569999999999999</c:v>
                </c:pt>
                <c:pt idx="4458">
                  <c:v>4.4580000000000002</c:v>
                </c:pt>
                <c:pt idx="4459">
                  <c:v>4.4589999999999996</c:v>
                </c:pt>
                <c:pt idx="4460">
                  <c:v>4.46</c:v>
                </c:pt>
                <c:pt idx="4461">
                  <c:v>4.4610000000000003</c:v>
                </c:pt>
                <c:pt idx="4462">
                  <c:v>4.4619999999999997</c:v>
                </c:pt>
                <c:pt idx="4463">
                  <c:v>4.4630000000000001</c:v>
                </c:pt>
                <c:pt idx="4464">
                  <c:v>4.4640000000000004</c:v>
                </c:pt>
                <c:pt idx="4465">
                  <c:v>4.4649999999999999</c:v>
                </c:pt>
                <c:pt idx="4466">
                  <c:v>4.4660000000000002</c:v>
                </c:pt>
                <c:pt idx="4467">
                  <c:v>4.4669999999999996</c:v>
                </c:pt>
                <c:pt idx="4468">
                  <c:v>4.468</c:v>
                </c:pt>
                <c:pt idx="4469">
                  <c:v>4.4690000000000003</c:v>
                </c:pt>
                <c:pt idx="4470">
                  <c:v>4.47</c:v>
                </c:pt>
                <c:pt idx="4471">
                  <c:v>4.4710000000000001</c:v>
                </c:pt>
                <c:pt idx="4472">
                  <c:v>4.4720000000000004</c:v>
                </c:pt>
                <c:pt idx="4473">
                  <c:v>4.4729999999999999</c:v>
                </c:pt>
                <c:pt idx="4474">
                  <c:v>4.4740000000000002</c:v>
                </c:pt>
                <c:pt idx="4475">
                  <c:v>4.4749999999999996</c:v>
                </c:pt>
                <c:pt idx="4476">
                  <c:v>4.476</c:v>
                </c:pt>
                <c:pt idx="4477">
                  <c:v>4.4770000000000003</c:v>
                </c:pt>
                <c:pt idx="4478">
                  <c:v>4.4779999999999998</c:v>
                </c:pt>
                <c:pt idx="4479">
                  <c:v>4.4790000000000001</c:v>
                </c:pt>
                <c:pt idx="4480">
                  <c:v>4.4800000000000004</c:v>
                </c:pt>
                <c:pt idx="4481">
                  <c:v>4.4809999999999999</c:v>
                </c:pt>
                <c:pt idx="4482">
                  <c:v>4.4820000000000002</c:v>
                </c:pt>
                <c:pt idx="4483">
                  <c:v>4.4829999999999997</c:v>
                </c:pt>
                <c:pt idx="4484">
                  <c:v>4.484</c:v>
                </c:pt>
                <c:pt idx="4485">
                  <c:v>4.4850000000000003</c:v>
                </c:pt>
                <c:pt idx="4486">
                  <c:v>4.4859999999999998</c:v>
                </c:pt>
                <c:pt idx="4487">
                  <c:v>4.4870000000000001</c:v>
                </c:pt>
                <c:pt idx="4488">
                  <c:v>4.4880000000000004</c:v>
                </c:pt>
                <c:pt idx="4489">
                  <c:v>4.4889999999999999</c:v>
                </c:pt>
                <c:pt idx="4490">
                  <c:v>4.49</c:v>
                </c:pt>
                <c:pt idx="4491">
                  <c:v>4.4909999999999997</c:v>
                </c:pt>
                <c:pt idx="4492">
                  <c:v>4.492</c:v>
                </c:pt>
                <c:pt idx="4493">
                  <c:v>4.4930000000000003</c:v>
                </c:pt>
                <c:pt idx="4494">
                  <c:v>4.4939999999999998</c:v>
                </c:pt>
                <c:pt idx="4495">
                  <c:v>4.4950000000000001</c:v>
                </c:pt>
                <c:pt idx="4496">
                  <c:v>4.4960000000000004</c:v>
                </c:pt>
                <c:pt idx="4497">
                  <c:v>4.4969999999999999</c:v>
                </c:pt>
                <c:pt idx="4498">
                  <c:v>4.4980000000000002</c:v>
                </c:pt>
                <c:pt idx="4499">
                  <c:v>4.4989999999999997</c:v>
                </c:pt>
                <c:pt idx="4500">
                  <c:v>4.5</c:v>
                </c:pt>
                <c:pt idx="4501">
                  <c:v>4.5010000000000003</c:v>
                </c:pt>
                <c:pt idx="4502">
                  <c:v>4.5019999999999998</c:v>
                </c:pt>
                <c:pt idx="4503">
                  <c:v>4.5030000000000001</c:v>
                </c:pt>
                <c:pt idx="4504">
                  <c:v>4.5039999999999996</c:v>
                </c:pt>
                <c:pt idx="4505">
                  <c:v>4.5049999999999999</c:v>
                </c:pt>
                <c:pt idx="4506">
                  <c:v>4.5060000000000002</c:v>
                </c:pt>
                <c:pt idx="4507">
                  <c:v>4.5069999999999997</c:v>
                </c:pt>
                <c:pt idx="4508">
                  <c:v>4.508</c:v>
                </c:pt>
                <c:pt idx="4509">
                  <c:v>4.5090000000000003</c:v>
                </c:pt>
                <c:pt idx="4510">
                  <c:v>4.51</c:v>
                </c:pt>
                <c:pt idx="4511">
                  <c:v>4.5110000000000001</c:v>
                </c:pt>
                <c:pt idx="4512">
                  <c:v>4.5119999999999996</c:v>
                </c:pt>
                <c:pt idx="4513">
                  <c:v>4.5129999999999999</c:v>
                </c:pt>
                <c:pt idx="4514">
                  <c:v>4.5140000000000002</c:v>
                </c:pt>
                <c:pt idx="4515">
                  <c:v>4.5149999999999997</c:v>
                </c:pt>
                <c:pt idx="4516">
                  <c:v>4.516</c:v>
                </c:pt>
                <c:pt idx="4517">
                  <c:v>4.5170000000000003</c:v>
                </c:pt>
                <c:pt idx="4518">
                  <c:v>4.5179999999999998</c:v>
                </c:pt>
                <c:pt idx="4519">
                  <c:v>4.5190000000000001</c:v>
                </c:pt>
                <c:pt idx="4520">
                  <c:v>4.5199999999999996</c:v>
                </c:pt>
                <c:pt idx="4521">
                  <c:v>4.5209999999999999</c:v>
                </c:pt>
                <c:pt idx="4522">
                  <c:v>4.5220000000000002</c:v>
                </c:pt>
                <c:pt idx="4523">
                  <c:v>4.5229999999999997</c:v>
                </c:pt>
                <c:pt idx="4524">
                  <c:v>4.524</c:v>
                </c:pt>
                <c:pt idx="4525">
                  <c:v>4.5250000000000004</c:v>
                </c:pt>
                <c:pt idx="4526">
                  <c:v>4.5259999999999998</c:v>
                </c:pt>
                <c:pt idx="4527">
                  <c:v>4.5270000000000001</c:v>
                </c:pt>
                <c:pt idx="4528">
                  <c:v>4.5279999999999996</c:v>
                </c:pt>
                <c:pt idx="4529">
                  <c:v>4.5289999999999999</c:v>
                </c:pt>
                <c:pt idx="4530">
                  <c:v>4.53</c:v>
                </c:pt>
                <c:pt idx="4531">
                  <c:v>4.5309999999999997</c:v>
                </c:pt>
                <c:pt idx="4532">
                  <c:v>4.532</c:v>
                </c:pt>
                <c:pt idx="4533">
                  <c:v>4.5330000000000004</c:v>
                </c:pt>
                <c:pt idx="4534">
                  <c:v>4.5339999999999998</c:v>
                </c:pt>
                <c:pt idx="4535">
                  <c:v>4.5350000000000001</c:v>
                </c:pt>
                <c:pt idx="4536">
                  <c:v>4.5359999999999996</c:v>
                </c:pt>
                <c:pt idx="4537">
                  <c:v>4.5369999999999999</c:v>
                </c:pt>
                <c:pt idx="4538">
                  <c:v>4.5380000000000003</c:v>
                </c:pt>
                <c:pt idx="4539">
                  <c:v>4.5389999999999997</c:v>
                </c:pt>
                <c:pt idx="4540">
                  <c:v>4.54</c:v>
                </c:pt>
                <c:pt idx="4541">
                  <c:v>4.5410000000000004</c:v>
                </c:pt>
                <c:pt idx="4542">
                  <c:v>4.5419999999999998</c:v>
                </c:pt>
                <c:pt idx="4543">
                  <c:v>4.5430000000000001</c:v>
                </c:pt>
                <c:pt idx="4544">
                  <c:v>4.5439999999999996</c:v>
                </c:pt>
                <c:pt idx="4545">
                  <c:v>4.5449999999999999</c:v>
                </c:pt>
                <c:pt idx="4546">
                  <c:v>4.5460000000000003</c:v>
                </c:pt>
                <c:pt idx="4547">
                  <c:v>4.5469999999999997</c:v>
                </c:pt>
                <c:pt idx="4548">
                  <c:v>4.548</c:v>
                </c:pt>
                <c:pt idx="4549">
                  <c:v>4.5490000000000004</c:v>
                </c:pt>
                <c:pt idx="4550">
                  <c:v>4.55</c:v>
                </c:pt>
                <c:pt idx="4551">
                  <c:v>4.5510000000000002</c:v>
                </c:pt>
                <c:pt idx="4552">
                  <c:v>4.5519999999999996</c:v>
                </c:pt>
                <c:pt idx="4553">
                  <c:v>4.5529999999999999</c:v>
                </c:pt>
                <c:pt idx="4554">
                  <c:v>4.5540000000000003</c:v>
                </c:pt>
                <c:pt idx="4555">
                  <c:v>4.5549999999999997</c:v>
                </c:pt>
                <c:pt idx="4556">
                  <c:v>4.556</c:v>
                </c:pt>
                <c:pt idx="4557">
                  <c:v>4.5570000000000004</c:v>
                </c:pt>
                <c:pt idx="4558">
                  <c:v>4.5579999999999998</c:v>
                </c:pt>
                <c:pt idx="4559">
                  <c:v>4.5590000000000002</c:v>
                </c:pt>
                <c:pt idx="4560">
                  <c:v>4.5599999999999996</c:v>
                </c:pt>
                <c:pt idx="4561">
                  <c:v>4.5609999999999999</c:v>
                </c:pt>
                <c:pt idx="4562">
                  <c:v>4.5620000000000003</c:v>
                </c:pt>
                <c:pt idx="4563">
                  <c:v>4.5629999999999997</c:v>
                </c:pt>
                <c:pt idx="4564">
                  <c:v>4.5640000000000001</c:v>
                </c:pt>
                <c:pt idx="4565">
                  <c:v>4.5650000000000004</c:v>
                </c:pt>
                <c:pt idx="4566">
                  <c:v>4.5659999999999998</c:v>
                </c:pt>
                <c:pt idx="4567">
                  <c:v>4.5670000000000002</c:v>
                </c:pt>
                <c:pt idx="4568">
                  <c:v>4.5679999999999996</c:v>
                </c:pt>
                <c:pt idx="4569">
                  <c:v>4.569</c:v>
                </c:pt>
                <c:pt idx="4570">
                  <c:v>4.57</c:v>
                </c:pt>
                <c:pt idx="4571">
                  <c:v>4.5709999999999997</c:v>
                </c:pt>
                <c:pt idx="4572">
                  <c:v>4.5720000000000001</c:v>
                </c:pt>
                <c:pt idx="4573">
                  <c:v>4.5730000000000004</c:v>
                </c:pt>
                <c:pt idx="4574">
                  <c:v>4.5739999999999998</c:v>
                </c:pt>
                <c:pt idx="4575">
                  <c:v>4.5750000000000002</c:v>
                </c:pt>
                <c:pt idx="4576">
                  <c:v>4.5759999999999996</c:v>
                </c:pt>
                <c:pt idx="4577">
                  <c:v>4.577</c:v>
                </c:pt>
                <c:pt idx="4578">
                  <c:v>4.5780000000000003</c:v>
                </c:pt>
                <c:pt idx="4579">
                  <c:v>4.5789999999999997</c:v>
                </c:pt>
                <c:pt idx="4580">
                  <c:v>4.58</c:v>
                </c:pt>
                <c:pt idx="4581">
                  <c:v>4.5810000000000004</c:v>
                </c:pt>
                <c:pt idx="4582">
                  <c:v>4.5819999999999999</c:v>
                </c:pt>
                <c:pt idx="4583">
                  <c:v>4.5830000000000002</c:v>
                </c:pt>
                <c:pt idx="4584">
                  <c:v>4.5839999999999996</c:v>
                </c:pt>
                <c:pt idx="4585">
                  <c:v>4.585</c:v>
                </c:pt>
                <c:pt idx="4586">
                  <c:v>4.5860000000000003</c:v>
                </c:pt>
                <c:pt idx="4587">
                  <c:v>4.5869999999999997</c:v>
                </c:pt>
                <c:pt idx="4588">
                  <c:v>4.5880000000000001</c:v>
                </c:pt>
                <c:pt idx="4589">
                  <c:v>4.5890000000000004</c:v>
                </c:pt>
                <c:pt idx="4590">
                  <c:v>4.59</c:v>
                </c:pt>
                <c:pt idx="4591">
                  <c:v>4.5910000000000002</c:v>
                </c:pt>
                <c:pt idx="4592">
                  <c:v>4.5919999999999996</c:v>
                </c:pt>
                <c:pt idx="4593">
                  <c:v>4.593</c:v>
                </c:pt>
                <c:pt idx="4594">
                  <c:v>4.5940000000000003</c:v>
                </c:pt>
                <c:pt idx="4595">
                  <c:v>4.5949999999999998</c:v>
                </c:pt>
                <c:pt idx="4596">
                  <c:v>4.5960000000000001</c:v>
                </c:pt>
                <c:pt idx="4597">
                  <c:v>4.5970000000000004</c:v>
                </c:pt>
                <c:pt idx="4598">
                  <c:v>4.5979999999999999</c:v>
                </c:pt>
                <c:pt idx="4599">
                  <c:v>4.5990000000000002</c:v>
                </c:pt>
                <c:pt idx="4600">
                  <c:v>4.5999999999999996</c:v>
                </c:pt>
                <c:pt idx="4601">
                  <c:v>4.601</c:v>
                </c:pt>
                <c:pt idx="4602">
                  <c:v>4.6020000000000003</c:v>
                </c:pt>
                <c:pt idx="4603">
                  <c:v>4.6029999999999998</c:v>
                </c:pt>
                <c:pt idx="4604">
                  <c:v>4.6040000000000001</c:v>
                </c:pt>
                <c:pt idx="4605">
                  <c:v>4.6050000000000004</c:v>
                </c:pt>
                <c:pt idx="4606">
                  <c:v>4.6059999999999999</c:v>
                </c:pt>
                <c:pt idx="4607">
                  <c:v>4.6070000000000002</c:v>
                </c:pt>
                <c:pt idx="4608">
                  <c:v>4.6079999999999997</c:v>
                </c:pt>
                <c:pt idx="4609">
                  <c:v>4.609</c:v>
                </c:pt>
                <c:pt idx="4610">
                  <c:v>4.6100000000000003</c:v>
                </c:pt>
                <c:pt idx="4611">
                  <c:v>4.6109999999999998</c:v>
                </c:pt>
                <c:pt idx="4612">
                  <c:v>4.6120000000000001</c:v>
                </c:pt>
                <c:pt idx="4613">
                  <c:v>4.6130000000000004</c:v>
                </c:pt>
                <c:pt idx="4614">
                  <c:v>4.6139999999999999</c:v>
                </c:pt>
                <c:pt idx="4615">
                  <c:v>4.6150000000000002</c:v>
                </c:pt>
                <c:pt idx="4616">
                  <c:v>4.6159999999999997</c:v>
                </c:pt>
                <c:pt idx="4617">
                  <c:v>4.617</c:v>
                </c:pt>
                <c:pt idx="4618">
                  <c:v>4.6180000000000003</c:v>
                </c:pt>
                <c:pt idx="4619">
                  <c:v>4.6189999999999998</c:v>
                </c:pt>
                <c:pt idx="4620">
                  <c:v>4.62</c:v>
                </c:pt>
                <c:pt idx="4621">
                  <c:v>4.6210000000000004</c:v>
                </c:pt>
                <c:pt idx="4622">
                  <c:v>4.6219999999999999</c:v>
                </c:pt>
                <c:pt idx="4623">
                  <c:v>4.6230000000000002</c:v>
                </c:pt>
                <c:pt idx="4624">
                  <c:v>4.6239999999999997</c:v>
                </c:pt>
                <c:pt idx="4625">
                  <c:v>4.625</c:v>
                </c:pt>
                <c:pt idx="4626">
                  <c:v>4.6260000000000003</c:v>
                </c:pt>
                <c:pt idx="4627">
                  <c:v>4.6269999999999998</c:v>
                </c:pt>
                <c:pt idx="4628">
                  <c:v>4.6280000000000001</c:v>
                </c:pt>
                <c:pt idx="4629">
                  <c:v>4.6289999999999996</c:v>
                </c:pt>
                <c:pt idx="4630">
                  <c:v>4.63</c:v>
                </c:pt>
                <c:pt idx="4631">
                  <c:v>4.6310000000000002</c:v>
                </c:pt>
                <c:pt idx="4632">
                  <c:v>4.6319999999999997</c:v>
                </c:pt>
                <c:pt idx="4633">
                  <c:v>4.633</c:v>
                </c:pt>
                <c:pt idx="4634">
                  <c:v>4.6340000000000003</c:v>
                </c:pt>
                <c:pt idx="4635">
                  <c:v>4.6349999999999998</c:v>
                </c:pt>
                <c:pt idx="4636">
                  <c:v>4.6360000000000001</c:v>
                </c:pt>
                <c:pt idx="4637">
                  <c:v>4.6369999999999996</c:v>
                </c:pt>
                <c:pt idx="4638">
                  <c:v>4.6379999999999999</c:v>
                </c:pt>
                <c:pt idx="4639">
                  <c:v>4.6390000000000002</c:v>
                </c:pt>
                <c:pt idx="4640">
                  <c:v>4.6399999999999997</c:v>
                </c:pt>
                <c:pt idx="4641">
                  <c:v>4.641</c:v>
                </c:pt>
                <c:pt idx="4642">
                  <c:v>4.6420000000000003</c:v>
                </c:pt>
                <c:pt idx="4643">
                  <c:v>4.6429999999999998</c:v>
                </c:pt>
                <c:pt idx="4644">
                  <c:v>4.6440000000000001</c:v>
                </c:pt>
                <c:pt idx="4645">
                  <c:v>4.6449999999999996</c:v>
                </c:pt>
                <c:pt idx="4646">
                  <c:v>4.6459999999999999</c:v>
                </c:pt>
                <c:pt idx="4647">
                  <c:v>4.6470000000000002</c:v>
                </c:pt>
                <c:pt idx="4648">
                  <c:v>4.6479999999999997</c:v>
                </c:pt>
                <c:pt idx="4649">
                  <c:v>4.649</c:v>
                </c:pt>
                <c:pt idx="4650">
                  <c:v>4.6500000000000004</c:v>
                </c:pt>
                <c:pt idx="4651">
                  <c:v>4.6509999999999998</c:v>
                </c:pt>
                <c:pt idx="4652">
                  <c:v>4.6520000000000001</c:v>
                </c:pt>
                <c:pt idx="4653">
                  <c:v>4.6529999999999996</c:v>
                </c:pt>
                <c:pt idx="4654">
                  <c:v>4.6539999999999999</c:v>
                </c:pt>
                <c:pt idx="4655">
                  <c:v>4.6550000000000002</c:v>
                </c:pt>
                <c:pt idx="4656">
                  <c:v>4.6559999999999997</c:v>
                </c:pt>
                <c:pt idx="4657">
                  <c:v>4.657</c:v>
                </c:pt>
                <c:pt idx="4658">
                  <c:v>4.6580000000000004</c:v>
                </c:pt>
                <c:pt idx="4659">
                  <c:v>4.6589999999999998</c:v>
                </c:pt>
                <c:pt idx="4660">
                  <c:v>4.66</c:v>
                </c:pt>
                <c:pt idx="4661">
                  <c:v>4.6609999999999996</c:v>
                </c:pt>
                <c:pt idx="4662">
                  <c:v>4.6619999999999999</c:v>
                </c:pt>
                <c:pt idx="4663">
                  <c:v>4.6630000000000003</c:v>
                </c:pt>
                <c:pt idx="4664">
                  <c:v>4.6639999999999997</c:v>
                </c:pt>
                <c:pt idx="4665">
                  <c:v>4.665</c:v>
                </c:pt>
                <c:pt idx="4666">
                  <c:v>4.6660000000000004</c:v>
                </c:pt>
                <c:pt idx="4667">
                  <c:v>4.6669999999999998</c:v>
                </c:pt>
                <c:pt idx="4668">
                  <c:v>4.6680000000000001</c:v>
                </c:pt>
                <c:pt idx="4669">
                  <c:v>4.6689999999999996</c:v>
                </c:pt>
                <c:pt idx="4670">
                  <c:v>4.67</c:v>
                </c:pt>
                <c:pt idx="4671">
                  <c:v>4.6710000000000003</c:v>
                </c:pt>
                <c:pt idx="4672">
                  <c:v>4.6719999999999997</c:v>
                </c:pt>
                <c:pt idx="4673">
                  <c:v>4.673</c:v>
                </c:pt>
                <c:pt idx="4674">
                  <c:v>4.6740000000000004</c:v>
                </c:pt>
                <c:pt idx="4675">
                  <c:v>4.6749999999999998</c:v>
                </c:pt>
                <c:pt idx="4676">
                  <c:v>4.6760000000000002</c:v>
                </c:pt>
                <c:pt idx="4677">
                  <c:v>4.6769999999999996</c:v>
                </c:pt>
                <c:pt idx="4678">
                  <c:v>4.6779999999999999</c:v>
                </c:pt>
                <c:pt idx="4679">
                  <c:v>4.6790000000000003</c:v>
                </c:pt>
                <c:pt idx="4680">
                  <c:v>4.68</c:v>
                </c:pt>
                <c:pt idx="4681">
                  <c:v>4.681</c:v>
                </c:pt>
                <c:pt idx="4682">
                  <c:v>4.6820000000000004</c:v>
                </c:pt>
                <c:pt idx="4683">
                  <c:v>4.6829999999999998</c:v>
                </c:pt>
                <c:pt idx="4684">
                  <c:v>4.6840000000000002</c:v>
                </c:pt>
                <c:pt idx="4685">
                  <c:v>4.6849999999999996</c:v>
                </c:pt>
                <c:pt idx="4686">
                  <c:v>4.6859999999999999</c:v>
                </c:pt>
                <c:pt idx="4687">
                  <c:v>4.6870000000000003</c:v>
                </c:pt>
                <c:pt idx="4688">
                  <c:v>4.6879999999999997</c:v>
                </c:pt>
                <c:pt idx="4689">
                  <c:v>4.6890000000000001</c:v>
                </c:pt>
                <c:pt idx="4690">
                  <c:v>4.6900000000000004</c:v>
                </c:pt>
                <c:pt idx="4691">
                  <c:v>4.6909999999999998</c:v>
                </c:pt>
                <c:pt idx="4692">
                  <c:v>4.6920000000000002</c:v>
                </c:pt>
                <c:pt idx="4693">
                  <c:v>4.6929999999999996</c:v>
                </c:pt>
                <c:pt idx="4694">
                  <c:v>4.694</c:v>
                </c:pt>
                <c:pt idx="4695">
                  <c:v>4.6950000000000003</c:v>
                </c:pt>
                <c:pt idx="4696">
                  <c:v>4.6959999999999997</c:v>
                </c:pt>
                <c:pt idx="4697">
                  <c:v>4.6970000000000001</c:v>
                </c:pt>
                <c:pt idx="4698">
                  <c:v>4.6980000000000004</c:v>
                </c:pt>
                <c:pt idx="4699">
                  <c:v>4.6989999999999998</c:v>
                </c:pt>
                <c:pt idx="4700">
                  <c:v>4.7</c:v>
                </c:pt>
                <c:pt idx="4701">
                  <c:v>4.7009999999999996</c:v>
                </c:pt>
                <c:pt idx="4702">
                  <c:v>4.702</c:v>
                </c:pt>
                <c:pt idx="4703">
                  <c:v>4.7030000000000003</c:v>
                </c:pt>
                <c:pt idx="4704">
                  <c:v>4.7039999999999997</c:v>
                </c:pt>
                <c:pt idx="4705">
                  <c:v>4.7050000000000001</c:v>
                </c:pt>
                <c:pt idx="4706">
                  <c:v>4.7060000000000004</c:v>
                </c:pt>
                <c:pt idx="4707">
                  <c:v>4.7069999999999999</c:v>
                </c:pt>
                <c:pt idx="4708">
                  <c:v>4.7080000000000002</c:v>
                </c:pt>
                <c:pt idx="4709">
                  <c:v>4.7089999999999996</c:v>
                </c:pt>
                <c:pt idx="4710">
                  <c:v>4.71</c:v>
                </c:pt>
                <c:pt idx="4711">
                  <c:v>4.7110000000000003</c:v>
                </c:pt>
                <c:pt idx="4712">
                  <c:v>4.7119999999999997</c:v>
                </c:pt>
                <c:pt idx="4713">
                  <c:v>4.7130000000000001</c:v>
                </c:pt>
                <c:pt idx="4714">
                  <c:v>4.7140000000000004</c:v>
                </c:pt>
                <c:pt idx="4715">
                  <c:v>4.7149999999999999</c:v>
                </c:pt>
                <c:pt idx="4716">
                  <c:v>4.7160000000000002</c:v>
                </c:pt>
                <c:pt idx="4717">
                  <c:v>4.7169999999999996</c:v>
                </c:pt>
                <c:pt idx="4718">
                  <c:v>4.718</c:v>
                </c:pt>
                <c:pt idx="4719">
                  <c:v>4.7190000000000003</c:v>
                </c:pt>
                <c:pt idx="4720">
                  <c:v>4.72</c:v>
                </c:pt>
                <c:pt idx="4721">
                  <c:v>4.7210000000000001</c:v>
                </c:pt>
                <c:pt idx="4722">
                  <c:v>4.7220000000000004</c:v>
                </c:pt>
                <c:pt idx="4723">
                  <c:v>4.7229999999999999</c:v>
                </c:pt>
                <c:pt idx="4724">
                  <c:v>4.7240000000000002</c:v>
                </c:pt>
                <c:pt idx="4725">
                  <c:v>4.7249999999999996</c:v>
                </c:pt>
                <c:pt idx="4726">
                  <c:v>4.726</c:v>
                </c:pt>
                <c:pt idx="4727">
                  <c:v>4.7270000000000003</c:v>
                </c:pt>
                <c:pt idx="4728">
                  <c:v>4.7279999999999998</c:v>
                </c:pt>
                <c:pt idx="4729">
                  <c:v>4.7290000000000001</c:v>
                </c:pt>
                <c:pt idx="4730">
                  <c:v>4.7300000000000004</c:v>
                </c:pt>
                <c:pt idx="4731">
                  <c:v>4.7309999999999999</c:v>
                </c:pt>
                <c:pt idx="4732">
                  <c:v>4.7320000000000002</c:v>
                </c:pt>
                <c:pt idx="4733">
                  <c:v>4.7329999999999997</c:v>
                </c:pt>
                <c:pt idx="4734">
                  <c:v>4.734</c:v>
                </c:pt>
                <c:pt idx="4735">
                  <c:v>4.7350000000000003</c:v>
                </c:pt>
                <c:pt idx="4736">
                  <c:v>4.7359999999999998</c:v>
                </c:pt>
                <c:pt idx="4737">
                  <c:v>4.7370000000000001</c:v>
                </c:pt>
                <c:pt idx="4738">
                  <c:v>4.7380000000000004</c:v>
                </c:pt>
                <c:pt idx="4739">
                  <c:v>4.7389999999999999</c:v>
                </c:pt>
                <c:pt idx="4740">
                  <c:v>4.74</c:v>
                </c:pt>
                <c:pt idx="4741">
                  <c:v>4.7409999999999997</c:v>
                </c:pt>
                <c:pt idx="4742">
                  <c:v>4.742</c:v>
                </c:pt>
                <c:pt idx="4743">
                  <c:v>4.7430000000000003</c:v>
                </c:pt>
                <c:pt idx="4744">
                  <c:v>4.7439999999999998</c:v>
                </c:pt>
                <c:pt idx="4745">
                  <c:v>4.7450000000000001</c:v>
                </c:pt>
                <c:pt idx="4746">
                  <c:v>4.7460000000000004</c:v>
                </c:pt>
                <c:pt idx="4747">
                  <c:v>4.7469999999999999</c:v>
                </c:pt>
                <c:pt idx="4748">
                  <c:v>4.7480000000000002</c:v>
                </c:pt>
                <c:pt idx="4749">
                  <c:v>4.7489999999999997</c:v>
                </c:pt>
                <c:pt idx="4750">
                  <c:v>4.75</c:v>
                </c:pt>
                <c:pt idx="4751">
                  <c:v>4.7510000000000003</c:v>
                </c:pt>
                <c:pt idx="4752">
                  <c:v>4.7519999999999998</c:v>
                </c:pt>
                <c:pt idx="4753">
                  <c:v>4.7530000000000001</c:v>
                </c:pt>
                <c:pt idx="4754">
                  <c:v>4.7539999999999996</c:v>
                </c:pt>
                <c:pt idx="4755">
                  <c:v>4.7549999999999999</c:v>
                </c:pt>
                <c:pt idx="4756">
                  <c:v>4.7560000000000002</c:v>
                </c:pt>
                <c:pt idx="4757">
                  <c:v>4.7569999999999997</c:v>
                </c:pt>
                <c:pt idx="4758">
                  <c:v>4.758</c:v>
                </c:pt>
                <c:pt idx="4759">
                  <c:v>4.7590000000000003</c:v>
                </c:pt>
                <c:pt idx="4760">
                  <c:v>4.76</c:v>
                </c:pt>
                <c:pt idx="4761">
                  <c:v>4.7610000000000001</c:v>
                </c:pt>
                <c:pt idx="4762">
                  <c:v>4.7619999999999996</c:v>
                </c:pt>
                <c:pt idx="4763">
                  <c:v>4.7629999999999999</c:v>
                </c:pt>
                <c:pt idx="4764">
                  <c:v>4.7640000000000002</c:v>
                </c:pt>
                <c:pt idx="4765">
                  <c:v>4.7649999999999997</c:v>
                </c:pt>
                <c:pt idx="4766">
                  <c:v>4.766</c:v>
                </c:pt>
                <c:pt idx="4767">
                  <c:v>4.7670000000000003</c:v>
                </c:pt>
                <c:pt idx="4768">
                  <c:v>4.7679999999999998</c:v>
                </c:pt>
                <c:pt idx="4769">
                  <c:v>4.7690000000000001</c:v>
                </c:pt>
                <c:pt idx="4770">
                  <c:v>4.7699999999999996</c:v>
                </c:pt>
                <c:pt idx="4771">
                  <c:v>4.7709999999999999</c:v>
                </c:pt>
                <c:pt idx="4772">
                  <c:v>4.7720000000000002</c:v>
                </c:pt>
                <c:pt idx="4773">
                  <c:v>4.7729999999999997</c:v>
                </c:pt>
                <c:pt idx="4774">
                  <c:v>4.774</c:v>
                </c:pt>
                <c:pt idx="4775">
                  <c:v>4.7750000000000004</c:v>
                </c:pt>
                <c:pt idx="4776">
                  <c:v>4.7759999999999998</c:v>
                </c:pt>
                <c:pt idx="4777">
                  <c:v>4.7770000000000001</c:v>
                </c:pt>
                <c:pt idx="4778">
                  <c:v>4.7779999999999996</c:v>
                </c:pt>
                <c:pt idx="4779">
                  <c:v>4.7789999999999999</c:v>
                </c:pt>
                <c:pt idx="4780">
                  <c:v>4.78</c:v>
                </c:pt>
                <c:pt idx="4781">
                  <c:v>4.7809999999999997</c:v>
                </c:pt>
                <c:pt idx="4782">
                  <c:v>4.782</c:v>
                </c:pt>
                <c:pt idx="4783">
                  <c:v>4.7830000000000004</c:v>
                </c:pt>
                <c:pt idx="4784">
                  <c:v>4.7839999999999998</c:v>
                </c:pt>
                <c:pt idx="4785">
                  <c:v>4.7850000000000001</c:v>
                </c:pt>
                <c:pt idx="4786">
                  <c:v>4.7859999999999996</c:v>
                </c:pt>
                <c:pt idx="4787">
                  <c:v>4.7869999999999999</c:v>
                </c:pt>
                <c:pt idx="4788">
                  <c:v>4.7880000000000003</c:v>
                </c:pt>
                <c:pt idx="4789">
                  <c:v>4.7889999999999997</c:v>
                </c:pt>
                <c:pt idx="4790">
                  <c:v>4.79</c:v>
                </c:pt>
                <c:pt idx="4791">
                  <c:v>4.7910000000000004</c:v>
                </c:pt>
                <c:pt idx="4792">
                  <c:v>4.7919999999999998</c:v>
                </c:pt>
                <c:pt idx="4793">
                  <c:v>4.7930000000000001</c:v>
                </c:pt>
                <c:pt idx="4794">
                  <c:v>4.7939999999999996</c:v>
                </c:pt>
                <c:pt idx="4795">
                  <c:v>4.7949999999999999</c:v>
                </c:pt>
                <c:pt idx="4796">
                  <c:v>4.7960000000000003</c:v>
                </c:pt>
                <c:pt idx="4797">
                  <c:v>4.7969999999999997</c:v>
                </c:pt>
                <c:pt idx="4798">
                  <c:v>4.798</c:v>
                </c:pt>
                <c:pt idx="4799">
                  <c:v>4.7990000000000004</c:v>
                </c:pt>
                <c:pt idx="4800">
                  <c:v>4.8</c:v>
                </c:pt>
                <c:pt idx="4801">
                  <c:v>4.8010000000000002</c:v>
                </c:pt>
                <c:pt idx="4802">
                  <c:v>4.8019999999999996</c:v>
                </c:pt>
                <c:pt idx="4803">
                  <c:v>4.8029999999999999</c:v>
                </c:pt>
                <c:pt idx="4804">
                  <c:v>4.8040000000000003</c:v>
                </c:pt>
                <c:pt idx="4805">
                  <c:v>4.8049999999999997</c:v>
                </c:pt>
                <c:pt idx="4806">
                  <c:v>4.806</c:v>
                </c:pt>
                <c:pt idx="4807">
                  <c:v>4.8070000000000004</c:v>
                </c:pt>
                <c:pt idx="4808">
                  <c:v>4.8079999999999998</c:v>
                </c:pt>
                <c:pt idx="4809">
                  <c:v>4.8090000000000002</c:v>
                </c:pt>
                <c:pt idx="4810">
                  <c:v>4.8099999999999996</c:v>
                </c:pt>
                <c:pt idx="4811">
                  <c:v>4.8109999999999999</c:v>
                </c:pt>
                <c:pt idx="4812">
                  <c:v>4.8120000000000003</c:v>
                </c:pt>
                <c:pt idx="4813">
                  <c:v>4.8129999999999997</c:v>
                </c:pt>
                <c:pt idx="4814">
                  <c:v>4.8140000000000001</c:v>
                </c:pt>
                <c:pt idx="4815">
                  <c:v>4.8150000000000004</c:v>
                </c:pt>
                <c:pt idx="4816">
                  <c:v>4.8159999999999998</c:v>
                </c:pt>
                <c:pt idx="4817">
                  <c:v>4.8170000000000002</c:v>
                </c:pt>
                <c:pt idx="4818">
                  <c:v>4.8179999999999996</c:v>
                </c:pt>
                <c:pt idx="4819">
                  <c:v>4.819</c:v>
                </c:pt>
                <c:pt idx="4820">
                  <c:v>4.82</c:v>
                </c:pt>
                <c:pt idx="4821">
                  <c:v>4.8209999999999997</c:v>
                </c:pt>
                <c:pt idx="4822">
                  <c:v>4.8220000000000001</c:v>
                </c:pt>
                <c:pt idx="4823">
                  <c:v>4.8230000000000004</c:v>
                </c:pt>
                <c:pt idx="4824">
                  <c:v>4.8239999999999998</c:v>
                </c:pt>
                <c:pt idx="4825">
                  <c:v>4.8250000000000002</c:v>
                </c:pt>
                <c:pt idx="4826">
                  <c:v>4.8259999999999996</c:v>
                </c:pt>
                <c:pt idx="4827">
                  <c:v>4.827</c:v>
                </c:pt>
                <c:pt idx="4828">
                  <c:v>4.8280000000000003</c:v>
                </c:pt>
                <c:pt idx="4829">
                  <c:v>4.8289999999999997</c:v>
                </c:pt>
                <c:pt idx="4830">
                  <c:v>4.83</c:v>
                </c:pt>
                <c:pt idx="4831">
                  <c:v>4.8310000000000004</c:v>
                </c:pt>
                <c:pt idx="4832">
                  <c:v>4.8319999999999999</c:v>
                </c:pt>
                <c:pt idx="4833">
                  <c:v>4.8330000000000002</c:v>
                </c:pt>
                <c:pt idx="4834">
                  <c:v>4.8339999999999996</c:v>
                </c:pt>
                <c:pt idx="4835">
                  <c:v>4.835</c:v>
                </c:pt>
                <c:pt idx="4836">
                  <c:v>4.8360000000000003</c:v>
                </c:pt>
                <c:pt idx="4837">
                  <c:v>4.8369999999999997</c:v>
                </c:pt>
                <c:pt idx="4838">
                  <c:v>4.8380000000000001</c:v>
                </c:pt>
                <c:pt idx="4839">
                  <c:v>4.8390000000000004</c:v>
                </c:pt>
                <c:pt idx="4840">
                  <c:v>4.84</c:v>
                </c:pt>
                <c:pt idx="4841">
                  <c:v>4.8410000000000002</c:v>
                </c:pt>
                <c:pt idx="4842">
                  <c:v>4.8419999999999996</c:v>
                </c:pt>
                <c:pt idx="4843">
                  <c:v>4.843</c:v>
                </c:pt>
                <c:pt idx="4844">
                  <c:v>4.8440000000000003</c:v>
                </c:pt>
                <c:pt idx="4845">
                  <c:v>4.8449999999999998</c:v>
                </c:pt>
                <c:pt idx="4846">
                  <c:v>4.8460000000000001</c:v>
                </c:pt>
                <c:pt idx="4847">
                  <c:v>4.8470000000000004</c:v>
                </c:pt>
                <c:pt idx="4848">
                  <c:v>4.8479999999999999</c:v>
                </c:pt>
                <c:pt idx="4849">
                  <c:v>4.8490000000000002</c:v>
                </c:pt>
                <c:pt idx="4850">
                  <c:v>4.8499999999999996</c:v>
                </c:pt>
                <c:pt idx="4851">
                  <c:v>4.851</c:v>
                </c:pt>
                <c:pt idx="4852">
                  <c:v>4.8520000000000003</c:v>
                </c:pt>
                <c:pt idx="4853">
                  <c:v>4.8529999999999998</c:v>
                </c:pt>
                <c:pt idx="4854">
                  <c:v>4.8540000000000001</c:v>
                </c:pt>
                <c:pt idx="4855">
                  <c:v>4.8550000000000004</c:v>
                </c:pt>
                <c:pt idx="4856">
                  <c:v>4.8559999999999999</c:v>
                </c:pt>
                <c:pt idx="4857">
                  <c:v>4.8570000000000002</c:v>
                </c:pt>
                <c:pt idx="4858">
                  <c:v>4.8579999999999997</c:v>
                </c:pt>
                <c:pt idx="4859">
                  <c:v>4.859</c:v>
                </c:pt>
                <c:pt idx="4860">
                  <c:v>4.8600000000000003</c:v>
                </c:pt>
                <c:pt idx="4861">
                  <c:v>4.8609999999999998</c:v>
                </c:pt>
                <c:pt idx="4862">
                  <c:v>4.8620000000000001</c:v>
                </c:pt>
                <c:pt idx="4863">
                  <c:v>4.8630000000000004</c:v>
                </c:pt>
                <c:pt idx="4864">
                  <c:v>4.8639999999999999</c:v>
                </c:pt>
                <c:pt idx="4865">
                  <c:v>4.8650000000000002</c:v>
                </c:pt>
                <c:pt idx="4866">
                  <c:v>4.8659999999999997</c:v>
                </c:pt>
                <c:pt idx="4867">
                  <c:v>4.867</c:v>
                </c:pt>
                <c:pt idx="4868">
                  <c:v>4.8680000000000003</c:v>
                </c:pt>
                <c:pt idx="4869">
                  <c:v>4.8689999999999998</c:v>
                </c:pt>
                <c:pt idx="4870">
                  <c:v>4.87</c:v>
                </c:pt>
                <c:pt idx="4871">
                  <c:v>4.8710000000000004</c:v>
                </c:pt>
                <c:pt idx="4872">
                  <c:v>4.8719999999999999</c:v>
                </c:pt>
                <c:pt idx="4873">
                  <c:v>4.8730000000000002</c:v>
                </c:pt>
                <c:pt idx="4874">
                  <c:v>4.8739999999999997</c:v>
                </c:pt>
                <c:pt idx="4875">
                  <c:v>4.875</c:v>
                </c:pt>
                <c:pt idx="4876">
                  <c:v>4.8760000000000003</c:v>
                </c:pt>
                <c:pt idx="4877">
                  <c:v>4.8769999999999998</c:v>
                </c:pt>
                <c:pt idx="4878">
                  <c:v>4.8780000000000001</c:v>
                </c:pt>
                <c:pt idx="4879">
                  <c:v>4.8789999999999996</c:v>
                </c:pt>
                <c:pt idx="4880">
                  <c:v>4.88</c:v>
                </c:pt>
                <c:pt idx="4881">
                  <c:v>4.8810000000000002</c:v>
                </c:pt>
                <c:pt idx="4882">
                  <c:v>4.8819999999999997</c:v>
                </c:pt>
                <c:pt idx="4883">
                  <c:v>4.883</c:v>
                </c:pt>
                <c:pt idx="4884">
                  <c:v>4.8840000000000003</c:v>
                </c:pt>
                <c:pt idx="4885">
                  <c:v>4.8849999999999998</c:v>
                </c:pt>
                <c:pt idx="4886">
                  <c:v>4.8860000000000001</c:v>
                </c:pt>
                <c:pt idx="4887">
                  <c:v>4.8869999999999996</c:v>
                </c:pt>
                <c:pt idx="4888">
                  <c:v>4.8879999999999999</c:v>
                </c:pt>
                <c:pt idx="4889">
                  <c:v>4.8890000000000002</c:v>
                </c:pt>
                <c:pt idx="4890">
                  <c:v>4.8899999999999997</c:v>
                </c:pt>
                <c:pt idx="4891">
                  <c:v>4.891</c:v>
                </c:pt>
                <c:pt idx="4892">
                  <c:v>4.8920000000000003</c:v>
                </c:pt>
                <c:pt idx="4893">
                  <c:v>4.8929999999999998</c:v>
                </c:pt>
                <c:pt idx="4894">
                  <c:v>4.8940000000000001</c:v>
                </c:pt>
                <c:pt idx="4895">
                  <c:v>4.8949999999999996</c:v>
                </c:pt>
                <c:pt idx="4896">
                  <c:v>4.8959999999999999</c:v>
                </c:pt>
                <c:pt idx="4897">
                  <c:v>4.8970000000000002</c:v>
                </c:pt>
                <c:pt idx="4898">
                  <c:v>4.8979999999999997</c:v>
                </c:pt>
                <c:pt idx="4899">
                  <c:v>4.899</c:v>
                </c:pt>
                <c:pt idx="4900">
                  <c:v>4.9000000000000004</c:v>
                </c:pt>
                <c:pt idx="4901">
                  <c:v>4.9009999999999998</c:v>
                </c:pt>
                <c:pt idx="4902">
                  <c:v>4.9020000000000001</c:v>
                </c:pt>
                <c:pt idx="4903">
                  <c:v>4.9029999999999996</c:v>
                </c:pt>
                <c:pt idx="4904">
                  <c:v>4.9039999999999999</c:v>
                </c:pt>
                <c:pt idx="4905">
                  <c:v>4.9050000000000002</c:v>
                </c:pt>
                <c:pt idx="4906">
                  <c:v>4.9059999999999997</c:v>
                </c:pt>
                <c:pt idx="4907">
                  <c:v>4.907</c:v>
                </c:pt>
                <c:pt idx="4908">
                  <c:v>4.9080000000000004</c:v>
                </c:pt>
                <c:pt idx="4909">
                  <c:v>4.9089999999999998</c:v>
                </c:pt>
                <c:pt idx="4910">
                  <c:v>4.91</c:v>
                </c:pt>
                <c:pt idx="4911">
                  <c:v>4.9109999999999996</c:v>
                </c:pt>
                <c:pt idx="4912">
                  <c:v>4.9119999999999999</c:v>
                </c:pt>
                <c:pt idx="4913">
                  <c:v>4.9130000000000003</c:v>
                </c:pt>
                <c:pt idx="4914">
                  <c:v>4.9139999999999997</c:v>
                </c:pt>
                <c:pt idx="4915">
                  <c:v>4.915</c:v>
                </c:pt>
                <c:pt idx="4916">
                  <c:v>4.9160000000000004</c:v>
                </c:pt>
                <c:pt idx="4917">
                  <c:v>4.9169999999999998</c:v>
                </c:pt>
                <c:pt idx="4918">
                  <c:v>4.9180000000000001</c:v>
                </c:pt>
                <c:pt idx="4919">
                  <c:v>4.9189999999999996</c:v>
                </c:pt>
                <c:pt idx="4920">
                  <c:v>4.92</c:v>
                </c:pt>
                <c:pt idx="4921">
                  <c:v>4.9210000000000003</c:v>
                </c:pt>
                <c:pt idx="4922">
                  <c:v>4.9219999999999997</c:v>
                </c:pt>
                <c:pt idx="4923">
                  <c:v>4.923</c:v>
                </c:pt>
                <c:pt idx="4924">
                  <c:v>4.9240000000000004</c:v>
                </c:pt>
                <c:pt idx="4925">
                  <c:v>4.9249999999999998</c:v>
                </c:pt>
                <c:pt idx="4926">
                  <c:v>4.9260000000000002</c:v>
                </c:pt>
                <c:pt idx="4927">
                  <c:v>4.9269999999999996</c:v>
                </c:pt>
                <c:pt idx="4928">
                  <c:v>4.9279999999999999</c:v>
                </c:pt>
                <c:pt idx="4929">
                  <c:v>4.9290000000000003</c:v>
                </c:pt>
                <c:pt idx="4930">
                  <c:v>4.93</c:v>
                </c:pt>
                <c:pt idx="4931">
                  <c:v>4.931</c:v>
                </c:pt>
                <c:pt idx="4932">
                  <c:v>4.9320000000000004</c:v>
                </c:pt>
                <c:pt idx="4933">
                  <c:v>4.9329999999999998</c:v>
                </c:pt>
                <c:pt idx="4934">
                  <c:v>4.9340000000000002</c:v>
                </c:pt>
                <c:pt idx="4935">
                  <c:v>4.9349999999999996</c:v>
                </c:pt>
                <c:pt idx="4936">
                  <c:v>4.9359999999999999</c:v>
                </c:pt>
                <c:pt idx="4937">
                  <c:v>4.9370000000000003</c:v>
                </c:pt>
                <c:pt idx="4938">
                  <c:v>4.9379999999999997</c:v>
                </c:pt>
                <c:pt idx="4939">
                  <c:v>4.9390000000000001</c:v>
                </c:pt>
                <c:pt idx="4940">
                  <c:v>4.9400000000000004</c:v>
                </c:pt>
                <c:pt idx="4941">
                  <c:v>4.9409999999999998</c:v>
                </c:pt>
                <c:pt idx="4942">
                  <c:v>4.9420000000000002</c:v>
                </c:pt>
                <c:pt idx="4943">
                  <c:v>4.9429999999999996</c:v>
                </c:pt>
                <c:pt idx="4944">
                  <c:v>4.944</c:v>
                </c:pt>
                <c:pt idx="4945">
                  <c:v>4.9450000000000003</c:v>
                </c:pt>
                <c:pt idx="4946">
                  <c:v>4.9459999999999997</c:v>
                </c:pt>
                <c:pt idx="4947">
                  <c:v>4.9470000000000001</c:v>
                </c:pt>
                <c:pt idx="4948">
                  <c:v>4.9480000000000004</c:v>
                </c:pt>
                <c:pt idx="4949">
                  <c:v>4.9489999999999998</c:v>
                </c:pt>
                <c:pt idx="4950">
                  <c:v>4.95</c:v>
                </c:pt>
                <c:pt idx="4951">
                  <c:v>4.9509999999999996</c:v>
                </c:pt>
                <c:pt idx="4952">
                  <c:v>4.952</c:v>
                </c:pt>
                <c:pt idx="4953">
                  <c:v>4.9530000000000003</c:v>
                </c:pt>
                <c:pt idx="4954">
                  <c:v>4.9539999999999997</c:v>
                </c:pt>
                <c:pt idx="4955">
                  <c:v>4.9550000000000001</c:v>
                </c:pt>
                <c:pt idx="4956">
                  <c:v>4.9560000000000004</c:v>
                </c:pt>
                <c:pt idx="4957">
                  <c:v>4.9569999999999999</c:v>
                </c:pt>
                <c:pt idx="4958">
                  <c:v>4.9580000000000002</c:v>
                </c:pt>
                <c:pt idx="4959">
                  <c:v>4.9589999999999996</c:v>
                </c:pt>
                <c:pt idx="4960">
                  <c:v>4.96</c:v>
                </c:pt>
                <c:pt idx="4961">
                  <c:v>4.9610000000000003</c:v>
                </c:pt>
                <c:pt idx="4962">
                  <c:v>4.9619999999999997</c:v>
                </c:pt>
                <c:pt idx="4963">
                  <c:v>4.9630000000000001</c:v>
                </c:pt>
                <c:pt idx="4964">
                  <c:v>4.9640000000000004</c:v>
                </c:pt>
                <c:pt idx="4965">
                  <c:v>4.9649999999999999</c:v>
                </c:pt>
                <c:pt idx="4966">
                  <c:v>4.9660000000000002</c:v>
                </c:pt>
                <c:pt idx="4967">
                  <c:v>4.9669999999999996</c:v>
                </c:pt>
                <c:pt idx="4968">
                  <c:v>4.968</c:v>
                </c:pt>
                <c:pt idx="4969">
                  <c:v>4.9690000000000003</c:v>
                </c:pt>
                <c:pt idx="4970">
                  <c:v>4.97</c:v>
                </c:pt>
                <c:pt idx="4971">
                  <c:v>4.9710000000000001</c:v>
                </c:pt>
                <c:pt idx="4972">
                  <c:v>4.9720000000000004</c:v>
                </c:pt>
                <c:pt idx="4973">
                  <c:v>4.9729999999999999</c:v>
                </c:pt>
                <c:pt idx="4974">
                  <c:v>4.9740000000000002</c:v>
                </c:pt>
                <c:pt idx="4975">
                  <c:v>4.9749999999999996</c:v>
                </c:pt>
                <c:pt idx="4976">
                  <c:v>4.976</c:v>
                </c:pt>
                <c:pt idx="4977">
                  <c:v>4.9770000000000003</c:v>
                </c:pt>
                <c:pt idx="4978">
                  <c:v>4.9779999999999998</c:v>
                </c:pt>
                <c:pt idx="4979">
                  <c:v>4.9790000000000001</c:v>
                </c:pt>
                <c:pt idx="4980">
                  <c:v>4.9800000000000004</c:v>
                </c:pt>
                <c:pt idx="4981">
                  <c:v>4.9809999999999999</c:v>
                </c:pt>
                <c:pt idx="4982">
                  <c:v>4.9820000000000002</c:v>
                </c:pt>
                <c:pt idx="4983">
                  <c:v>4.9829999999999997</c:v>
                </c:pt>
                <c:pt idx="4984">
                  <c:v>4.984</c:v>
                </c:pt>
                <c:pt idx="4985">
                  <c:v>4.9850000000000003</c:v>
                </c:pt>
                <c:pt idx="4986">
                  <c:v>4.9859999999999998</c:v>
                </c:pt>
                <c:pt idx="4987">
                  <c:v>4.9870000000000001</c:v>
                </c:pt>
                <c:pt idx="4988">
                  <c:v>4.9880000000000004</c:v>
                </c:pt>
                <c:pt idx="4989">
                  <c:v>4.9889999999999999</c:v>
                </c:pt>
                <c:pt idx="4990">
                  <c:v>4.99</c:v>
                </c:pt>
                <c:pt idx="4991">
                  <c:v>4.9909999999999997</c:v>
                </c:pt>
                <c:pt idx="4992">
                  <c:v>4.992</c:v>
                </c:pt>
                <c:pt idx="4993">
                  <c:v>4.9930000000000003</c:v>
                </c:pt>
                <c:pt idx="4994">
                  <c:v>4.9939999999999998</c:v>
                </c:pt>
                <c:pt idx="4995">
                  <c:v>4.9950000000000001</c:v>
                </c:pt>
                <c:pt idx="4996">
                  <c:v>4.9960000000000004</c:v>
                </c:pt>
                <c:pt idx="4997">
                  <c:v>4.9969999999999999</c:v>
                </c:pt>
                <c:pt idx="4998">
                  <c:v>4.9980000000000002</c:v>
                </c:pt>
                <c:pt idx="4999">
                  <c:v>4.9989999999999997</c:v>
                </c:pt>
              </c:numCache>
            </c:numRef>
          </c:xVal>
          <c:yVal>
            <c:numRef>
              <c:f>'4-Pin vs 3-Pin waveform'!$S$3:$S$5002</c:f>
              <c:numCache>
                <c:formatCode>General</c:formatCode>
                <c:ptCount val="5000"/>
                <c:pt idx="0">
                  <c:v>610.21</c:v>
                </c:pt>
                <c:pt idx="1">
                  <c:v>609.61</c:v>
                </c:pt>
                <c:pt idx="2">
                  <c:v>611.4</c:v>
                </c:pt>
                <c:pt idx="3">
                  <c:v>611.4</c:v>
                </c:pt>
                <c:pt idx="4">
                  <c:v>610.21</c:v>
                </c:pt>
                <c:pt idx="5">
                  <c:v>610.80999999999995</c:v>
                </c:pt>
                <c:pt idx="6">
                  <c:v>609.61</c:v>
                </c:pt>
                <c:pt idx="7">
                  <c:v>609.61</c:v>
                </c:pt>
                <c:pt idx="8">
                  <c:v>610.21</c:v>
                </c:pt>
                <c:pt idx="9">
                  <c:v>610.80999999999995</c:v>
                </c:pt>
                <c:pt idx="10">
                  <c:v>612.61</c:v>
                </c:pt>
                <c:pt idx="11">
                  <c:v>610.21</c:v>
                </c:pt>
                <c:pt idx="12">
                  <c:v>609.61</c:v>
                </c:pt>
                <c:pt idx="13">
                  <c:v>610.80999999999995</c:v>
                </c:pt>
                <c:pt idx="14">
                  <c:v>611.4</c:v>
                </c:pt>
                <c:pt idx="15">
                  <c:v>610.80999999999995</c:v>
                </c:pt>
                <c:pt idx="16">
                  <c:v>607.80999999999995</c:v>
                </c:pt>
                <c:pt idx="17">
                  <c:v>610.80999999999995</c:v>
                </c:pt>
                <c:pt idx="18">
                  <c:v>610.21</c:v>
                </c:pt>
                <c:pt idx="19">
                  <c:v>609.61</c:v>
                </c:pt>
                <c:pt idx="20">
                  <c:v>610.80999999999995</c:v>
                </c:pt>
                <c:pt idx="21">
                  <c:v>610.80999999999995</c:v>
                </c:pt>
                <c:pt idx="22">
                  <c:v>610.80999999999995</c:v>
                </c:pt>
                <c:pt idx="23">
                  <c:v>611.4</c:v>
                </c:pt>
                <c:pt idx="24">
                  <c:v>609.01</c:v>
                </c:pt>
                <c:pt idx="25">
                  <c:v>608.4</c:v>
                </c:pt>
                <c:pt idx="26">
                  <c:v>609.01</c:v>
                </c:pt>
                <c:pt idx="27">
                  <c:v>610.21</c:v>
                </c:pt>
                <c:pt idx="28">
                  <c:v>610.80999999999995</c:v>
                </c:pt>
                <c:pt idx="29">
                  <c:v>610.21</c:v>
                </c:pt>
                <c:pt idx="30">
                  <c:v>609.01</c:v>
                </c:pt>
                <c:pt idx="31">
                  <c:v>610.80999999999995</c:v>
                </c:pt>
                <c:pt idx="32">
                  <c:v>608.4</c:v>
                </c:pt>
                <c:pt idx="33">
                  <c:v>610.80999999999995</c:v>
                </c:pt>
                <c:pt idx="34">
                  <c:v>610.21</c:v>
                </c:pt>
                <c:pt idx="35">
                  <c:v>611.4</c:v>
                </c:pt>
                <c:pt idx="36">
                  <c:v>610.80999999999995</c:v>
                </c:pt>
                <c:pt idx="37">
                  <c:v>610.21</c:v>
                </c:pt>
                <c:pt idx="38">
                  <c:v>611.4</c:v>
                </c:pt>
                <c:pt idx="39">
                  <c:v>609.61</c:v>
                </c:pt>
                <c:pt idx="40">
                  <c:v>609.01</c:v>
                </c:pt>
                <c:pt idx="41">
                  <c:v>610.80999999999995</c:v>
                </c:pt>
                <c:pt idx="42">
                  <c:v>611.4</c:v>
                </c:pt>
                <c:pt idx="43">
                  <c:v>612.01</c:v>
                </c:pt>
                <c:pt idx="44">
                  <c:v>611.4</c:v>
                </c:pt>
                <c:pt idx="45">
                  <c:v>609.61</c:v>
                </c:pt>
                <c:pt idx="46">
                  <c:v>611.4</c:v>
                </c:pt>
                <c:pt idx="47">
                  <c:v>611.4</c:v>
                </c:pt>
                <c:pt idx="48">
                  <c:v>610.80999999999995</c:v>
                </c:pt>
                <c:pt idx="49">
                  <c:v>609.61</c:v>
                </c:pt>
                <c:pt idx="50">
                  <c:v>609.61</c:v>
                </c:pt>
                <c:pt idx="51">
                  <c:v>611.4</c:v>
                </c:pt>
                <c:pt idx="52">
                  <c:v>611.4</c:v>
                </c:pt>
                <c:pt idx="53">
                  <c:v>609.61</c:v>
                </c:pt>
                <c:pt idx="54">
                  <c:v>611.4</c:v>
                </c:pt>
                <c:pt idx="55">
                  <c:v>610.21</c:v>
                </c:pt>
                <c:pt idx="56">
                  <c:v>609.01</c:v>
                </c:pt>
                <c:pt idx="57">
                  <c:v>610.80999999999995</c:v>
                </c:pt>
                <c:pt idx="58">
                  <c:v>611.4</c:v>
                </c:pt>
                <c:pt idx="59">
                  <c:v>610.21</c:v>
                </c:pt>
                <c:pt idx="60">
                  <c:v>612.01</c:v>
                </c:pt>
                <c:pt idx="61">
                  <c:v>610.21</c:v>
                </c:pt>
                <c:pt idx="62">
                  <c:v>611.4</c:v>
                </c:pt>
                <c:pt idx="63">
                  <c:v>611.4</c:v>
                </c:pt>
                <c:pt idx="64">
                  <c:v>612.01</c:v>
                </c:pt>
                <c:pt idx="65">
                  <c:v>612.01</c:v>
                </c:pt>
                <c:pt idx="66">
                  <c:v>610.21</c:v>
                </c:pt>
                <c:pt idx="67">
                  <c:v>610.80999999999995</c:v>
                </c:pt>
                <c:pt idx="68">
                  <c:v>609.61</c:v>
                </c:pt>
                <c:pt idx="69">
                  <c:v>610.80999999999995</c:v>
                </c:pt>
                <c:pt idx="70">
                  <c:v>609.01</c:v>
                </c:pt>
                <c:pt idx="71">
                  <c:v>611.4</c:v>
                </c:pt>
                <c:pt idx="72">
                  <c:v>609.61</c:v>
                </c:pt>
                <c:pt idx="73">
                  <c:v>611.4</c:v>
                </c:pt>
                <c:pt idx="74">
                  <c:v>609.61</c:v>
                </c:pt>
                <c:pt idx="75">
                  <c:v>609.61</c:v>
                </c:pt>
                <c:pt idx="76">
                  <c:v>610.21</c:v>
                </c:pt>
                <c:pt idx="77">
                  <c:v>610.80999999999995</c:v>
                </c:pt>
                <c:pt idx="78">
                  <c:v>610.21</c:v>
                </c:pt>
                <c:pt idx="79">
                  <c:v>610.80999999999995</c:v>
                </c:pt>
                <c:pt idx="80">
                  <c:v>610.80999999999995</c:v>
                </c:pt>
                <c:pt idx="81">
                  <c:v>611.4</c:v>
                </c:pt>
                <c:pt idx="82">
                  <c:v>609.61</c:v>
                </c:pt>
                <c:pt idx="83">
                  <c:v>609.61</c:v>
                </c:pt>
                <c:pt idx="84">
                  <c:v>609.61</c:v>
                </c:pt>
                <c:pt idx="85">
                  <c:v>608.4</c:v>
                </c:pt>
                <c:pt idx="86">
                  <c:v>612.61</c:v>
                </c:pt>
                <c:pt idx="87">
                  <c:v>610.21</c:v>
                </c:pt>
                <c:pt idx="88">
                  <c:v>610.21</c:v>
                </c:pt>
                <c:pt idx="89">
                  <c:v>610.21</c:v>
                </c:pt>
                <c:pt idx="90">
                  <c:v>610.21</c:v>
                </c:pt>
                <c:pt idx="91">
                  <c:v>610.21</c:v>
                </c:pt>
                <c:pt idx="92">
                  <c:v>611.4</c:v>
                </c:pt>
                <c:pt idx="93">
                  <c:v>610.21</c:v>
                </c:pt>
                <c:pt idx="94">
                  <c:v>609.61</c:v>
                </c:pt>
                <c:pt idx="95">
                  <c:v>609.61</c:v>
                </c:pt>
                <c:pt idx="96">
                  <c:v>608.4</c:v>
                </c:pt>
                <c:pt idx="97">
                  <c:v>611.4</c:v>
                </c:pt>
                <c:pt idx="98">
                  <c:v>610.21</c:v>
                </c:pt>
                <c:pt idx="99">
                  <c:v>610.21</c:v>
                </c:pt>
                <c:pt idx="100">
                  <c:v>609.61</c:v>
                </c:pt>
                <c:pt idx="101">
                  <c:v>611.4</c:v>
                </c:pt>
                <c:pt idx="102">
                  <c:v>612.01</c:v>
                </c:pt>
                <c:pt idx="103">
                  <c:v>610.21</c:v>
                </c:pt>
                <c:pt idx="104">
                  <c:v>608.4</c:v>
                </c:pt>
                <c:pt idx="105">
                  <c:v>611.4</c:v>
                </c:pt>
                <c:pt idx="106">
                  <c:v>610.21</c:v>
                </c:pt>
                <c:pt idx="107">
                  <c:v>610.21</c:v>
                </c:pt>
                <c:pt idx="108">
                  <c:v>610.21</c:v>
                </c:pt>
                <c:pt idx="109">
                  <c:v>610.21</c:v>
                </c:pt>
                <c:pt idx="110">
                  <c:v>610.80999999999995</c:v>
                </c:pt>
                <c:pt idx="111">
                  <c:v>609.01</c:v>
                </c:pt>
                <c:pt idx="112">
                  <c:v>609.61</c:v>
                </c:pt>
                <c:pt idx="113">
                  <c:v>608.4</c:v>
                </c:pt>
                <c:pt idx="114">
                  <c:v>612.01</c:v>
                </c:pt>
                <c:pt idx="115">
                  <c:v>609.01</c:v>
                </c:pt>
                <c:pt idx="116">
                  <c:v>612.61</c:v>
                </c:pt>
                <c:pt idx="117">
                  <c:v>609.61</c:v>
                </c:pt>
                <c:pt idx="118">
                  <c:v>610.80999999999995</c:v>
                </c:pt>
                <c:pt idx="119">
                  <c:v>610.21</c:v>
                </c:pt>
                <c:pt idx="120">
                  <c:v>612.01</c:v>
                </c:pt>
                <c:pt idx="121">
                  <c:v>610.21</c:v>
                </c:pt>
                <c:pt idx="122">
                  <c:v>613.21</c:v>
                </c:pt>
                <c:pt idx="123">
                  <c:v>609.01</c:v>
                </c:pt>
                <c:pt idx="124">
                  <c:v>610.21</c:v>
                </c:pt>
                <c:pt idx="125">
                  <c:v>610.80999999999995</c:v>
                </c:pt>
                <c:pt idx="126">
                  <c:v>610.21</c:v>
                </c:pt>
                <c:pt idx="127">
                  <c:v>609.01</c:v>
                </c:pt>
                <c:pt idx="128">
                  <c:v>609.61</c:v>
                </c:pt>
                <c:pt idx="129">
                  <c:v>609.61</c:v>
                </c:pt>
                <c:pt idx="130">
                  <c:v>609.01</c:v>
                </c:pt>
                <c:pt idx="131">
                  <c:v>610.21</c:v>
                </c:pt>
                <c:pt idx="132">
                  <c:v>610.21</c:v>
                </c:pt>
                <c:pt idx="133">
                  <c:v>612.01</c:v>
                </c:pt>
                <c:pt idx="134">
                  <c:v>610.80999999999995</c:v>
                </c:pt>
                <c:pt idx="135">
                  <c:v>607.80999999999995</c:v>
                </c:pt>
                <c:pt idx="136">
                  <c:v>609.61</c:v>
                </c:pt>
                <c:pt idx="137">
                  <c:v>610.21</c:v>
                </c:pt>
                <c:pt idx="138">
                  <c:v>609.61</c:v>
                </c:pt>
                <c:pt idx="139">
                  <c:v>611.4</c:v>
                </c:pt>
                <c:pt idx="140">
                  <c:v>611.4</c:v>
                </c:pt>
                <c:pt idx="141">
                  <c:v>609.01</c:v>
                </c:pt>
                <c:pt idx="142">
                  <c:v>609.61</c:v>
                </c:pt>
                <c:pt idx="143">
                  <c:v>609.61</c:v>
                </c:pt>
                <c:pt idx="144">
                  <c:v>610.21</c:v>
                </c:pt>
                <c:pt idx="145">
                  <c:v>610.80999999999995</c:v>
                </c:pt>
                <c:pt idx="146">
                  <c:v>610.80999999999995</c:v>
                </c:pt>
                <c:pt idx="147">
                  <c:v>611.4</c:v>
                </c:pt>
                <c:pt idx="148">
                  <c:v>610.80999999999995</c:v>
                </c:pt>
                <c:pt idx="149">
                  <c:v>613.80999999999995</c:v>
                </c:pt>
                <c:pt idx="150">
                  <c:v>609.61</c:v>
                </c:pt>
                <c:pt idx="151">
                  <c:v>611.4</c:v>
                </c:pt>
                <c:pt idx="152">
                  <c:v>611.4</c:v>
                </c:pt>
                <c:pt idx="153">
                  <c:v>610.21</c:v>
                </c:pt>
                <c:pt idx="154">
                  <c:v>610.80999999999995</c:v>
                </c:pt>
                <c:pt idx="155">
                  <c:v>611.4</c:v>
                </c:pt>
                <c:pt idx="156">
                  <c:v>610.80999999999995</c:v>
                </c:pt>
                <c:pt idx="157">
                  <c:v>611.4</c:v>
                </c:pt>
                <c:pt idx="158">
                  <c:v>611.4</c:v>
                </c:pt>
                <c:pt idx="159">
                  <c:v>609.01</c:v>
                </c:pt>
                <c:pt idx="160">
                  <c:v>612.01</c:v>
                </c:pt>
                <c:pt idx="161">
                  <c:v>610.80999999999995</c:v>
                </c:pt>
                <c:pt idx="162">
                  <c:v>609.61</c:v>
                </c:pt>
                <c:pt idx="163">
                  <c:v>612.01</c:v>
                </c:pt>
                <c:pt idx="164">
                  <c:v>609.61</c:v>
                </c:pt>
                <c:pt idx="165">
                  <c:v>609.01</c:v>
                </c:pt>
                <c:pt idx="166">
                  <c:v>610.80999999999995</c:v>
                </c:pt>
                <c:pt idx="167">
                  <c:v>609.01</c:v>
                </c:pt>
                <c:pt idx="168">
                  <c:v>611.4</c:v>
                </c:pt>
                <c:pt idx="169">
                  <c:v>611.4</c:v>
                </c:pt>
                <c:pt idx="170">
                  <c:v>613.21</c:v>
                </c:pt>
                <c:pt idx="171">
                  <c:v>610.21</c:v>
                </c:pt>
                <c:pt idx="172">
                  <c:v>609.01</c:v>
                </c:pt>
                <c:pt idx="173">
                  <c:v>611.4</c:v>
                </c:pt>
                <c:pt idx="174">
                  <c:v>610.80999999999995</c:v>
                </c:pt>
                <c:pt idx="175">
                  <c:v>611.4</c:v>
                </c:pt>
                <c:pt idx="176">
                  <c:v>610.21</c:v>
                </c:pt>
                <c:pt idx="177">
                  <c:v>609.61</c:v>
                </c:pt>
                <c:pt idx="178">
                  <c:v>610.80999999999995</c:v>
                </c:pt>
                <c:pt idx="179">
                  <c:v>611.4</c:v>
                </c:pt>
                <c:pt idx="180">
                  <c:v>611.4</c:v>
                </c:pt>
                <c:pt idx="181">
                  <c:v>610.80999999999995</c:v>
                </c:pt>
                <c:pt idx="182">
                  <c:v>612.01</c:v>
                </c:pt>
                <c:pt idx="183">
                  <c:v>612.01</c:v>
                </c:pt>
                <c:pt idx="184">
                  <c:v>612.01</c:v>
                </c:pt>
                <c:pt idx="185">
                  <c:v>609.61</c:v>
                </c:pt>
                <c:pt idx="186">
                  <c:v>609.01</c:v>
                </c:pt>
                <c:pt idx="187">
                  <c:v>609.61</c:v>
                </c:pt>
                <c:pt idx="188">
                  <c:v>611.4</c:v>
                </c:pt>
                <c:pt idx="189">
                  <c:v>609.01</c:v>
                </c:pt>
                <c:pt idx="190">
                  <c:v>609.01</c:v>
                </c:pt>
                <c:pt idx="191">
                  <c:v>611.4</c:v>
                </c:pt>
                <c:pt idx="192">
                  <c:v>609.61</c:v>
                </c:pt>
                <c:pt idx="193">
                  <c:v>609.61</c:v>
                </c:pt>
                <c:pt idx="194">
                  <c:v>611.4</c:v>
                </c:pt>
                <c:pt idx="195">
                  <c:v>609.61</c:v>
                </c:pt>
                <c:pt idx="196">
                  <c:v>610.80999999999995</c:v>
                </c:pt>
                <c:pt idx="197">
                  <c:v>612.61</c:v>
                </c:pt>
                <c:pt idx="198">
                  <c:v>610.80999999999995</c:v>
                </c:pt>
                <c:pt idx="199">
                  <c:v>610.21</c:v>
                </c:pt>
                <c:pt idx="200">
                  <c:v>612.01</c:v>
                </c:pt>
                <c:pt idx="201">
                  <c:v>609.61</c:v>
                </c:pt>
                <c:pt idx="202">
                  <c:v>609.61</c:v>
                </c:pt>
                <c:pt idx="203">
                  <c:v>610.80999999999995</c:v>
                </c:pt>
                <c:pt idx="204">
                  <c:v>611.4</c:v>
                </c:pt>
                <c:pt idx="205">
                  <c:v>609.01</c:v>
                </c:pt>
                <c:pt idx="206">
                  <c:v>609.01</c:v>
                </c:pt>
                <c:pt idx="207">
                  <c:v>611.4</c:v>
                </c:pt>
                <c:pt idx="208">
                  <c:v>610.80999999999995</c:v>
                </c:pt>
                <c:pt idx="209">
                  <c:v>608.4</c:v>
                </c:pt>
                <c:pt idx="210">
                  <c:v>610.21</c:v>
                </c:pt>
                <c:pt idx="211">
                  <c:v>610.80999999999995</c:v>
                </c:pt>
                <c:pt idx="212">
                  <c:v>610.21</c:v>
                </c:pt>
                <c:pt idx="213">
                  <c:v>611.4</c:v>
                </c:pt>
                <c:pt idx="214">
                  <c:v>610.21</c:v>
                </c:pt>
                <c:pt idx="215">
                  <c:v>610.21</c:v>
                </c:pt>
                <c:pt idx="216">
                  <c:v>611.4</c:v>
                </c:pt>
                <c:pt idx="217">
                  <c:v>609.61</c:v>
                </c:pt>
                <c:pt idx="218">
                  <c:v>610.21</c:v>
                </c:pt>
                <c:pt idx="219">
                  <c:v>612.01</c:v>
                </c:pt>
                <c:pt idx="220">
                  <c:v>609.01</c:v>
                </c:pt>
                <c:pt idx="221">
                  <c:v>612.01</c:v>
                </c:pt>
                <c:pt idx="222">
                  <c:v>609.61</c:v>
                </c:pt>
                <c:pt idx="223">
                  <c:v>611.4</c:v>
                </c:pt>
                <c:pt idx="224">
                  <c:v>607.21</c:v>
                </c:pt>
                <c:pt idx="225">
                  <c:v>610.80999999999995</c:v>
                </c:pt>
                <c:pt idx="226">
                  <c:v>609.61</c:v>
                </c:pt>
                <c:pt idx="227">
                  <c:v>609.01</c:v>
                </c:pt>
                <c:pt idx="228">
                  <c:v>610.21</c:v>
                </c:pt>
                <c:pt idx="229">
                  <c:v>608.4</c:v>
                </c:pt>
                <c:pt idx="230">
                  <c:v>610.80999999999995</c:v>
                </c:pt>
                <c:pt idx="231">
                  <c:v>609.61</c:v>
                </c:pt>
                <c:pt idx="232">
                  <c:v>609.61</c:v>
                </c:pt>
                <c:pt idx="233">
                  <c:v>611.4</c:v>
                </c:pt>
                <c:pt idx="234">
                  <c:v>608.4</c:v>
                </c:pt>
                <c:pt idx="235">
                  <c:v>610.21</c:v>
                </c:pt>
                <c:pt idx="236">
                  <c:v>611.4</c:v>
                </c:pt>
                <c:pt idx="237">
                  <c:v>609.61</c:v>
                </c:pt>
                <c:pt idx="238">
                  <c:v>609.01</c:v>
                </c:pt>
                <c:pt idx="239">
                  <c:v>610.80999999999995</c:v>
                </c:pt>
                <c:pt idx="240">
                  <c:v>609.61</c:v>
                </c:pt>
                <c:pt idx="241">
                  <c:v>610.80999999999995</c:v>
                </c:pt>
                <c:pt idx="242">
                  <c:v>608.4</c:v>
                </c:pt>
                <c:pt idx="243">
                  <c:v>611.4</c:v>
                </c:pt>
                <c:pt idx="244">
                  <c:v>610.21</c:v>
                </c:pt>
                <c:pt idx="245">
                  <c:v>610.80999999999995</c:v>
                </c:pt>
                <c:pt idx="246">
                  <c:v>608.4</c:v>
                </c:pt>
                <c:pt idx="247">
                  <c:v>612.01</c:v>
                </c:pt>
                <c:pt idx="248">
                  <c:v>609.61</c:v>
                </c:pt>
                <c:pt idx="249">
                  <c:v>611.4</c:v>
                </c:pt>
                <c:pt idx="250">
                  <c:v>611.4</c:v>
                </c:pt>
                <c:pt idx="251">
                  <c:v>611.4</c:v>
                </c:pt>
                <c:pt idx="252">
                  <c:v>609.61</c:v>
                </c:pt>
                <c:pt idx="253">
                  <c:v>609.01</c:v>
                </c:pt>
                <c:pt idx="254">
                  <c:v>610.21</c:v>
                </c:pt>
                <c:pt idx="255">
                  <c:v>607.80999999999995</c:v>
                </c:pt>
                <c:pt idx="256">
                  <c:v>609.01</c:v>
                </c:pt>
                <c:pt idx="257">
                  <c:v>609.61</c:v>
                </c:pt>
                <c:pt idx="258">
                  <c:v>612.01</c:v>
                </c:pt>
                <c:pt idx="259">
                  <c:v>611.4</c:v>
                </c:pt>
                <c:pt idx="260">
                  <c:v>611.4</c:v>
                </c:pt>
                <c:pt idx="261">
                  <c:v>609.01</c:v>
                </c:pt>
                <c:pt idx="262">
                  <c:v>610.80999999999995</c:v>
                </c:pt>
                <c:pt idx="263">
                  <c:v>612.01</c:v>
                </c:pt>
                <c:pt idx="264">
                  <c:v>608.4</c:v>
                </c:pt>
                <c:pt idx="265">
                  <c:v>611.4</c:v>
                </c:pt>
                <c:pt idx="266">
                  <c:v>610.80999999999995</c:v>
                </c:pt>
                <c:pt idx="267">
                  <c:v>610.80999999999995</c:v>
                </c:pt>
                <c:pt idx="268">
                  <c:v>609.61</c:v>
                </c:pt>
                <c:pt idx="269">
                  <c:v>609.01</c:v>
                </c:pt>
                <c:pt idx="270">
                  <c:v>610.80999999999995</c:v>
                </c:pt>
                <c:pt idx="271">
                  <c:v>612.01</c:v>
                </c:pt>
                <c:pt idx="272">
                  <c:v>610.80999999999995</c:v>
                </c:pt>
                <c:pt idx="273">
                  <c:v>611.4</c:v>
                </c:pt>
                <c:pt idx="274">
                  <c:v>612.01</c:v>
                </c:pt>
                <c:pt idx="275">
                  <c:v>612.61</c:v>
                </c:pt>
                <c:pt idx="276">
                  <c:v>608.4</c:v>
                </c:pt>
                <c:pt idx="277">
                  <c:v>612.01</c:v>
                </c:pt>
                <c:pt idx="278">
                  <c:v>612.01</c:v>
                </c:pt>
                <c:pt idx="279">
                  <c:v>611.4</c:v>
                </c:pt>
                <c:pt idx="280">
                  <c:v>610.21</c:v>
                </c:pt>
                <c:pt idx="281">
                  <c:v>612.01</c:v>
                </c:pt>
                <c:pt idx="282">
                  <c:v>612.61</c:v>
                </c:pt>
                <c:pt idx="283">
                  <c:v>612.61</c:v>
                </c:pt>
                <c:pt idx="284">
                  <c:v>609.61</c:v>
                </c:pt>
                <c:pt idx="285">
                  <c:v>608.4</c:v>
                </c:pt>
                <c:pt idx="286">
                  <c:v>610.21</c:v>
                </c:pt>
                <c:pt idx="287">
                  <c:v>609.61</c:v>
                </c:pt>
                <c:pt idx="288">
                  <c:v>607.80999999999995</c:v>
                </c:pt>
                <c:pt idx="289">
                  <c:v>612.01</c:v>
                </c:pt>
                <c:pt idx="290">
                  <c:v>612.61</c:v>
                </c:pt>
                <c:pt idx="291">
                  <c:v>610.21</c:v>
                </c:pt>
                <c:pt idx="292">
                  <c:v>609.01</c:v>
                </c:pt>
                <c:pt idx="293">
                  <c:v>609.01</c:v>
                </c:pt>
                <c:pt idx="294">
                  <c:v>609.61</c:v>
                </c:pt>
                <c:pt idx="295">
                  <c:v>609.61</c:v>
                </c:pt>
                <c:pt idx="296">
                  <c:v>609.61</c:v>
                </c:pt>
                <c:pt idx="297">
                  <c:v>609.61</c:v>
                </c:pt>
                <c:pt idx="298">
                  <c:v>610.21</c:v>
                </c:pt>
                <c:pt idx="299">
                  <c:v>610.21</c:v>
                </c:pt>
                <c:pt idx="300">
                  <c:v>609.61</c:v>
                </c:pt>
                <c:pt idx="301">
                  <c:v>612.01</c:v>
                </c:pt>
                <c:pt idx="302">
                  <c:v>612.61</c:v>
                </c:pt>
                <c:pt idx="303">
                  <c:v>609.61</c:v>
                </c:pt>
                <c:pt idx="304">
                  <c:v>610.80999999999995</c:v>
                </c:pt>
                <c:pt idx="305">
                  <c:v>612.01</c:v>
                </c:pt>
                <c:pt idx="306">
                  <c:v>610.21</c:v>
                </c:pt>
                <c:pt idx="307">
                  <c:v>609.01</c:v>
                </c:pt>
                <c:pt idx="308">
                  <c:v>610.80999999999995</c:v>
                </c:pt>
                <c:pt idx="309">
                  <c:v>610.80999999999995</c:v>
                </c:pt>
                <c:pt idx="310">
                  <c:v>609.01</c:v>
                </c:pt>
                <c:pt idx="311">
                  <c:v>609.01</c:v>
                </c:pt>
                <c:pt idx="312">
                  <c:v>610.80999999999995</c:v>
                </c:pt>
                <c:pt idx="313">
                  <c:v>612.01</c:v>
                </c:pt>
                <c:pt idx="314">
                  <c:v>610.80999999999995</c:v>
                </c:pt>
                <c:pt idx="315">
                  <c:v>608.4</c:v>
                </c:pt>
                <c:pt idx="316">
                  <c:v>610.21</c:v>
                </c:pt>
                <c:pt idx="317">
                  <c:v>610.21</c:v>
                </c:pt>
                <c:pt idx="318">
                  <c:v>610.21</c:v>
                </c:pt>
                <c:pt idx="319">
                  <c:v>610.80999999999995</c:v>
                </c:pt>
                <c:pt idx="320">
                  <c:v>608.4</c:v>
                </c:pt>
                <c:pt idx="321">
                  <c:v>610.21</c:v>
                </c:pt>
                <c:pt idx="322">
                  <c:v>610.80999999999995</c:v>
                </c:pt>
                <c:pt idx="323">
                  <c:v>611.4</c:v>
                </c:pt>
                <c:pt idx="324">
                  <c:v>611.4</c:v>
                </c:pt>
                <c:pt idx="325">
                  <c:v>608.4</c:v>
                </c:pt>
                <c:pt idx="326">
                  <c:v>611.4</c:v>
                </c:pt>
                <c:pt idx="327">
                  <c:v>610.21</c:v>
                </c:pt>
                <c:pt idx="328">
                  <c:v>611.4</c:v>
                </c:pt>
                <c:pt idx="329">
                  <c:v>608.4</c:v>
                </c:pt>
                <c:pt idx="330">
                  <c:v>612.61</c:v>
                </c:pt>
                <c:pt idx="331">
                  <c:v>610.21</c:v>
                </c:pt>
                <c:pt idx="332">
                  <c:v>610.21</c:v>
                </c:pt>
                <c:pt idx="333">
                  <c:v>613.21</c:v>
                </c:pt>
                <c:pt idx="334">
                  <c:v>610.80999999999995</c:v>
                </c:pt>
                <c:pt idx="335">
                  <c:v>610.21</c:v>
                </c:pt>
                <c:pt idx="336">
                  <c:v>609.61</c:v>
                </c:pt>
                <c:pt idx="337">
                  <c:v>611.4</c:v>
                </c:pt>
                <c:pt idx="338">
                  <c:v>610.21</c:v>
                </c:pt>
                <c:pt idx="339">
                  <c:v>610.80999999999995</c:v>
                </c:pt>
                <c:pt idx="340">
                  <c:v>609.61</c:v>
                </c:pt>
                <c:pt idx="341">
                  <c:v>613.21</c:v>
                </c:pt>
                <c:pt idx="342">
                  <c:v>609.01</c:v>
                </c:pt>
                <c:pt idx="343">
                  <c:v>607.80999999999995</c:v>
                </c:pt>
                <c:pt idx="344">
                  <c:v>610.21</c:v>
                </c:pt>
                <c:pt idx="345">
                  <c:v>607.21</c:v>
                </c:pt>
                <c:pt idx="346">
                  <c:v>608.4</c:v>
                </c:pt>
                <c:pt idx="347">
                  <c:v>609.01</c:v>
                </c:pt>
                <c:pt idx="348">
                  <c:v>611.4</c:v>
                </c:pt>
                <c:pt idx="349">
                  <c:v>611.4</c:v>
                </c:pt>
                <c:pt idx="350">
                  <c:v>611.4</c:v>
                </c:pt>
                <c:pt idx="351">
                  <c:v>613.21</c:v>
                </c:pt>
                <c:pt idx="352">
                  <c:v>609.01</c:v>
                </c:pt>
                <c:pt idx="353">
                  <c:v>611.4</c:v>
                </c:pt>
                <c:pt idx="354">
                  <c:v>610.80999999999995</c:v>
                </c:pt>
                <c:pt idx="355">
                  <c:v>610.80999999999995</c:v>
                </c:pt>
                <c:pt idx="356">
                  <c:v>609.01</c:v>
                </c:pt>
                <c:pt idx="357">
                  <c:v>612.01</c:v>
                </c:pt>
                <c:pt idx="358">
                  <c:v>610.80999999999995</c:v>
                </c:pt>
                <c:pt idx="359">
                  <c:v>611.4</c:v>
                </c:pt>
                <c:pt idx="360">
                  <c:v>609.61</c:v>
                </c:pt>
                <c:pt idx="361">
                  <c:v>612.61</c:v>
                </c:pt>
                <c:pt idx="362">
                  <c:v>610.80999999999995</c:v>
                </c:pt>
                <c:pt idx="363">
                  <c:v>609.61</c:v>
                </c:pt>
                <c:pt idx="364">
                  <c:v>612.01</c:v>
                </c:pt>
                <c:pt idx="365">
                  <c:v>610.80999999999995</c:v>
                </c:pt>
                <c:pt idx="366">
                  <c:v>610.21</c:v>
                </c:pt>
                <c:pt idx="367">
                  <c:v>612.61</c:v>
                </c:pt>
                <c:pt idx="368">
                  <c:v>613.21</c:v>
                </c:pt>
                <c:pt idx="369">
                  <c:v>613.21</c:v>
                </c:pt>
                <c:pt idx="370">
                  <c:v>613.21</c:v>
                </c:pt>
                <c:pt idx="371">
                  <c:v>610.21</c:v>
                </c:pt>
                <c:pt idx="372">
                  <c:v>610.80999999999995</c:v>
                </c:pt>
                <c:pt idx="373">
                  <c:v>611.4</c:v>
                </c:pt>
                <c:pt idx="374">
                  <c:v>611.4</c:v>
                </c:pt>
                <c:pt idx="375">
                  <c:v>609.61</c:v>
                </c:pt>
                <c:pt idx="376">
                  <c:v>609.61</c:v>
                </c:pt>
                <c:pt idx="377">
                  <c:v>609.61</c:v>
                </c:pt>
                <c:pt idx="378">
                  <c:v>610.21</c:v>
                </c:pt>
                <c:pt idx="379">
                  <c:v>611.4</c:v>
                </c:pt>
                <c:pt idx="380">
                  <c:v>610.21</c:v>
                </c:pt>
                <c:pt idx="381">
                  <c:v>607.21</c:v>
                </c:pt>
                <c:pt idx="382">
                  <c:v>610.80999999999995</c:v>
                </c:pt>
                <c:pt idx="383">
                  <c:v>611.4</c:v>
                </c:pt>
                <c:pt idx="384">
                  <c:v>609.61</c:v>
                </c:pt>
                <c:pt idx="385">
                  <c:v>610.21</c:v>
                </c:pt>
                <c:pt idx="386">
                  <c:v>609.01</c:v>
                </c:pt>
                <c:pt idx="387">
                  <c:v>612.01</c:v>
                </c:pt>
                <c:pt idx="388">
                  <c:v>612.01</c:v>
                </c:pt>
                <c:pt idx="389">
                  <c:v>610.80999999999995</c:v>
                </c:pt>
                <c:pt idx="390">
                  <c:v>612.61</c:v>
                </c:pt>
                <c:pt idx="391">
                  <c:v>610.80999999999995</c:v>
                </c:pt>
                <c:pt idx="392">
                  <c:v>609.01</c:v>
                </c:pt>
                <c:pt idx="393">
                  <c:v>610.80999999999995</c:v>
                </c:pt>
                <c:pt idx="394">
                  <c:v>608.4</c:v>
                </c:pt>
                <c:pt idx="395">
                  <c:v>608.4</c:v>
                </c:pt>
                <c:pt idx="396">
                  <c:v>610.21</c:v>
                </c:pt>
                <c:pt idx="397">
                  <c:v>612.01</c:v>
                </c:pt>
                <c:pt idx="398">
                  <c:v>609.61</c:v>
                </c:pt>
                <c:pt idx="399">
                  <c:v>609.61</c:v>
                </c:pt>
                <c:pt idx="400">
                  <c:v>610.21</c:v>
                </c:pt>
                <c:pt idx="401">
                  <c:v>609.61</c:v>
                </c:pt>
                <c:pt idx="402">
                  <c:v>610.80999999999995</c:v>
                </c:pt>
                <c:pt idx="403">
                  <c:v>611.4</c:v>
                </c:pt>
                <c:pt idx="404">
                  <c:v>611.4</c:v>
                </c:pt>
                <c:pt idx="405">
                  <c:v>610.80999999999995</c:v>
                </c:pt>
                <c:pt idx="406">
                  <c:v>610.80999999999995</c:v>
                </c:pt>
                <c:pt idx="407">
                  <c:v>612.61</c:v>
                </c:pt>
                <c:pt idx="408">
                  <c:v>610.21</c:v>
                </c:pt>
                <c:pt idx="409">
                  <c:v>610.80999999999995</c:v>
                </c:pt>
                <c:pt idx="410">
                  <c:v>610.80999999999995</c:v>
                </c:pt>
                <c:pt idx="411">
                  <c:v>610.21</c:v>
                </c:pt>
                <c:pt idx="412">
                  <c:v>613.21</c:v>
                </c:pt>
                <c:pt idx="413">
                  <c:v>610.21</c:v>
                </c:pt>
                <c:pt idx="414">
                  <c:v>612.61</c:v>
                </c:pt>
                <c:pt idx="415">
                  <c:v>610.80999999999995</c:v>
                </c:pt>
                <c:pt idx="416">
                  <c:v>612.01</c:v>
                </c:pt>
                <c:pt idx="417">
                  <c:v>610.21</c:v>
                </c:pt>
                <c:pt idx="418">
                  <c:v>609.61</c:v>
                </c:pt>
                <c:pt idx="419">
                  <c:v>609.61</c:v>
                </c:pt>
                <c:pt idx="420">
                  <c:v>610.21</c:v>
                </c:pt>
                <c:pt idx="421">
                  <c:v>609.01</c:v>
                </c:pt>
                <c:pt idx="422">
                  <c:v>608.4</c:v>
                </c:pt>
                <c:pt idx="423">
                  <c:v>611.4</c:v>
                </c:pt>
                <c:pt idx="424">
                  <c:v>608.4</c:v>
                </c:pt>
                <c:pt idx="425">
                  <c:v>610.21</c:v>
                </c:pt>
                <c:pt idx="426">
                  <c:v>612.01</c:v>
                </c:pt>
                <c:pt idx="427">
                  <c:v>612.01</c:v>
                </c:pt>
                <c:pt idx="428">
                  <c:v>610.21</c:v>
                </c:pt>
                <c:pt idx="429">
                  <c:v>610.80999999999995</c:v>
                </c:pt>
                <c:pt idx="430">
                  <c:v>609.01</c:v>
                </c:pt>
                <c:pt idx="431">
                  <c:v>609.01</c:v>
                </c:pt>
                <c:pt idx="432">
                  <c:v>611.4</c:v>
                </c:pt>
                <c:pt idx="433">
                  <c:v>609.01</c:v>
                </c:pt>
                <c:pt idx="434">
                  <c:v>611.4</c:v>
                </c:pt>
                <c:pt idx="435">
                  <c:v>610.80999999999995</c:v>
                </c:pt>
                <c:pt idx="436">
                  <c:v>612.01</c:v>
                </c:pt>
                <c:pt idx="437">
                  <c:v>612.61</c:v>
                </c:pt>
                <c:pt idx="438">
                  <c:v>609.01</c:v>
                </c:pt>
                <c:pt idx="439">
                  <c:v>610.21</c:v>
                </c:pt>
                <c:pt idx="440">
                  <c:v>610.80999999999995</c:v>
                </c:pt>
                <c:pt idx="441">
                  <c:v>608.4</c:v>
                </c:pt>
                <c:pt idx="442">
                  <c:v>607.80999999999995</c:v>
                </c:pt>
                <c:pt idx="443">
                  <c:v>610.21</c:v>
                </c:pt>
                <c:pt idx="444">
                  <c:v>610.80999999999995</c:v>
                </c:pt>
                <c:pt idx="445">
                  <c:v>610.80999999999995</c:v>
                </c:pt>
                <c:pt idx="446">
                  <c:v>607.80999999999995</c:v>
                </c:pt>
                <c:pt idx="447">
                  <c:v>609.01</c:v>
                </c:pt>
                <c:pt idx="448">
                  <c:v>611.4</c:v>
                </c:pt>
                <c:pt idx="449">
                  <c:v>609.01</c:v>
                </c:pt>
                <c:pt idx="450">
                  <c:v>612.01</c:v>
                </c:pt>
                <c:pt idx="451">
                  <c:v>607.80999999999995</c:v>
                </c:pt>
                <c:pt idx="452">
                  <c:v>608.4</c:v>
                </c:pt>
                <c:pt idx="453">
                  <c:v>610.80999999999995</c:v>
                </c:pt>
                <c:pt idx="454">
                  <c:v>611.4</c:v>
                </c:pt>
                <c:pt idx="455">
                  <c:v>612.61</c:v>
                </c:pt>
                <c:pt idx="456">
                  <c:v>609.61</c:v>
                </c:pt>
                <c:pt idx="457">
                  <c:v>610.21</c:v>
                </c:pt>
                <c:pt idx="458">
                  <c:v>610.21</c:v>
                </c:pt>
                <c:pt idx="459">
                  <c:v>612.01</c:v>
                </c:pt>
                <c:pt idx="460">
                  <c:v>610.21</c:v>
                </c:pt>
                <c:pt idx="461">
                  <c:v>611.4</c:v>
                </c:pt>
                <c:pt idx="462">
                  <c:v>607.80999999999995</c:v>
                </c:pt>
                <c:pt idx="463">
                  <c:v>612.61</c:v>
                </c:pt>
                <c:pt idx="464">
                  <c:v>610.21</c:v>
                </c:pt>
                <c:pt idx="465">
                  <c:v>611.4</c:v>
                </c:pt>
                <c:pt idx="466">
                  <c:v>611.4</c:v>
                </c:pt>
                <c:pt idx="467">
                  <c:v>607.80999999999995</c:v>
                </c:pt>
                <c:pt idx="468">
                  <c:v>609.61</c:v>
                </c:pt>
                <c:pt idx="469">
                  <c:v>610.80999999999995</c:v>
                </c:pt>
                <c:pt idx="470">
                  <c:v>610.80999999999995</c:v>
                </c:pt>
                <c:pt idx="471">
                  <c:v>612.61</c:v>
                </c:pt>
                <c:pt idx="472">
                  <c:v>610.21</c:v>
                </c:pt>
                <c:pt idx="473">
                  <c:v>610.80999999999995</c:v>
                </c:pt>
                <c:pt idx="474">
                  <c:v>609.61</c:v>
                </c:pt>
                <c:pt idx="475">
                  <c:v>610.80999999999995</c:v>
                </c:pt>
                <c:pt idx="476">
                  <c:v>613.21</c:v>
                </c:pt>
                <c:pt idx="477">
                  <c:v>612.61</c:v>
                </c:pt>
                <c:pt idx="478">
                  <c:v>610.80999999999995</c:v>
                </c:pt>
                <c:pt idx="479">
                  <c:v>611.4</c:v>
                </c:pt>
                <c:pt idx="480">
                  <c:v>610.21</c:v>
                </c:pt>
                <c:pt idx="481">
                  <c:v>609.01</c:v>
                </c:pt>
                <c:pt idx="482">
                  <c:v>612.01</c:v>
                </c:pt>
                <c:pt idx="483">
                  <c:v>610.80999999999995</c:v>
                </c:pt>
                <c:pt idx="484">
                  <c:v>612.01</c:v>
                </c:pt>
                <c:pt idx="485">
                  <c:v>611.4</c:v>
                </c:pt>
                <c:pt idx="486">
                  <c:v>609.61</c:v>
                </c:pt>
                <c:pt idx="487">
                  <c:v>611.4</c:v>
                </c:pt>
                <c:pt idx="488">
                  <c:v>609.61</c:v>
                </c:pt>
                <c:pt idx="489">
                  <c:v>607.21</c:v>
                </c:pt>
                <c:pt idx="490">
                  <c:v>609.01</c:v>
                </c:pt>
                <c:pt idx="491">
                  <c:v>610.21</c:v>
                </c:pt>
                <c:pt idx="492">
                  <c:v>611.4</c:v>
                </c:pt>
                <c:pt idx="493">
                  <c:v>611.4</c:v>
                </c:pt>
                <c:pt idx="494">
                  <c:v>609.01</c:v>
                </c:pt>
                <c:pt idx="495">
                  <c:v>609.61</c:v>
                </c:pt>
                <c:pt idx="496">
                  <c:v>610.80999999999995</c:v>
                </c:pt>
                <c:pt idx="497">
                  <c:v>608.4</c:v>
                </c:pt>
                <c:pt idx="498">
                  <c:v>609.61</c:v>
                </c:pt>
                <c:pt idx="499">
                  <c:v>611.4</c:v>
                </c:pt>
                <c:pt idx="500">
                  <c:v>609.01</c:v>
                </c:pt>
                <c:pt idx="501">
                  <c:v>609.61</c:v>
                </c:pt>
                <c:pt idx="502">
                  <c:v>610.80999999999995</c:v>
                </c:pt>
                <c:pt idx="503">
                  <c:v>611.4</c:v>
                </c:pt>
                <c:pt idx="504">
                  <c:v>609.61</c:v>
                </c:pt>
                <c:pt idx="505">
                  <c:v>610.21</c:v>
                </c:pt>
                <c:pt idx="506">
                  <c:v>609.61</c:v>
                </c:pt>
                <c:pt idx="507">
                  <c:v>610.21</c:v>
                </c:pt>
                <c:pt idx="508">
                  <c:v>609.61</c:v>
                </c:pt>
                <c:pt idx="509">
                  <c:v>610.80999999999995</c:v>
                </c:pt>
                <c:pt idx="510">
                  <c:v>610.80999999999995</c:v>
                </c:pt>
                <c:pt idx="511">
                  <c:v>610.80999999999995</c:v>
                </c:pt>
                <c:pt idx="512">
                  <c:v>613.21</c:v>
                </c:pt>
                <c:pt idx="513">
                  <c:v>612.61</c:v>
                </c:pt>
                <c:pt idx="514">
                  <c:v>610.21</c:v>
                </c:pt>
                <c:pt idx="515">
                  <c:v>611.4</c:v>
                </c:pt>
                <c:pt idx="516">
                  <c:v>610.80999999999995</c:v>
                </c:pt>
                <c:pt idx="517">
                  <c:v>610.80999999999995</c:v>
                </c:pt>
                <c:pt idx="518">
                  <c:v>608.4</c:v>
                </c:pt>
                <c:pt idx="519">
                  <c:v>612.01</c:v>
                </c:pt>
                <c:pt idx="520">
                  <c:v>610.21</c:v>
                </c:pt>
                <c:pt idx="521">
                  <c:v>612.01</c:v>
                </c:pt>
                <c:pt idx="522">
                  <c:v>611.4</c:v>
                </c:pt>
                <c:pt idx="523">
                  <c:v>610.21</c:v>
                </c:pt>
                <c:pt idx="524">
                  <c:v>608.4</c:v>
                </c:pt>
                <c:pt idx="525">
                  <c:v>608.4</c:v>
                </c:pt>
                <c:pt idx="526">
                  <c:v>609.01</c:v>
                </c:pt>
                <c:pt idx="527">
                  <c:v>609.61</c:v>
                </c:pt>
                <c:pt idx="528">
                  <c:v>609.61</c:v>
                </c:pt>
                <c:pt idx="529">
                  <c:v>608.4</c:v>
                </c:pt>
                <c:pt idx="530">
                  <c:v>610.21</c:v>
                </c:pt>
                <c:pt idx="531">
                  <c:v>613.21</c:v>
                </c:pt>
                <c:pt idx="532">
                  <c:v>609.01</c:v>
                </c:pt>
                <c:pt idx="533">
                  <c:v>610.80999999999995</c:v>
                </c:pt>
                <c:pt idx="534">
                  <c:v>608.4</c:v>
                </c:pt>
                <c:pt idx="535">
                  <c:v>609.01</c:v>
                </c:pt>
                <c:pt idx="536">
                  <c:v>608.4</c:v>
                </c:pt>
                <c:pt idx="537">
                  <c:v>604.21</c:v>
                </c:pt>
                <c:pt idx="538">
                  <c:v>600.01</c:v>
                </c:pt>
                <c:pt idx="539">
                  <c:v>598.80999999999995</c:v>
                </c:pt>
                <c:pt idx="540">
                  <c:v>595.80999999999995</c:v>
                </c:pt>
                <c:pt idx="541">
                  <c:v>592.21</c:v>
                </c:pt>
                <c:pt idx="542">
                  <c:v>586.80999999999995</c:v>
                </c:pt>
                <c:pt idx="543">
                  <c:v>583.21</c:v>
                </c:pt>
                <c:pt idx="544">
                  <c:v>579.61</c:v>
                </c:pt>
                <c:pt idx="545">
                  <c:v>574.21</c:v>
                </c:pt>
                <c:pt idx="546">
                  <c:v>568.21</c:v>
                </c:pt>
                <c:pt idx="547">
                  <c:v>565.21</c:v>
                </c:pt>
                <c:pt idx="548">
                  <c:v>562.21</c:v>
                </c:pt>
                <c:pt idx="549">
                  <c:v>560.4</c:v>
                </c:pt>
                <c:pt idx="550">
                  <c:v>560.4</c:v>
                </c:pt>
                <c:pt idx="551">
                  <c:v>559.21</c:v>
                </c:pt>
                <c:pt idx="552">
                  <c:v>555.61</c:v>
                </c:pt>
                <c:pt idx="553">
                  <c:v>552.61</c:v>
                </c:pt>
                <c:pt idx="554">
                  <c:v>552.01</c:v>
                </c:pt>
                <c:pt idx="555">
                  <c:v>549.01</c:v>
                </c:pt>
                <c:pt idx="556">
                  <c:v>550.21</c:v>
                </c:pt>
                <c:pt idx="557">
                  <c:v>548.4</c:v>
                </c:pt>
                <c:pt idx="558">
                  <c:v>546.61</c:v>
                </c:pt>
                <c:pt idx="559">
                  <c:v>548.4</c:v>
                </c:pt>
                <c:pt idx="560">
                  <c:v>543.01</c:v>
                </c:pt>
                <c:pt idx="561">
                  <c:v>545.4</c:v>
                </c:pt>
                <c:pt idx="562">
                  <c:v>543.61</c:v>
                </c:pt>
                <c:pt idx="563">
                  <c:v>542.4</c:v>
                </c:pt>
                <c:pt idx="564">
                  <c:v>539.4</c:v>
                </c:pt>
                <c:pt idx="565">
                  <c:v>540.61</c:v>
                </c:pt>
                <c:pt idx="566">
                  <c:v>538.80999999999995</c:v>
                </c:pt>
                <c:pt idx="567">
                  <c:v>537.01</c:v>
                </c:pt>
                <c:pt idx="568">
                  <c:v>536.4</c:v>
                </c:pt>
                <c:pt idx="569">
                  <c:v>535.80999999999995</c:v>
                </c:pt>
                <c:pt idx="570">
                  <c:v>535.21</c:v>
                </c:pt>
                <c:pt idx="571">
                  <c:v>532.80999999999995</c:v>
                </c:pt>
                <c:pt idx="572">
                  <c:v>529.80999999999995</c:v>
                </c:pt>
                <c:pt idx="573">
                  <c:v>531.01</c:v>
                </c:pt>
                <c:pt idx="574">
                  <c:v>530.4</c:v>
                </c:pt>
                <c:pt idx="575">
                  <c:v>528.01</c:v>
                </c:pt>
                <c:pt idx="576">
                  <c:v>523.80999999999995</c:v>
                </c:pt>
                <c:pt idx="577">
                  <c:v>525.01</c:v>
                </c:pt>
                <c:pt idx="578">
                  <c:v>524.4</c:v>
                </c:pt>
                <c:pt idx="579">
                  <c:v>523.80999999999995</c:v>
                </c:pt>
                <c:pt idx="580">
                  <c:v>522.61</c:v>
                </c:pt>
                <c:pt idx="581">
                  <c:v>522.61</c:v>
                </c:pt>
                <c:pt idx="582">
                  <c:v>522.01</c:v>
                </c:pt>
                <c:pt idx="583">
                  <c:v>520.21</c:v>
                </c:pt>
                <c:pt idx="584">
                  <c:v>519.01</c:v>
                </c:pt>
                <c:pt idx="585">
                  <c:v>519.61</c:v>
                </c:pt>
                <c:pt idx="586">
                  <c:v>517.21</c:v>
                </c:pt>
                <c:pt idx="587">
                  <c:v>518.4</c:v>
                </c:pt>
                <c:pt idx="588">
                  <c:v>516.61</c:v>
                </c:pt>
                <c:pt idx="589">
                  <c:v>515.4</c:v>
                </c:pt>
                <c:pt idx="590">
                  <c:v>513.61</c:v>
                </c:pt>
                <c:pt idx="591">
                  <c:v>516.01</c:v>
                </c:pt>
                <c:pt idx="592">
                  <c:v>513.61</c:v>
                </c:pt>
                <c:pt idx="593">
                  <c:v>514.21</c:v>
                </c:pt>
                <c:pt idx="594">
                  <c:v>510.61</c:v>
                </c:pt>
                <c:pt idx="595">
                  <c:v>511.21</c:v>
                </c:pt>
                <c:pt idx="596">
                  <c:v>511.21</c:v>
                </c:pt>
                <c:pt idx="597">
                  <c:v>507.01</c:v>
                </c:pt>
                <c:pt idx="598">
                  <c:v>507.01</c:v>
                </c:pt>
                <c:pt idx="599">
                  <c:v>505.21</c:v>
                </c:pt>
                <c:pt idx="600">
                  <c:v>504.01</c:v>
                </c:pt>
                <c:pt idx="601">
                  <c:v>500.4</c:v>
                </c:pt>
                <c:pt idx="602">
                  <c:v>500.4</c:v>
                </c:pt>
                <c:pt idx="603">
                  <c:v>499.21</c:v>
                </c:pt>
                <c:pt idx="604">
                  <c:v>494.4</c:v>
                </c:pt>
                <c:pt idx="605">
                  <c:v>492.61</c:v>
                </c:pt>
                <c:pt idx="606">
                  <c:v>491.4</c:v>
                </c:pt>
                <c:pt idx="607">
                  <c:v>487.21</c:v>
                </c:pt>
                <c:pt idx="608">
                  <c:v>480.61</c:v>
                </c:pt>
                <c:pt idx="609">
                  <c:v>479.4</c:v>
                </c:pt>
                <c:pt idx="610">
                  <c:v>473.4</c:v>
                </c:pt>
                <c:pt idx="611">
                  <c:v>472.21</c:v>
                </c:pt>
                <c:pt idx="612">
                  <c:v>463.81</c:v>
                </c:pt>
                <c:pt idx="613">
                  <c:v>459.61</c:v>
                </c:pt>
                <c:pt idx="614">
                  <c:v>453.01</c:v>
                </c:pt>
                <c:pt idx="615">
                  <c:v>445.21</c:v>
                </c:pt>
                <c:pt idx="616">
                  <c:v>436.81</c:v>
                </c:pt>
                <c:pt idx="617">
                  <c:v>429.01</c:v>
                </c:pt>
                <c:pt idx="618">
                  <c:v>421.81</c:v>
                </c:pt>
                <c:pt idx="619">
                  <c:v>412.81</c:v>
                </c:pt>
                <c:pt idx="620">
                  <c:v>403.21</c:v>
                </c:pt>
                <c:pt idx="621">
                  <c:v>393.01</c:v>
                </c:pt>
                <c:pt idx="622">
                  <c:v>387.01</c:v>
                </c:pt>
                <c:pt idx="623">
                  <c:v>376.81</c:v>
                </c:pt>
                <c:pt idx="624">
                  <c:v>367.21</c:v>
                </c:pt>
                <c:pt idx="625">
                  <c:v>355.21</c:v>
                </c:pt>
                <c:pt idx="626">
                  <c:v>344.4</c:v>
                </c:pt>
                <c:pt idx="627">
                  <c:v>337.81</c:v>
                </c:pt>
                <c:pt idx="628">
                  <c:v>325.81</c:v>
                </c:pt>
                <c:pt idx="629">
                  <c:v>316.81</c:v>
                </c:pt>
                <c:pt idx="630">
                  <c:v>306.01</c:v>
                </c:pt>
                <c:pt idx="631">
                  <c:v>295.81</c:v>
                </c:pt>
                <c:pt idx="632">
                  <c:v>285.61</c:v>
                </c:pt>
                <c:pt idx="633">
                  <c:v>279.61</c:v>
                </c:pt>
                <c:pt idx="634">
                  <c:v>268.81</c:v>
                </c:pt>
                <c:pt idx="635">
                  <c:v>261.61</c:v>
                </c:pt>
                <c:pt idx="636">
                  <c:v>251.4</c:v>
                </c:pt>
                <c:pt idx="637">
                  <c:v>244.81</c:v>
                </c:pt>
                <c:pt idx="638">
                  <c:v>235.81</c:v>
                </c:pt>
                <c:pt idx="639">
                  <c:v>229.21</c:v>
                </c:pt>
                <c:pt idx="640">
                  <c:v>222.61</c:v>
                </c:pt>
                <c:pt idx="641">
                  <c:v>215.4</c:v>
                </c:pt>
                <c:pt idx="642">
                  <c:v>208.81</c:v>
                </c:pt>
                <c:pt idx="643">
                  <c:v>201.61</c:v>
                </c:pt>
                <c:pt idx="644">
                  <c:v>197.4</c:v>
                </c:pt>
                <c:pt idx="645">
                  <c:v>191.4</c:v>
                </c:pt>
                <c:pt idx="646">
                  <c:v>185.4</c:v>
                </c:pt>
                <c:pt idx="647">
                  <c:v>177.01</c:v>
                </c:pt>
                <c:pt idx="648">
                  <c:v>174.61</c:v>
                </c:pt>
                <c:pt idx="649">
                  <c:v>168.61</c:v>
                </c:pt>
                <c:pt idx="650">
                  <c:v>165.01</c:v>
                </c:pt>
                <c:pt idx="651">
                  <c:v>157.21</c:v>
                </c:pt>
                <c:pt idx="652">
                  <c:v>153.61000000000001</c:v>
                </c:pt>
                <c:pt idx="653">
                  <c:v>148.81</c:v>
                </c:pt>
                <c:pt idx="654">
                  <c:v>144.61000000000001</c:v>
                </c:pt>
                <c:pt idx="655">
                  <c:v>137.4</c:v>
                </c:pt>
                <c:pt idx="656">
                  <c:v>133.81</c:v>
                </c:pt>
                <c:pt idx="657">
                  <c:v>131.4</c:v>
                </c:pt>
                <c:pt idx="658">
                  <c:v>127.21</c:v>
                </c:pt>
                <c:pt idx="659">
                  <c:v>121.21</c:v>
                </c:pt>
                <c:pt idx="660">
                  <c:v>115.81</c:v>
                </c:pt>
                <c:pt idx="661">
                  <c:v>114.01</c:v>
                </c:pt>
                <c:pt idx="662">
                  <c:v>110.4</c:v>
                </c:pt>
                <c:pt idx="663">
                  <c:v>106.21</c:v>
                </c:pt>
                <c:pt idx="664">
                  <c:v>103.21</c:v>
                </c:pt>
                <c:pt idx="665">
                  <c:v>100.81</c:v>
                </c:pt>
                <c:pt idx="666">
                  <c:v>97.21</c:v>
                </c:pt>
                <c:pt idx="667">
                  <c:v>93.61</c:v>
                </c:pt>
                <c:pt idx="668">
                  <c:v>92.4</c:v>
                </c:pt>
                <c:pt idx="669">
                  <c:v>87.61</c:v>
                </c:pt>
                <c:pt idx="670">
                  <c:v>83.4</c:v>
                </c:pt>
                <c:pt idx="671">
                  <c:v>81.010000000000005</c:v>
                </c:pt>
                <c:pt idx="672">
                  <c:v>80.400000000000006</c:v>
                </c:pt>
                <c:pt idx="673">
                  <c:v>77.400000000000006</c:v>
                </c:pt>
                <c:pt idx="674">
                  <c:v>75.61</c:v>
                </c:pt>
                <c:pt idx="675">
                  <c:v>72.61</c:v>
                </c:pt>
                <c:pt idx="676">
                  <c:v>72.61</c:v>
                </c:pt>
                <c:pt idx="677">
                  <c:v>70.209999999999994</c:v>
                </c:pt>
                <c:pt idx="678">
                  <c:v>67.8</c:v>
                </c:pt>
                <c:pt idx="679">
                  <c:v>64.8</c:v>
                </c:pt>
                <c:pt idx="680">
                  <c:v>63.61</c:v>
                </c:pt>
                <c:pt idx="681">
                  <c:v>62.4</c:v>
                </c:pt>
                <c:pt idx="682">
                  <c:v>62.4</c:v>
                </c:pt>
                <c:pt idx="683">
                  <c:v>60.61</c:v>
                </c:pt>
                <c:pt idx="684">
                  <c:v>58.21</c:v>
                </c:pt>
                <c:pt idx="685">
                  <c:v>56.4</c:v>
                </c:pt>
                <c:pt idx="686">
                  <c:v>59.4</c:v>
                </c:pt>
                <c:pt idx="687">
                  <c:v>52.8</c:v>
                </c:pt>
                <c:pt idx="688">
                  <c:v>55.21</c:v>
                </c:pt>
                <c:pt idx="689">
                  <c:v>51.01</c:v>
                </c:pt>
                <c:pt idx="690">
                  <c:v>52.8</c:v>
                </c:pt>
                <c:pt idx="691">
                  <c:v>49.8</c:v>
                </c:pt>
                <c:pt idx="692">
                  <c:v>52.21</c:v>
                </c:pt>
                <c:pt idx="693">
                  <c:v>50.4</c:v>
                </c:pt>
                <c:pt idx="694">
                  <c:v>46.8</c:v>
                </c:pt>
                <c:pt idx="695">
                  <c:v>46.21</c:v>
                </c:pt>
                <c:pt idx="696">
                  <c:v>44.4</c:v>
                </c:pt>
                <c:pt idx="697">
                  <c:v>43.8</c:v>
                </c:pt>
                <c:pt idx="698">
                  <c:v>45.01</c:v>
                </c:pt>
                <c:pt idx="699">
                  <c:v>40.799999999999997</c:v>
                </c:pt>
                <c:pt idx="700">
                  <c:v>42.61</c:v>
                </c:pt>
                <c:pt idx="701">
                  <c:v>41.4</c:v>
                </c:pt>
                <c:pt idx="702">
                  <c:v>39.61</c:v>
                </c:pt>
                <c:pt idx="703">
                  <c:v>37.799999999999997</c:v>
                </c:pt>
                <c:pt idx="704">
                  <c:v>37.799999999999997</c:v>
                </c:pt>
                <c:pt idx="705">
                  <c:v>37.21</c:v>
                </c:pt>
                <c:pt idx="706">
                  <c:v>39.01</c:v>
                </c:pt>
                <c:pt idx="707">
                  <c:v>36.01</c:v>
                </c:pt>
                <c:pt idx="708">
                  <c:v>34.21</c:v>
                </c:pt>
                <c:pt idx="709">
                  <c:v>34.21</c:v>
                </c:pt>
                <c:pt idx="710">
                  <c:v>34.799999999999997</c:v>
                </c:pt>
                <c:pt idx="711">
                  <c:v>31.21</c:v>
                </c:pt>
                <c:pt idx="712">
                  <c:v>34.21</c:v>
                </c:pt>
                <c:pt idx="713">
                  <c:v>32.4</c:v>
                </c:pt>
                <c:pt idx="714">
                  <c:v>31.21</c:v>
                </c:pt>
                <c:pt idx="715">
                  <c:v>31.8</c:v>
                </c:pt>
                <c:pt idx="716">
                  <c:v>31.8</c:v>
                </c:pt>
                <c:pt idx="717">
                  <c:v>33.01</c:v>
                </c:pt>
                <c:pt idx="718">
                  <c:v>28.8</c:v>
                </c:pt>
                <c:pt idx="719">
                  <c:v>30.61</c:v>
                </c:pt>
                <c:pt idx="720">
                  <c:v>29.4</c:v>
                </c:pt>
                <c:pt idx="721">
                  <c:v>29.4</c:v>
                </c:pt>
                <c:pt idx="722">
                  <c:v>30.01</c:v>
                </c:pt>
                <c:pt idx="723">
                  <c:v>26.4</c:v>
                </c:pt>
                <c:pt idx="724">
                  <c:v>28.21</c:v>
                </c:pt>
                <c:pt idx="725">
                  <c:v>26.4</c:v>
                </c:pt>
                <c:pt idx="726">
                  <c:v>25.21</c:v>
                </c:pt>
                <c:pt idx="727">
                  <c:v>28.21</c:v>
                </c:pt>
                <c:pt idx="728">
                  <c:v>26.4</c:v>
                </c:pt>
                <c:pt idx="729">
                  <c:v>24.01</c:v>
                </c:pt>
                <c:pt idx="730">
                  <c:v>23.4</c:v>
                </c:pt>
                <c:pt idx="731">
                  <c:v>22.8</c:v>
                </c:pt>
                <c:pt idx="732">
                  <c:v>26.4</c:v>
                </c:pt>
                <c:pt idx="733">
                  <c:v>24.01</c:v>
                </c:pt>
                <c:pt idx="734">
                  <c:v>21.61</c:v>
                </c:pt>
                <c:pt idx="735">
                  <c:v>22.21</c:v>
                </c:pt>
                <c:pt idx="736">
                  <c:v>23.4</c:v>
                </c:pt>
                <c:pt idx="737">
                  <c:v>21.61</c:v>
                </c:pt>
                <c:pt idx="738">
                  <c:v>22.8</c:v>
                </c:pt>
                <c:pt idx="739">
                  <c:v>21.61</c:v>
                </c:pt>
                <c:pt idx="740">
                  <c:v>21.01</c:v>
                </c:pt>
                <c:pt idx="741">
                  <c:v>20.399999999999999</c:v>
                </c:pt>
                <c:pt idx="742">
                  <c:v>19.8</c:v>
                </c:pt>
                <c:pt idx="743">
                  <c:v>19.8</c:v>
                </c:pt>
                <c:pt idx="744">
                  <c:v>20.399999999999999</c:v>
                </c:pt>
                <c:pt idx="745">
                  <c:v>17.399999999999999</c:v>
                </c:pt>
                <c:pt idx="746">
                  <c:v>20.399999999999999</c:v>
                </c:pt>
                <c:pt idx="747">
                  <c:v>18.61</c:v>
                </c:pt>
                <c:pt idx="748">
                  <c:v>16.8</c:v>
                </c:pt>
                <c:pt idx="749">
                  <c:v>16.21</c:v>
                </c:pt>
                <c:pt idx="750">
                  <c:v>16.21</c:v>
                </c:pt>
                <c:pt idx="751">
                  <c:v>17.399999999999999</c:v>
                </c:pt>
                <c:pt idx="752">
                  <c:v>16.21</c:v>
                </c:pt>
                <c:pt idx="753">
                  <c:v>17.399999999999999</c:v>
                </c:pt>
                <c:pt idx="754">
                  <c:v>16.8</c:v>
                </c:pt>
                <c:pt idx="755">
                  <c:v>15.01</c:v>
                </c:pt>
                <c:pt idx="756">
                  <c:v>15.61</c:v>
                </c:pt>
                <c:pt idx="757">
                  <c:v>13.8</c:v>
                </c:pt>
                <c:pt idx="758">
                  <c:v>16.8</c:v>
                </c:pt>
                <c:pt idx="759">
                  <c:v>14.4</c:v>
                </c:pt>
                <c:pt idx="760">
                  <c:v>12.61</c:v>
                </c:pt>
                <c:pt idx="761">
                  <c:v>14.4</c:v>
                </c:pt>
                <c:pt idx="762">
                  <c:v>15.61</c:v>
                </c:pt>
                <c:pt idx="763">
                  <c:v>12.01</c:v>
                </c:pt>
                <c:pt idx="764">
                  <c:v>15.01</c:v>
                </c:pt>
                <c:pt idx="765">
                  <c:v>15.61</c:v>
                </c:pt>
                <c:pt idx="766">
                  <c:v>12.61</c:v>
                </c:pt>
                <c:pt idx="767">
                  <c:v>14.4</c:v>
                </c:pt>
                <c:pt idx="768">
                  <c:v>12.01</c:v>
                </c:pt>
                <c:pt idx="769">
                  <c:v>12.01</c:v>
                </c:pt>
                <c:pt idx="770">
                  <c:v>15.01</c:v>
                </c:pt>
                <c:pt idx="771">
                  <c:v>11.4</c:v>
                </c:pt>
                <c:pt idx="772">
                  <c:v>12.61</c:v>
                </c:pt>
                <c:pt idx="773">
                  <c:v>12.61</c:v>
                </c:pt>
                <c:pt idx="774">
                  <c:v>12.01</c:v>
                </c:pt>
                <c:pt idx="775">
                  <c:v>12.61</c:v>
                </c:pt>
                <c:pt idx="776">
                  <c:v>13.8</c:v>
                </c:pt>
                <c:pt idx="777">
                  <c:v>12.61</c:v>
                </c:pt>
                <c:pt idx="778">
                  <c:v>13.21</c:v>
                </c:pt>
                <c:pt idx="779">
                  <c:v>11.4</c:v>
                </c:pt>
                <c:pt idx="780">
                  <c:v>10.8</c:v>
                </c:pt>
                <c:pt idx="781">
                  <c:v>6.61</c:v>
                </c:pt>
                <c:pt idx="782">
                  <c:v>10.210000000000001</c:v>
                </c:pt>
                <c:pt idx="783">
                  <c:v>10.8</c:v>
                </c:pt>
                <c:pt idx="784">
                  <c:v>9.61</c:v>
                </c:pt>
                <c:pt idx="785">
                  <c:v>10.8</c:v>
                </c:pt>
                <c:pt idx="786">
                  <c:v>9.61</c:v>
                </c:pt>
                <c:pt idx="787">
                  <c:v>9.61</c:v>
                </c:pt>
                <c:pt idx="788">
                  <c:v>12.01</c:v>
                </c:pt>
                <c:pt idx="789">
                  <c:v>10.210000000000001</c:v>
                </c:pt>
                <c:pt idx="790">
                  <c:v>9.61</c:v>
                </c:pt>
                <c:pt idx="791">
                  <c:v>9.61</c:v>
                </c:pt>
                <c:pt idx="792">
                  <c:v>10.8</c:v>
                </c:pt>
                <c:pt idx="793">
                  <c:v>10.8</c:v>
                </c:pt>
                <c:pt idx="794">
                  <c:v>9.61</c:v>
                </c:pt>
                <c:pt idx="795">
                  <c:v>9.01</c:v>
                </c:pt>
                <c:pt idx="796">
                  <c:v>9.01</c:v>
                </c:pt>
                <c:pt idx="797">
                  <c:v>10.210000000000001</c:v>
                </c:pt>
                <c:pt idx="798">
                  <c:v>10.8</c:v>
                </c:pt>
                <c:pt idx="799">
                  <c:v>8.4</c:v>
                </c:pt>
                <c:pt idx="800">
                  <c:v>8.4</c:v>
                </c:pt>
                <c:pt idx="801">
                  <c:v>9.01</c:v>
                </c:pt>
                <c:pt idx="802">
                  <c:v>9.61</c:v>
                </c:pt>
                <c:pt idx="803">
                  <c:v>10.210000000000001</c:v>
                </c:pt>
                <c:pt idx="804">
                  <c:v>9.61</c:v>
                </c:pt>
                <c:pt idx="805">
                  <c:v>8.4</c:v>
                </c:pt>
                <c:pt idx="806">
                  <c:v>7.21</c:v>
                </c:pt>
                <c:pt idx="807">
                  <c:v>6.61</c:v>
                </c:pt>
                <c:pt idx="808">
                  <c:v>8.4</c:v>
                </c:pt>
                <c:pt idx="809">
                  <c:v>9.01</c:v>
                </c:pt>
                <c:pt idx="810">
                  <c:v>9.01</c:v>
                </c:pt>
                <c:pt idx="811">
                  <c:v>9.61</c:v>
                </c:pt>
                <c:pt idx="812">
                  <c:v>7.21</c:v>
                </c:pt>
                <c:pt idx="813">
                  <c:v>7.21</c:v>
                </c:pt>
                <c:pt idx="814">
                  <c:v>8.4</c:v>
                </c:pt>
                <c:pt idx="815">
                  <c:v>6.01</c:v>
                </c:pt>
                <c:pt idx="816">
                  <c:v>9.01</c:v>
                </c:pt>
                <c:pt idx="817">
                  <c:v>6.01</c:v>
                </c:pt>
                <c:pt idx="818">
                  <c:v>4.21</c:v>
                </c:pt>
                <c:pt idx="819">
                  <c:v>6.61</c:v>
                </c:pt>
                <c:pt idx="820">
                  <c:v>6.61</c:v>
                </c:pt>
                <c:pt idx="821">
                  <c:v>6.61</c:v>
                </c:pt>
                <c:pt idx="822">
                  <c:v>5.4</c:v>
                </c:pt>
                <c:pt idx="823">
                  <c:v>7.21</c:v>
                </c:pt>
                <c:pt idx="824">
                  <c:v>8.4</c:v>
                </c:pt>
                <c:pt idx="825">
                  <c:v>5.4</c:v>
                </c:pt>
                <c:pt idx="826">
                  <c:v>7.21</c:v>
                </c:pt>
                <c:pt idx="827">
                  <c:v>8.4</c:v>
                </c:pt>
                <c:pt idx="828">
                  <c:v>7.8</c:v>
                </c:pt>
                <c:pt idx="829">
                  <c:v>6.61</c:v>
                </c:pt>
                <c:pt idx="830">
                  <c:v>9.61</c:v>
                </c:pt>
                <c:pt idx="831">
                  <c:v>6.61</c:v>
                </c:pt>
                <c:pt idx="832">
                  <c:v>7.21</c:v>
                </c:pt>
                <c:pt idx="833">
                  <c:v>6.01</c:v>
                </c:pt>
                <c:pt idx="834">
                  <c:v>6.61</c:v>
                </c:pt>
                <c:pt idx="835">
                  <c:v>7.21</c:v>
                </c:pt>
                <c:pt idx="836">
                  <c:v>6.01</c:v>
                </c:pt>
                <c:pt idx="837">
                  <c:v>6.61</c:v>
                </c:pt>
                <c:pt idx="838">
                  <c:v>6.61</c:v>
                </c:pt>
                <c:pt idx="839">
                  <c:v>7.8</c:v>
                </c:pt>
                <c:pt idx="840">
                  <c:v>5.4</c:v>
                </c:pt>
                <c:pt idx="841">
                  <c:v>5.4</c:v>
                </c:pt>
                <c:pt idx="842">
                  <c:v>5.4</c:v>
                </c:pt>
                <c:pt idx="843">
                  <c:v>3.61</c:v>
                </c:pt>
                <c:pt idx="844">
                  <c:v>4.8</c:v>
                </c:pt>
                <c:pt idx="845">
                  <c:v>4.8</c:v>
                </c:pt>
                <c:pt idx="846">
                  <c:v>6.01</c:v>
                </c:pt>
                <c:pt idx="847">
                  <c:v>6.01</c:v>
                </c:pt>
                <c:pt idx="848">
                  <c:v>3.61</c:v>
                </c:pt>
                <c:pt idx="849">
                  <c:v>7.21</c:v>
                </c:pt>
                <c:pt idx="850">
                  <c:v>7.21</c:v>
                </c:pt>
                <c:pt idx="851">
                  <c:v>6.01</c:v>
                </c:pt>
                <c:pt idx="852">
                  <c:v>4.21</c:v>
                </c:pt>
                <c:pt idx="853">
                  <c:v>6.61</c:v>
                </c:pt>
                <c:pt idx="854">
                  <c:v>4.8</c:v>
                </c:pt>
                <c:pt idx="855">
                  <c:v>4.8</c:v>
                </c:pt>
                <c:pt idx="856">
                  <c:v>4.21</c:v>
                </c:pt>
                <c:pt idx="857">
                  <c:v>6.01</c:v>
                </c:pt>
                <c:pt idx="858">
                  <c:v>7.8</c:v>
                </c:pt>
                <c:pt idx="859">
                  <c:v>6.01</c:v>
                </c:pt>
                <c:pt idx="860">
                  <c:v>3.61</c:v>
                </c:pt>
                <c:pt idx="861">
                  <c:v>6.01</c:v>
                </c:pt>
                <c:pt idx="862">
                  <c:v>3.01</c:v>
                </c:pt>
                <c:pt idx="863">
                  <c:v>3.61</c:v>
                </c:pt>
                <c:pt idx="864">
                  <c:v>5.4</c:v>
                </c:pt>
                <c:pt idx="865">
                  <c:v>4.21</c:v>
                </c:pt>
                <c:pt idx="866">
                  <c:v>4.21</c:v>
                </c:pt>
                <c:pt idx="867">
                  <c:v>4.21</c:v>
                </c:pt>
                <c:pt idx="868">
                  <c:v>5.4</c:v>
                </c:pt>
                <c:pt idx="869">
                  <c:v>6.01</c:v>
                </c:pt>
                <c:pt idx="870">
                  <c:v>4.8</c:v>
                </c:pt>
                <c:pt idx="871">
                  <c:v>4.21</c:v>
                </c:pt>
                <c:pt idx="872">
                  <c:v>3.01</c:v>
                </c:pt>
                <c:pt idx="873">
                  <c:v>4.21</c:v>
                </c:pt>
                <c:pt idx="874">
                  <c:v>4.21</c:v>
                </c:pt>
                <c:pt idx="875">
                  <c:v>7.21</c:v>
                </c:pt>
                <c:pt idx="876">
                  <c:v>3.61</c:v>
                </c:pt>
                <c:pt idx="877">
                  <c:v>3.61</c:v>
                </c:pt>
                <c:pt idx="878">
                  <c:v>2.4</c:v>
                </c:pt>
                <c:pt idx="879">
                  <c:v>3.61</c:v>
                </c:pt>
                <c:pt idx="880">
                  <c:v>3.61</c:v>
                </c:pt>
                <c:pt idx="881">
                  <c:v>6.61</c:v>
                </c:pt>
                <c:pt idx="882">
                  <c:v>5.4</c:v>
                </c:pt>
                <c:pt idx="883">
                  <c:v>4.8</c:v>
                </c:pt>
                <c:pt idx="884">
                  <c:v>3.01</c:v>
                </c:pt>
                <c:pt idx="885">
                  <c:v>3.61</c:v>
                </c:pt>
                <c:pt idx="886">
                  <c:v>4.21</c:v>
                </c:pt>
                <c:pt idx="887">
                  <c:v>4.8</c:v>
                </c:pt>
                <c:pt idx="888">
                  <c:v>3.01</c:v>
                </c:pt>
                <c:pt idx="889">
                  <c:v>5.4</c:v>
                </c:pt>
                <c:pt idx="890">
                  <c:v>4.21</c:v>
                </c:pt>
                <c:pt idx="891">
                  <c:v>1.8</c:v>
                </c:pt>
                <c:pt idx="892">
                  <c:v>4.8</c:v>
                </c:pt>
                <c:pt idx="893">
                  <c:v>3.01</c:v>
                </c:pt>
                <c:pt idx="894">
                  <c:v>4.21</c:v>
                </c:pt>
                <c:pt idx="895">
                  <c:v>3.01</c:v>
                </c:pt>
                <c:pt idx="896">
                  <c:v>3.61</c:v>
                </c:pt>
                <c:pt idx="897">
                  <c:v>2.4</c:v>
                </c:pt>
                <c:pt idx="898">
                  <c:v>3.61</c:v>
                </c:pt>
                <c:pt idx="899">
                  <c:v>1.21</c:v>
                </c:pt>
                <c:pt idx="900">
                  <c:v>4.21</c:v>
                </c:pt>
                <c:pt idx="901">
                  <c:v>2.4</c:v>
                </c:pt>
                <c:pt idx="902">
                  <c:v>2.4</c:v>
                </c:pt>
                <c:pt idx="903">
                  <c:v>3.01</c:v>
                </c:pt>
                <c:pt idx="904">
                  <c:v>3.01</c:v>
                </c:pt>
                <c:pt idx="905">
                  <c:v>0.61</c:v>
                </c:pt>
                <c:pt idx="906">
                  <c:v>3.01</c:v>
                </c:pt>
                <c:pt idx="907">
                  <c:v>2.4</c:v>
                </c:pt>
                <c:pt idx="908">
                  <c:v>4.21</c:v>
                </c:pt>
                <c:pt idx="909">
                  <c:v>4.8</c:v>
                </c:pt>
                <c:pt idx="910">
                  <c:v>0.61</c:v>
                </c:pt>
                <c:pt idx="911">
                  <c:v>3.01</c:v>
                </c:pt>
                <c:pt idx="912">
                  <c:v>3.61</c:v>
                </c:pt>
                <c:pt idx="913">
                  <c:v>1.21</c:v>
                </c:pt>
                <c:pt idx="914">
                  <c:v>2.4</c:v>
                </c:pt>
                <c:pt idx="915">
                  <c:v>3.01</c:v>
                </c:pt>
                <c:pt idx="916">
                  <c:v>2.4</c:v>
                </c:pt>
                <c:pt idx="917">
                  <c:v>3.01</c:v>
                </c:pt>
                <c:pt idx="918">
                  <c:v>1.8</c:v>
                </c:pt>
                <c:pt idx="919">
                  <c:v>3.01</c:v>
                </c:pt>
                <c:pt idx="920">
                  <c:v>3.01</c:v>
                </c:pt>
                <c:pt idx="921">
                  <c:v>2.4</c:v>
                </c:pt>
                <c:pt idx="922">
                  <c:v>2.4</c:v>
                </c:pt>
                <c:pt idx="923">
                  <c:v>3.61</c:v>
                </c:pt>
                <c:pt idx="924">
                  <c:v>3.01</c:v>
                </c:pt>
                <c:pt idx="925">
                  <c:v>2.4</c:v>
                </c:pt>
                <c:pt idx="926">
                  <c:v>0.61</c:v>
                </c:pt>
                <c:pt idx="927">
                  <c:v>3.01</c:v>
                </c:pt>
                <c:pt idx="928">
                  <c:v>0.01</c:v>
                </c:pt>
                <c:pt idx="929">
                  <c:v>3.01</c:v>
                </c:pt>
                <c:pt idx="930">
                  <c:v>1.8</c:v>
                </c:pt>
                <c:pt idx="931">
                  <c:v>5.4</c:v>
                </c:pt>
                <c:pt idx="932">
                  <c:v>3.01</c:v>
                </c:pt>
                <c:pt idx="933">
                  <c:v>2.4</c:v>
                </c:pt>
                <c:pt idx="934">
                  <c:v>2.4</c:v>
                </c:pt>
                <c:pt idx="935">
                  <c:v>2.4</c:v>
                </c:pt>
                <c:pt idx="936">
                  <c:v>2.4</c:v>
                </c:pt>
                <c:pt idx="937">
                  <c:v>3.61</c:v>
                </c:pt>
                <c:pt idx="938">
                  <c:v>3.61</c:v>
                </c:pt>
                <c:pt idx="939">
                  <c:v>3.01</c:v>
                </c:pt>
                <c:pt idx="940">
                  <c:v>3.61</c:v>
                </c:pt>
                <c:pt idx="941">
                  <c:v>2.4</c:v>
                </c:pt>
                <c:pt idx="942">
                  <c:v>1.8</c:v>
                </c:pt>
                <c:pt idx="943">
                  <c:v>2.4</c:v>
                </c:pt>
                <c:pt idx="944">
                  <c:v>3.61</c:v>
                </c:pt>
                <c:pt idx="945">
                  <c:v>0.61</c:v>
                </c:pt>
                <c:pt idx="946">
                  <c:v>1.21</c:v>
                </c:pt>
                <c:pt idx="947">
                  <c:v>1.21</c:v>
                </c:pt>
                <c:pt idx="948">
                  <c:v>1.21</c:v>
                </c:pt>
                <c:pt idx="949">
                  <c:v>0.61</c:v>
                </c:pt>
                <c:pt idx="950">
                  <c:v>2.4</c:v>
                </c:pt>
                <c:pt idx="951">
                  <c:v>3.61</c:v>
                </c:pt>
                <c:pt idx="952">
                  <c:v>1.8</c:v>
                </c:pt>
                <c:pt idx="953">
                  <c:v>0.01</c:v>
                </c:pt>
                <c:pt idx="954">
                  <c:v>1.8</c:v>
                </c:pt>
                <c:pt idx="955">
                  <c:v>2.4</c:v>
                </c:pt>
                <c:pt idx="956">
                  <c:v>2.4</c:v>
                </c:pt>
                <c:pt idx="957">
                  <c:v>1.8</c:v>
                </c:pt>
                <c:pt idx="958">
                  <c:v>1.8</c:v>
                </c:pt>
                <c:pt idx="959">
                  <c:v>3.01</c:v>
                </c:pt>
                <c:pt idx="960">
                  <c:v>4.21</c:v>
                </c:pt>
                <c:pt idx="961">
                  <c:v>1.21</c:v>
                </c:pt>
                <c:pt idx="962">
                  <c:v>1.8</c:v>
                </c:pt>
                <c:pt idx="963">
                  <c:v>0.01</c:v>
                </c:pt>
                <c:pt idx="964">
                  <c:v>1.8</c:v>
                </c:pt>
                <c:pt idx="965">
                  <c:v>0.01</c:v>
                </c:pt>
                <c:pt idx="966">
                  <c:v>3.61</c:v>
                </c:pt>
                <c:pt idx="967">
                  <c:v>3.01</c:v>
                </c:pt>
                <c:pt idx="968">
                  <c:v>0.01</c:v>
                </c:pt>
                <c:pt idx="969">
                  <c:v>1.8</c:v>
                </c:pt>
                <c:pt idx="970">
                  <c:v>2.4</c:v>
                </c:pt>
                <c:pt idx="971">
                  <c:v>1.8</c:v>
                </c:pt>
                <c:pt idx="972">
                  <c:v>2.4</c:v>
                </c:pt>
                <c:pt idx="973">
                  <c:v>2.4</c:v>
                </c:pt>
                <c:pt idx="974">
                  <c:v>2.4</c:v>
                </c:pt>
                <c:pt idx="975">
                  <c:v>1.8</c:v>
                </c:pt>
                <c:pt idx="976">
                  <c:v>1.8</c:v>
                </c:pt>
                <c:pt idx="977">
                  <c:v>1.8</c:v>
                </c:pt>
                <c:pt idx="978">
                  <c:v>0.61</c:v>
                </c:pt>
                <c:pt idx="979">
                  <c:v>1.8</c:v>
                </c:pt>
                <c:pt idx="980">
                  <c:v>3.01</c:v>
                </c:pt>
                <c:pt idx="981">
                  <c:v>1.8</c:v>
                </c:pt>
                <c:pt idx="982">
                  <c:v>3.01</c:v>
                </c:pt>
                <c:pt idx="983">
                  <c:v>3.01</c:v>
                </c:pt>
                <c:pt idx="984">
                  <c:v>-0.6</c:v>
                </c:pt>
                <c:pt idx="985">
                  <c:v>1.8</c:v>
                </c:pt>
                <c:pt idx="986">
                  <c:v>1.21</c:v>
                </c:pt>
                <c:pt idx="987">
                  <c:v>1.8</c:v>
                </c:pt>
                <c:pt idx="988">
                  <c:v>-0.6</c:v>
                </c:pt>
                <c:pt idx="989">
                  <c:v>1.8</c:v>
                </c:pt>
                <c:pt idx="990">
                  <c:v>2.4</c:v>
                </c:pt>
                <c:pt idx="991">
                  <c:v>1.8</c:v>
                </c:pt>
                <c:pt idx="992">
                  <c:v>1.21</c:v>
                </c:pt>
                <c:pt idx="993">
                  <c:v>2.4</c:v>
                </c:pt>
                <c:pt idx="994">
                  <c:v>-0.6</c:v>
                </c:pt>
                <c:pt idx="995">
                  <c:v>0.01</c:v>
                </c:pt>
                <c:pt idx="996">
                  <c:v>0.61</c:v>
                </c:pt>
                <c:pt idx="997">
                  <c:v>1.21</c:v>
                </c:pt>
                <c:pt idx="998">
                  <c:v>0.61</c:v>
                </c:pt>
                <c:pt idx="999">
                  <c:v>0.01</c:v>
                </c:pt>
                <c:pt idx="1000">
                  <c:v>-0.6</c:v>
                </c:pt>
                <c:pt idx="1001">
                  <c:v>2.4</c:v>
                </c:pt>
                <c:pt idx="1002">
                  <c:v>3.61</c:v>
                </c:pt>
                <c:pt idx="1003">
                  <c:v>1.21</c:v>
                </c:pt>
                <c:pt idx="1004">
                  <c:v>-0.6</c:v>
                </c:pt>
                <c:pt idx="1005">
                  <c:v>1.8</c:v>
                </c:pt>
                <c:pt idx="1006">
                  <c:v>2.4</c:v>
                </c:pt>
                <c:pt idx="1007">
                  <c:v>1.8</c:v>
                </c:pt>
                <c:pt idx="1008">
                  <c:v>0.61</c:v>
                </c:pt>
                <c:pt idx="1009">
                  <c:v>-0.6</c:v>
                </c:pt>
                <c:pt idx="1010">
                  <c:v>1.21</c:v>
                </c:pt>
                <c:pt idx="1011">
                  <c:v>0.01</c:v>
                </c:pt>
                <c:pt idx="1012">
                  <c:v>3.01</c:v>
                </c:pt>
                <c:pt idx="1013">
                  <c:v>1.8</c:v>
                </c:pt>
                <c:pt idx="1014">
                  <c:v>1.8</c:v>
                </c:pt>
                <c:pt idx="1015">
                  <c:v>2.4</c:v>
                </c:pt>
                <c:pt idx="1016">
                  <c:v>2.4</c:v>
                </c:pt>
                <c:pt idx="1017">
                  <c:v>1.8</c:v>
                </c:pt>
                <c:pt idx="1018">
                  <c:v>0.01</c:v>
                </c:pt>
                <c:pt idx="1019">
                  <c:v>2.4</c:v>
                </c:pt>
                <c:pt idx="1020">
                  <c:v>0.01</c:v>
                </c:pt>
                <c:pt idx="1021">
                  <c:v>0.01</c:v>
                </c:pt>
                <c:pt idx="1022">
                  <c:v>1.8</c:v>
                </c:pt>
                <c:pt idx="1023">
                  <c:v>0.01</c:v>
                </c:pt>
                <c:pt idx="1024">
                  <c:v>1.21</c:v>
                </c:pt>
                <c:pt idx="1025">
                  <c:v>3.01</c:v>
                </c:pt>
                <c:pt idx="1026">
                  <c:v>2.4</c:v>
                </c:pt>
                <c:pt idx="1027">
                  <c:v>0.01</c:v>
                </c:pt>
                <c:pt idx="1028">
                  <c:v>2.4</c:v>
                </c:pt>
                <c:pt idx="1029">
                  <c:v>-0.6</c:v>
                </c:pt>
                <c:pt idx="1030">
                  <c:v>1.8</c:v>
                </c:pt>
                <c:pt idx="1031">
                  <c:v>2.4</c:v>
                </c:pt>
                <c:pt idx="1032">
                  <c:v>1.21</c:v>
                </c:pt>
                <c:pt idx="1033">
                  <c:v>-0.6</c:v>
                </c:pt>
                <c:pt idx="1034">
                  <c:v>0.01</c:v>
                </c:pt>
                <c:pt idx="1035">
                  <c:v>-0.6</c:v>
                </c:pt>
                <c:pt idx="1036">
                  <c:v>1.21</c:v>
                </c:pt>
                <c:pt idx="1037">
                  <c:v>1.21</c:v>
                </c:pt>
                <c:pt idx="1038">
                  <c:v>0.01</c:v>
                </c:pt>
                <c:pt idx="1039">
                  <c:v>0.01</c:v>
                </c:pt>
                <c:pt idx="1040">
                  <c:v>3.01</c:v>
                </c:pt>
                <c:pt idx="1041">
                  <c:v>4.21</c:v>
                </c:pt>
                <c:pt idx="1042">
                  <c:v>1.21</c:v>
                </c:pt>
                <c:pt idx="1043">
                  <c:v>1.21</c:v>
                </c:pt>
                <c:pt idx="1044">
                  <c:v>0.61</c:v>
                </c:pt>
                <c:pt idx="1045">
                  <c:v>1.8</c:v>
                </c:pt>
                <c:pt idx="1046">
                  <c:v>1.21</c:v>
                </c:pt>
                <c:pt idx="1047">
                  <c:v>0.01</c:v>
                </c:pt>
                <c:pt idx="1048">
                  <c:v>1.21</c:v>
                </c:pt>
                <c:pt idx="1049">
                  <c:v>0.01</c:v>
                </c:pt>
                <c:pt idx="1050">
                  <c:v>1.21</c:v>
                </c:pt>
                <c:pt idx="1051">
                  <c:v>0.01</c:v>
                </c:pt>
                <c:pt idx="1052">
                  <c:v>0.01</c:v>
                </c:pt>
                <c:pt idx="1053">
                  <c:v>0.01</c:v>
                </c:pt>
                <c:pt idx="1054">
                  <c:v>1.21</c:v>
                </c:pt>
                <c:pt idx="1055">
                  <c:v>1.21</c:v>
                </c:pt>
                <c:pt idx="1056">
                  <c:v>0.61</c:v>
                </c:pt>
                <c:pt idx="1057">
                  <c:v>1.8</c:v>
                </c:pt>
                <c:pt idx="1058">
                  <c:v>-0.6</c:v>
                </c:pt>
                <c:pt idx="1059">
                  <c:v>-1.79</c:v>
                </c:pt>
                <c:pt idx="1060">
                  <c:v>1.21</c:v>
                </c:pt>
                <c:pt idx="1061">
                  <c:v>1.8</c:v>
                </c:pt>
                <c:pt idx="1062">
                  <c:v>0.01</c:v>
                </c:pt>
                <c:pt idx="1063">
                  <c:v>-0.6</c:v>
                </c:pt>
                <c:pt idx="1064">
                  <c:v>1.21</c:v>
                </c:pt>
                <c:pt idx="1065">
                  <c:v>0.61</c:v>
                </c:pt>
                <c:pt idx="1066">
                  <c:v>0.01</c:v>
                </c:pt>
                <c:pt idx="1067">
                  <c:v>0.61</c:v>
                </c:pt>
                <c:pt idx="1068">
                  <c:v>-0.6</c:v>
                </c:pt>
                <c:pt idx="1069">
                  <c:v>1.8</c:v>
                </c:pt>
                <c:pt idx="1070">
                  <c:v>-0.6</c:v>
                </c:pt>
                <c:pt idx="1071">
                  <c:v>-1.2</c:v>
                </c:pt>
                <c:pt idx="1072">
                  <c:v>0.01</c:v>
                </c:pt>
                <c:pt idx="1073">
                  <c:v>1.21</c:v>
                </c:pt>
                <c:pt idx="1074">
                  <c:v>1.21</c:v>
                </c:pt>
                <c:pt idx="1075">
                  <c:v>1.21</c:v>
                </c:pt>
                <c:pt idx="1076">
                  <c:v>-0.6</c:v>
                </c:pt>
                <c:pt idx="1077">
                  <c:v>2.4</c:v>
                </c:pt>
                <c:pt idx="1078">
                  <c:v>1.8</c:v>
                </c:pt>
                <c:pt idx="1079">
                  <c:v>2.4</c:v>
                </c:pt>
                <c:pt idx="1080">
                  <c:v>0.61</c:v>
                </c:pt>
                <c:pt idx="1081">
                  <c:v>-0.6</c:v>
                </c:pt>
                <c:pt idx="1082">
                  <c:v>-0.6</c:v>
                </c:pt>
                <c:pt idx="1083">
                  <c:v>0.01</c:v>
                </c:pt>
                <c:pt idx="1084">
                  <c:v>-0.6</c:v>
                </c:pt>
                <c:pt idx="1085">
                  <c:v>1.21</c:v>
                </c:pt>
                <c:pt idx="1086">
                  <c:v>1.21</c:v>
                </c:pt>
                <c:pt idx="1087">
                  <c:v>-0.6</c:v>
                </c:pt>
                <c:pt idx="1088">
                  <c:v>0.61</c:v>
                </c:pt>
                <c:pt idx="1089">
                  <c:v>0.01</c:v>
                </c:pt>
                <c:pt idx="1090">
                  <c:v>1.21</c:v>
                </c:pt>
                <c:pt idx="1091">
                  <c:v>1.8</c:v>
                </c:pt>
                <c:pt idx="1092">
                  <c:v>3.61</c:v>
                </c:pt>
                <c:pt idx="1093">
                  <c:v>1.21</c:v>
                </c:pt>
                <c:pt idx="1094">
                  <c:v>-0.6</c:v>
                </c:pt>
                <c:pt idx="1095">
                  <c:v>0.61</c:v>
                </c:pt>
                <c:pt idx="1096">
                  <c:v>-1.2</c:v>
                </c:pt>
                <c:pt idx="1097">
                  <c:v>1.21</c:v>
                </c:pt>
                <c:pt idx="1098">
                  <c:v>-0.6</c:v>
                </c:pt>
                <c:pt idx="1099">
                  <c:v>-1.2</c:v>
                </c:pt>
                <c:pt idx="1100">
                  <c:v>0.01</c:v>
                </c:pt>
                <c:pt idx="1101">
                  <c:v>0.61</c:v>
                </c:pt>
                <c:pt idx="1102">
                  <c:v>0.61</c:v>
                </c:pt>
                <c:pt idx="1103">
                  <c:v>0.61</c:v>
                </c:pt>
                <c:pt idx="1104">
                  <c:v>-0.6</c:v>
                </c:pt>
                <c:pt idx="1105">
                  <c:v>1.21</c:v>
                </c:pt>
                <c:pt idx="1106">
                  <c:v>0.61</c:v>
                </c:pt>
                <c:pt idx="1107">
                  <c:v>0.01</c:v>
                </c:pt>
                <c:pt idx="1108">
                  <c:v>-1.79</c:v>
                </c:pt>
                <c:pt idx="1109">
                  <c:v>-1.79</c:v>
                </c:pt>
                <c:pt idx="1110">
                  <c:v>0.61</c:v>
                </c:pt>
                <c:pt idx="1111">
                  <c:v>0.01</c:v>
                </c:pt>
                <c:pt idx="1112">
                  <c:v>0.01</c:v>
                </c:pt>
                <c:pt idx="1113">
                  <c:v>1.21</c:v>
                </c:pt>
                <c:pt idx="1114">
                  <c:v>1.21</c:v>
                </c:pt>
                <c:pt idx="1115">
                  <c:v>1.21</c:v>
                </c:pt>
                <c:pt idx="1116">
                  <c:v>2.4</c:v>
                </c:pt>
                <c:pt idx="1117">
                  <c:v>0.01</c:v>
                </c:pt>
                <c:pt idx="1118">
                  <c:v>1.21</c:v>
                </c:pt>
                <c:pt idx="1119">
                  <c:v>1.8</c:v>
                </c:pt>
                <c:pt idx="1120">
                  <c:v>1.8</c:v>
                </c:pt>
                <c:pt idx="1121">
                  <c:v>-1.2</c:v>
                </c:pt>
                <c:pt idx="1122">
                  <c:v>-0.6</c:v>
                </c:pt>
                <c:pt idx="1123">
                  <c:v>1.8</c:v>
                </c:pt>
                <c:pt idx="1124">
                  <c:v>1.21</c:v>
                </c:pt>
                <c:pt idx="1125">
                  <c:v>-1.2</c:v>
                </c:pt>
                <c:pt idx="1126">
                  <c:v>2.4</c:v>
                </c:pt>
                <c:pt idx="1127">
                  <c:v>-2.39</c:v>
                </c:pt>
                <c:pt idx="1128">
                  <c:v>-0.6</c:v>
                </c:pt>
                <c:pt idx="1129">
                  <c:v>-0.6</c:v>
                </c:pt>
                <c:pt idx="1130">
                  <c:v>1.8</c:v>
                </c:pt>
                <c:pt idx="1131">
                  <c:v>-0.6</c:v>
                </c:pt>
                <c:pt idx="1132">
                  <c:v>1.8</c:v>
                </c:pt>
                <c:pt idx="1133">
                  <c:v>0.01</c:v>
                </c:pt>
                <c:pt idx="1134">
                  <c:v>0.61</c:v>
                </c:pt>
                <c:pt idx="1135">
                  <c:v>0.01</c:v>
                </c:pt>
                <c:pt idx="1136">
                  <c:v>0.01</c:v>
                </c:pt>
                <c:pt idx="1137">
                  <c:v>0.01</c:v>
                </c:pt>
                <c:pt idx="1138">
                  <c:v>1.21</c:v>
                </c:pt>
                <c:pt idx="1139">
                  <c:v>0.01</c:v>
                </c:pt>
                <c:pt idx="1140">
                  <c:v>0.61</c:v>
                </c:pt>
                <c:pt idx="1141">
                  <c:v>0.61</c:v>
                </c:pt>
                <c:pt idx="1142">
                  <c:v>1.8</c:v>
                </c:pt>
                <c:pt idx="1143">
                  <c:v>0.01</c:v>
                </c:pt>
                <c:pt idx="1144">
                  <c:v>0.61</c:v>
                </c:pt>
                <c:pt idx="1145">
                  <c:v>0.01</c:v>
                </c:pt>
                <c:pt idx="1146">
                  <c:v>-0.6</c:v>
                </c:pt>
                <c:pt idx="1147">
                  <c:v>0.01</c:v>
                </c:pt>
                <c:pt idx="1148">
                  <c:v>-0.6</c:v>
                </c:pt>
                <c:pt idx="1149">
                  <c:v>0.01</c:v>
                </c:pt>
                <c:pt idx="1150">
                  <c:v>2.4</c:v>
                </c:pt>
                <c:pt idx="1151">
                  <c:v>1.21</c:v>
                </c:pt>
                <c:pt idx="1152">
                  <c:v>-1.2</c:v>
                </c:pt>
                <c:pt idx="1153">
                  <c:v>-1.2</c:v>
                </c:pt>
                <c:pt idx="1154">
                  <c:v>-1.79</c:v>
                </c:pt>
                <c:pt idx="1155">
                  <c:v>1.8</c:v>
                </c:pt>
                <c:pt idx="1156">
                  <c:v>0.61</c:v>
                </c:pt>
                <c:pt idx="1157">
                  <c:v>0.01</c:v>
                </c:pt>
                <c:pt idx="1158">
                  <c:v>0.01</c:v>
                </c:pt>
                <c:pt idx="1159">
                  <c:v>0.01</c:v>
                </c:pt>
                <c:pt idx="1160">
                  <c:v>0.61</c:v>
                </c:pt>
                <c:pt idx="1161">
                  <c:v>0.61</c:v>
                </c:pt>
                <c:pt idx="1162">
                  <c:v>1.21</c:v>
                </c:pt>
                <c:pt idx="1163">
                  <c:v>-0.6</c:v>
                </c:pt>
                <c:pt idx="1164">
                  <c:v>1.8</c:v>
                </c:pt>
                <c:pt idx="1165">
                  <c:v>1.21</c:v>
                </c:pt>
                <c:pt idx="1166">
                  <c:v>1.21</c:v>
                </c:pt>
                <c:pt idx="1167">
                  <c:v>0.61</c:v>
                </c:pt>
                <c:pt idx="1168">
                  <c:v>-0.6</c:v>
                </c:pt>
                <c:pt idx="1169">
                  <c:v>-1.79</c:v>
                </c:pt>
                <c:pt idx="1170">
                  <c:v>0.61</c:v>
                </c:pt>
                <c:pt idx="1171">
                  <c:v>2.4</c:v>
                </c:pt>
                <c:pt idx="1172">
                  <c:v>1.8</c:v>
                </c:pt>
                <c:pt idx="1173">
                  <c:v>0.01</c:v>
                </c:pt>
                <c:pt idx="1174">
                  <c:v>0.61</c:v>
                </c:pt>
                <c:pt idx="1175">
                  <c:v>0.01</c:v>
                </c:pt>
                <c:pt idx="1176">
                  <c:v>0.01</c:v>
                </c:pt>
                <c:pt idx="1177">
                  <c:v>0.01</c:v>
                </c:pt>
                <c:pt idx="1178">
                  <c:v>-0.6</c:v>
                </c:pt>
                <c:pt idx="1179">
                  <c:v>1.21</c:v>
                </c:pt>
                <c:pt idx="1180">
                  <c:v>2.4</c:v>
                </c:pt>
                <c:pt idx="1181">
                  <c:v>3.01</c:v>
                </c:pt>
                <c:pt idx="1182">
                  <c:v>1.21</c:v>
                </c:pt>
                <c:pt idx="1183">
                  <c:v>-2.99</c:v>
                </c:pt>
                <c:pt idx="1184">
                  <c:v>-2.39</c:v>
                </c:pt>
                <c:pt idx="1185">
                  <c:v>0.61</c:v>
                </c:pt>
                <c:pt idx="1186">
                  <c:v>-0.6</c:v>
                </c:pt>
                <c:pt idx="1187">
                  <c:v>0.01</c:v>
                </c:pt>
                <c:pt idx="1188">
                  <c:v>0.61</c:v>
                </c:pt>
                <c:pt idx="1189">
                  <c:v>0.01</c:v>
                </c:pt>
                <c:pt idx="1190">
                  <c:v>-0.6</c:v>
                </c:pt>
                <c:pt idx="1191">
                  <c:v>-2.39</c:v>
                </c:pt>
                <c:pt idx="1192">
                  <c:v>-1.2</c:v>
                </c:pt>
                <c:pt idx="1193">
                  <c:v>0.01</c:v>
                </c:pt>
                <c:pt idx="1194">
                  <c:v>1.21</c:v>
                </c:pt>
                <c:pt idx="1195">
                  <c:v>0.61</c:v>
                </c:pt>
                <c:pt idx="1196">
                  <c:v>-0.6</c:v>
                </c:pt>
                <c:pt idx="1197">
                  <c:v>1.21</c:v>
                </c:pt>
                <c:pt idx="1198">
                  <c:v>1.21</c:v>
                </c:pt>
                <c:pt idx="1199">
                  <c:v>-0.6</c:v>
                </c:pt>
                <c:pt idx="1200">
                  <c:v>0.61</c:v>
                </c:pt>
                <c:pt idx="1201">
                  <c:v>1.21</c:v>
                </c:pt>
                <c:pt idx="1202">
                  <c:v>0.61</c:v>
                </c:pt>
                <c:pt idx="1203">
                  <c:v>-0.6</c:v>
                </c:pt>
                <c:pt idx="1204">
                  <c:v>-1.79</c:v>
                </c:pt>
                <c:pt idx="1205">
                  <c:v>0.61</c:v>
                </c:pt>
                <c:pt idx="1206">
                  <c:v>-1.2</c:v>
                </c:pt>
                <c:pt idx="1207">
                  <c:v>0.01</c:v>
                </c:pt>
                <c:pt idx="1208">
                  <c:v>-0.6</c:v>
                </c:pt>
                <c:pt idx="1209">
                  <c:v>0.01</c:v>
                </c:pt>
                <c:pt idx="1210">
                  <c:v>0.61</c:v>
                </c:pt>
                <c:pt idx="1211">
                  <c:v>1.21</c:v>
                </c:pt>
                <c:pt idx="1212">
                  <c:v>-1.2</c:v>
                </c:pt>
                <c:pt idx="1213">
                  <c:v>-0.6</c:v>
                </c:pt>
                <c:pt idx="1214">
                  <c:v>0.61</c:v>
                </c:pt>
                <c:pt idx="1215">
                  <c:v>1.21</c:v>
                </c:pt>
                <c:pt idx="1216">
                  <c:v>0.01</c:v>
                </c:pt>
                <c:pt idx="1217">
                  <c:v>0.01</c:v>
                </c:pt>
                <c:pt idx="1218">
                  <c:v>0.01</c:v>
                </c:pt>
                <c:pt idx="1219">
                  <c:v>-1.2</c:v>
                </c:pt>
                <c:pt idx="1220">
                  <c:v>-2.99</c:v>
                </c:pt>
                <c:pt idx="1221">
                  <c:v>0.01</c:v>
                </c:pt>
                <c:pt idx="1222">
                  <c:v>3.01</c:v>
                </c:pt>
                <c:pt idx="1223">
                  <c:v>-1.79</c:v>
                </c:pt>
                <c:pt idx="1224">
                  <c:v>0.01</c:v>
                </c:pt>
                <c:pt idx="1225">
                  <c:v>-1.79</c:v>
                </c:pt>
                <c:pt idx="1226">
                  <c:v>-1.2</c:v>
                </c:pt>
                <c:pt idx="1227">
                  <c:v>-1.2</c:v>
                </c:pt>
                <c:pt idx="1228">
                  <c:v>-0.6</c:v>
                </c:pt>
                <c:pt idx="1229">
                  <c:v>-1.2</c:v>
                </c:pt>
                <c:pt idx="1230">
                  <c:v>0.01</c:v>
                </c:pt>
                <c:pt idx="1231">
                  <c:v>1.8</c:v>
                </c:pt>
                <c:pt idx="1232">
                  <c:v>0.61</c:v>
                </c:pt>
                <c:pt idx="1233">
                  <c:v>1.8</c:v>
                </c:pt>
                <c:pt idx="1234">
                  <c:v>-1.79</c:v>
                </c:pt>
                <c:pt idx="1235">
                  <c:v>1.8</c:v>
                </c:pt>
                <c:pt idx="1236">
                  <c:v>2.4</c:v>
                </c:pt>
                <c:pt idx="1237">
                  <c:v>0.01</c:v>
                </c:pt>
                <c:pt idx="1238">
                  <c:v>-0.6</c:v>
                </c:pt>
                <c:pt idx="1239">
                  <c:v>1.8</c:v>
                </c:pt>
                <c:pt idx="1240">
                  <c:v>0.01</c:v>
                </c:pt>
                <c:pt idx="1241">
                  <c:v>-0.6</c:v>
                </c:pt>
                <c:pt idx="1242">
                  <c:v>0.01</c:v>
                </c:pt>
                <c:pt idx="1243">
                  <c:v>0.01</c:v>
                </c:pt>
                <c:pt idx="1244">
                  <c:v>2.4</c:v>
                </c:pt>
                <c:pt idx="1245">
                  <c:v>0.61</c:v>
                </c:pt>
                <c:pt idx="1246">
                  <c:v>-0.6</c:v>
                </c:pt>
                <c:pt idx="1247">
                  <c:v>0.61</c:v>
                </c:pt>
                <c:pt idx="1248">
                  <c:v>1.21</c:v>
                </c:pt>
                <c:pt idx="1249">
                  <c:v>0.01</c:v>
                </c:pt>
                <c:pt idx="1250">
                  <c:v>-0.6</c:v>
                </c:pt>
                <c:pt idx="1251">
                  <c:v>1.21</c:v>
                </c:pt>
                <c:pt idx="1252">
                  <c:v>-0.6</c:v>
                </c:pt>
                <c:pt idx="1253">
                  <c:v>-0.6</c:v>
                </c:pt>
                <c:pt idx="1254">
                  <c:v>0.61</c:v>
                </c:pt>
                <c:pt idx="1255">
                  <c:v>0.61</c:v>
                </c:pt>
                <c:pt idx="1256">
                  <c:v>0.01</c:v>
                </c:pt>
                <c:pt idx="1257">
                  <c:v>0.61</c:v>
                </c:pt>
                <c:pt idx="1258">
                  <c:v>1.8</c:v>
                </c:pt>
                <c:pt idx="1259">
                  <c:v>0.01</c:v>
                </c:pt>
                <c:pt idx="1260">
                  <c:v>1.21</c:v>
                </c:pt>
                <c:pt idx="1261">
                  <c:v>-1.2</c:v>
                </c:pt>
                <c:pt idx="1262">
                  <c:v>0.61</c:v>
                </c:pt>
                <c:pt idx="1263">
                  <c:v>1.21</c:v>
                </c:pt>
                <c:pt idx="1264">
                  <c:v>0.01</c:v>
                </c:pt>
                <c:pt idx="1265">
                  <c:v>0.01</c:v>
                </c:pt>
                <c:pt idx="1266">
                  <c:v>0.01</c:v>
                </c:pt>
                <c:pt idx="1267">
                  <c:v>2.4</c:v>
                </c:pt>
                <c:pt idx="1268">
                  <c:v>1.8</c:v>
                </c:pt>
                <c:pt idx="1269">
                  <c:v>0.61</c:v>
                </c:pt>
                <c:pt idx="1270">
                  <c:v>0.61</c:v>
                </c:pt>
                <c:pt idx="1271">
                  <c:v>0.61</c:v>
                </c:pt>
                <c:pt idx="1272">
                  <c:v>1.21</c:v>
                </c:pt>
                <c:pt idx="1273">
                  <c:v>-0.6</c:v>
                </c:pt>
                <c:pt idx="1274">
                  <c:v>3.01</c:v>
                </c:pt>
                <c:pt idx="1275">
                  <c:v>1.21</c:v>
                </c:pt>
                <c:pt idx="1276">
                  <c:v>1.21</c:v>
                </c:pt>
                <c:pt idx="1277">
                  <c:v>-1.79</c:v>
                </c:pt>
                <c:pt idx="1278">
                  <c:v>0.61</c:v>
                </c:pt>
                <c:pt idx="1279">
                  <c:v>1.8</c:v>
                </c:pt>
                <c:pt idx="1280">
                  <c:v>1.21</c:v>
                </c:pt>
                <c:pt idx="1281">
                  <c:v>2.4</c:v>
                </c:pt>
                <c:pt idx="1282">
                  <c:v>-0.6</c:v>
                </c:pt>
                <c:pt idx="1283">
                  <c:v>-0.6</c:v>
                </c:pt>
                <c:pt idx="1284">
                  <c:v>1.8</c:v>
                </c:pt>
                <c:pt idx="1285">
                  <c:v>-1.2</c:v>
                </c:pt>
                <c:pt idx="1286">
                  <c:v>0.61</c:v>
                </c:pt>
                <c:pt idx="1287">
                  <c:v>1.21</c:v>
                </c:pt>
                <c:pt idx="1288">
                  <c:v>1.21</c:v>
                </c:pt>
                <c:pt idx="1289">
                  <c:v>0.01</c:v>
                </c:pt>
                <c:pt idx="1290">
                  <c:v>0.01</c:v>
                </c:pt>
                <c:pt idx="1291">
                  <c:v>-2.99</c:v>
                </c:pt>
                <c:pt idx="1292">
                  <c:v>1.21</c:v>
                </c:pt>
                <c:pt idx="1293">
                  <c:v>-1.2</c:v>
                </c:pt>
                <c:pt idx="1294">
                  <c:v>1.21</c:v>
                </c:pt>
                <c:pt idx="1295">
                  <c:v>-1.2</c:v>
                </c:pt>
                <c:pt idx="1296">
                  <c:v>1.21</c:v>
                </c:pt>
                <c:pt idx="1297">
                  <c:v>-1.2</c:v>
                </c:pt>
                <c:pt idx="1298">
                  <c:v>0.61</c:v>
                </c:pt>
                <c:pt idx="1299">
                  <c:v>0.61</c:v>
                </c:pt>
                <c:pt idx="1300">
                  <c:v>-1.2</c:v>
                </c:pt>
                <c:pt idx="1301">
                  <c:v>0.01</c:v>
                </c:pt>
                <c:pt idx="1302">
                  <c:v>0.01</c:v>
                </c:pt>
                <c:pt idx="1303">
                  <c:v>0.61</c:v>
                </c:pt>
                <c:pt idx="1304">
                  <c:v>0.01</c:v>
                </c:pt>
                <c:pt idx="1305">
                  <c:v>3.01</c:v>
                </c:pt>
                <c:pt idx="1306">
                  <c:v>-0.6</c:v>
                </c:pt>
                <c:pt idx="1307">
                  <c:v>0.61</c:v>
                </c:pt>
                <c:pt idx="1308">
                  <c:v>-0.6</c:v>
                </c:pt>
                <c:pt idx="1309">
                  <c:v>-1.2</c:v>
                </c:pt>
                <c:pt idx="1310">
                  <c:v>-2.39</c:v>
                </c:pt>
                <c:pt idx="1311">
                  <c:v>0.01</c:v>
                </c:pt>
                <c:pt idx="1312">
                  <c:v>0.61</c:v>
                </c:pt>
                <c:pt idx="1313">
                  <c:v>0.01</c:v>
                </c:pt>
                <c:pt idx="1314">
                  <c:v>-1.2</c:v>
                </c:pt>
                <c:pt idx="1315">
                  <c:v>0.61</c:v>
                </c:pt>
                <c:pt idx="1316">
                  <c:v>0.01</c:v>
                </c:pt>
                <c:pt idx="1317">
                  <c:v>0.01</c:v>
                </c:pt>
                <c:pt idx="1318">
                  <c:v>-1.79</c:v>
                </c:pt>
                <c:pt idx="1319">
                  <c:v>-1.2</c:v>
                </c:pt>
                <c:pt idx="1320">
                  <c:v>-0.6</c:v>
                </c:pt>
                <c:pt idx="1321">
                  <c:v>-0.6</c:v>
                </c:pt>
                <c:pt idx="1322">
                  <c:v>1.21</c:v>
                </c:pt>
                <c:pt idx="1323">
                  <c:v>-0.6</c:v>
                </c:pt>
                <c:pt idx="1324">
                  <c:v>-1.2</c:v>
                </c:pt>
                <c:pt idx="1325">
                  <c:v>1.8</c:v>
                </c:pt>
                <c:pt idx="1326">
                  <c:v>3.01</c:v>
                </c:pt>
                <c:pt idx="1327">
                  <c:v>0.01</c:v>
                </c:pt>
                <c:pt idx="1328">
                  <c:v>1.21</c:v>
                </c:pt>
                <c:pt idx="1329">
                  <c:v>1.21</c:v>
                </c:pt>
                <c:pt idx="1330">
                  <c:v>1.21</c:v>
                </c:pt>
                <c:pt idx="1331">
                  <c:v>0.61</c:v>
                </c:pt>
                <c:pt idx="1332">
                  <c:v>1.8</c:v>
                </c:pt>
                <c:pt idx="1333">
                  <c:v>0.61</c:v>
                </c:pt>
                <c:pt idx="1334">
                  <c:v>1.8</c:v>
                </c:pt>
                <c:pt idx="1335">
                  <c:v>1.8</c:v>
                </c:pt>
                <c:pt idx="1336">
                  <c:v>0.61</c:v>
                </c:pt>
                <c:pt idx="1337">
                  <c:v>0.61</c:v>
                </c:pt>
                <c:pt idx="1338">
                  <c:v>0.01</c:v>
                </c:pt>
                <c:pt idx="1339">
                  <c:v>-2.99</c:v>
                </c:pt>
                <c:pt idx="1340">
                  <c:v>-2.39</c:v>
                </c:pt>
                <c:pt idx="1341">
                  <c:v>0.01</c:v>
                </c:pt>
                <c:pt idx="1342">
                  <c:v>0.61</c:v>
                </c:pt>
                <c:pt idx="1343">
                  <c:v>-0.6</c:v>
                </c:pt>
                <c:pt idx="1344">
                  <c:v>1.21</c:v>
                </c:pt>
                <c:pt idx="1345">
                  <c:v>1.21</c:v>
                </c:pt>
                <c:pt idx="1346">
                  <c:v>-1.2</c:v>
                </c:pt>
                <c:pt idx="1347">
                  <c:v>1.8</c:v>
                </c:pt>
                <c:pt idx="1348">
                  <c:v>-1.2</c:v>
                </c:pt>
                <c:pt idx="1349">
                  <c:v>-1.2</c:v>
                </c:pt>
                <c:pt idx="1350">
                  <c:v>1.8</c:v>
                </c:pt>
                <c:pt idx="1351">
                  <c:v>1.8</c:v>
                </c:pt>
                <c:pt idx="1352">
                  <c:v>-1.2</c:v>
                </c:pt>
                <c:pt idx="1353">
                  <c:v>0.61</c:v>
                </c:pt>
                <c:pt idx="1354">
                  <c:v>1.21</c:v>
                </c:pt>
                <c:pt idx="1355">
                  <c:v>1.21</c:v>
                </c:pt>
                <c:pt idx="1356">
                  <c:v>0.61</c:v>
                </c:pt>
                <c:pt idx="1357">
                  <c:v>-1.79</c:v>
                </c:pt>
                <c:pt idx="1358">
                  <c:v>0.61</c:v>
                </c:pt>
                <c:pt idx="1359">
                  <c:v>0.61</c:v>
                </c:pt>
                <c:pt idx="1360">
                  <c:v>0.01</c:v>
                </c:pt>
                <c:pt idx="1361">
                  <c:v>-0.6</c:v>
                </c:pt>
                <c:pt idx="1362">
                  <c:v>-0.6</c:v>
                </c:pt>
                <c:pt idx="1363">
                  <c:v>0.01</c:v>
                </c:pt>
                <c:pt idx="1364">
                  <c:v>1.21</c:v>
                </c:pt>
                <c:pt idx="1365">
                  <c:v>0.01</c:v>
                </c:pt>
                <c:pt idx="1366">
                  <c:v>-0.6</c:v>
                </c:pt>
                <c:pt idx="1367">
                  <c:v>-0.6</c:v>
                </c:pt>
                <c:pt idx="1368">
                  <c:v>1.8</c:v>
                </c:pt>
                <c:pt idx="1369">
                  <c:v>0.61</c:v>
                </c:pt>
                <c:pt idx="1370">
                  <c:v>-1.2</c:v>
                </c:pt>
                <c:pt idx="1371">
                  <c:v>0.01</c:v>
                </c:pt>
                <c:pt idx="1372">
                  <c:v>-2.39</c:v>
                </c:pt>
                <c:pt idx="1373">
                  <c:v>-1.2</c:v>
                </c:pt>
                <c:pt idx="1374">
                  <c:v>3.01</c:v>
                </c:pt>
                <c:pt idx="1375">
                  <c:v>1.21</c:v>
                </c:pt>
                <c:pt idx="1376">
                  <c:v>-0.6</c:v>
                </c:pt>
                <c:pt idx="1377">
                  <c:v>2.4</c:v>
                </c:pt>
                <c:pt idx="1378">
                  <c:v>1.21</c:v>
                </c:pt>
                <c:pt idx="1379">
                  <c:v>-0.6</c:v>
                </c:pt>
                <c:pt idx="1380">
                  <c:v>-1.2</c:v>
                </c:pt>
                <c:pt idx="1381">
                  <c:v>2.4</c:v>
                </c:pt>
                <c:pt idx="1382">
                  <c:v>1.21</c:v>
                </c:pt>
                <c:pt idx="1383">
                  <c:v>1.8</c:v>
                </c:pt>
                <c:pt idx="1384">
                  <c:v>0.01</c:v>
                </c:pt>
                <c:pt idx="1385">
                  <c:v>0.61</c:v>
                </c:pt>
                <c:pt idx="1386">
                  <c:v>2.4</c:v>
                </c:pt>
                <c:pt idx="1387">
                  <c:v>0.61</c:v>
                </c:pt>
                <c:pt idx="1388">
                  <c:v>1.8</c:v>
                </c:pt>
                <c:pt idx="1389">
                  <c:v>0.61</c:v>
                </c:pt>
                <c:pt idx="1390">
                  <c:v>-1.79</c:v>
                </c:pt>
                <c:pt idx="1391">
                  <c:v>-1.2</c:v>
                </c:pt>
                <c:pt idx="1392">
                  <c:v>1.21</c:v>
                </c:pt>
                <c:pt idx="1393">
                  <c:v>1.8</c:v>
                </c:pt>
                <c:pt idx="1394">
                  <c:v>-0.6</c:v>
                </c:pt>
                <c:pt idx="1395">
                  <c:v>-0.6</c:v>
                </c:pt>
                <c:pt idx="1396">
                  <c:v>0.01</c:v>
                </c:pt>
                <c:pt idx="1397">
                  <c:v>2.4</c:v>
                </c:pt>
                <c:pt idx="1398">
                  <c:v>0.61</c:v>
                </c:pt>
                <c:pt idx="1399">
                  <c:v>0.01</c:v>
                </c:pt>
                <c:pt idx="1400">
                  <c:v>1.8</c:v>
                </c:pt>
                <c:pt idx="1401">
                  <c:v>0.01</c:v>
                </c:pt>
                <c:pt idx="1402">
                  <c:v>0.61</c:v>
                </c:pt>
                <c:pt idx="1403">
                  <c:v>2.4</c:v>
                </c:pt>
                <c:pt idx="1404">
                  <c:v>0.01</c:v>
                </c:pt>
                <c:pt idx="1405">
                  <c:v>0.61</c:v>
                </c:pt>
                <c:pt idx="1406">
                  <c:v>1.21</c:v>
                </c:pt>
                <c:pt idx="1407">
                  <c:v>1.21</c:v>
                </c:pt>
                <c:pt idx="1408">
                  <c:v>0.61</c:v>
                </c:pt>
                <c:pt idx="1409">
                  <c:v>0.61</c:v>
                </c:pt>
                <c:pt idx="1410">
                  <c:v>0.61</c:v>
                </c:pt>
                <c:pt idx="1411">
                  <c:v>-1.2</c:v>
                </c:pt>
                <c:pt idx="1412">
                  <c:v>0.61</c:v>
                </c:pt>
                <c:pt idx="1413">
                  <c:v>-0.6</c:v>
                </c:pt>
                <c:pt idx="1414">
                  <c:v>1.21</c:v>
                </c:pt>
                <c:pt idx="1415">
                  <c:v>0.61</c:v>
                </c:pt>
                <c:pt idx="1416">
                  <c:v>-0.6</c:v>
                </c:pt>
                <c:pt idx="1417">
                  <c:v>-1.2</c:v>
                </c:pt>
                <c:pt idx="1418">
                  <c:v>-0.6</c:v>
                </c:pt>
                <c:pt idx="1419">
                  <c:v>-1.2</c:v>
                </c:pt>
                <c:pt idx="1420">
                  <c:v>1.8</c:v>
                </c:pt>
                <c:pt idx="1421">
                  <c:v>1.21</c:v>
                </c:pt>
                <c:pt idx="1422">
                  <c:v>1.21</c:v>
                </c:pt>
                <c:pt idx="1423">
                  <c:v>3.61</c:v>
                </c:pt>
                <c:pt idx="1424">
                  <c:v>-0.6</c:v>
                </c:pt>
                <c:pt idx="1425">
                  <c:v>0.01</c:v>
                </c:pt>
                <c:pt idx="1426">
                  <c:v>0.61</c:v>
                </c:pt>
                <c:pt idx="1427">
                  <c:v>0.01</c:v>
                </c:pt>
                <c:pt idx="1428">
                  <c:v>-0.6</c:v>
                </c:pt>
                <c:pt idx="1429">
                  <c:v>-0.6</c:v>
                </c:pt>
                <c:pt idx="1430">
                  <c:v>0.61</c:v>
                </c:pt>
                <c:pt idx="1431">
                  <c:v>0.61</c:v>
                </c:pt>
                <c:pt idx="1432">
                  <c:v>0.01</c:v>
                </c:pt>
                <c:pt idx="1433">
                  <c:v>-1.79</c:v>
                </c:pt>
                <c:pt idx="1434">
                  <c:v>0.01</c:v>
                </c:pt>
                <c:pt idx="1435">
                  <c:v>1.8</c:v>
                </c:pt>
                <c:pt idx="1436">
                  <c:v>3.01</c:v>
                </c:pt>
                <c:pt idx="1437">
                  <c:v>1.21</c:v>
                </c:pt>
                <c:pt idx="1438">
                  <c:v>0.61</c:v>
                </c:pt>
                <c:pt idx="1439">
                  <c:v>-1.79</c:v>
                </c:pt>
                <c:pt idx="1440">
                  <c:v>2.4</c:v>
                </c:pt>
                <c:pt idx="1441">
                  <c:v>1.8</c:v>
                </c:pt>
                <c:pt idx="1442">
                  <c:v>-1.2</c:v>
                </c:pt>
                <c:pt idx="1443">
                  <c:v>-0.6</c:v>
                </c:pt>
                <c:pt idx="1444">
                  <c:v>0.61</c:v>
                </c:pt>
                <c:pt idx="1445">
                  <c:v>1.21</c:v>
                </c:pt>
                <c:pt idx="1446">
                  <c:v>1.8</c:v>
                </c:pt>
                <c:pt idx="1447">
                  <c:v>-0.6</c:v>
                </c:pt>
                <c:pt idx="1448">
                  <c:v>-1.79</c:v>
                </c:pt>
                <c:pt idx="1449">
                  <c:v>0.61</c:v>
                </c:pt>
                <c:pt idx="1450">
                  <c:v>1.21</c:v>
                </c:pt>
                <c:pt idx="1451">
                  <c:v>-0.6</c:v>
                </c:pt>
                <c:pt idx="1452">
                  <c:v>-1.2</c:v>
                </c:pt>
                <c:pt idx="1453">
                  <c:v>0.61</c:v>
                </c:pt>
                <c:pt idx="1454">
                  <c:v>3.61</c:v>
                </c:pt>
                <c:pt idx="1455">
                  <c:v>0.01</c:v>
                </c:pt>
                <c:pt idx="1456">
                  <c:v>0.01</c:v>
                </c:pt>
                <c:pt idx="1457">
                  <c:v>1.21</c:v>
                </c:pt>
                <c:pt idx="1458">
                  <c:v>-2.39</c:v>
                </c:pt>
                <c:pt idx="1459">
                  <c:v>-3.6</c:v>
                </c:pt>
                <c:pt idx="1460">
                  <c:v>2.4</c:v>
                </c:pt>
                <c:pt idx="1461">
                  <c:v>1.21</c:v>
                </c:pt>
                <c:pt idx="1462">
                  <c:v>-2.39</c:v>
                </c:pt>
                <c:pt idx="1463">
                  <c:v>1.8</c:v>
                </c:pt>
                <c:pt idx="1464">
                  <c:v>2.4</c:v>
                </c:pt>
                <c:pt idx="1465">
                  <c:v>3.01</c:v>
                </c:pt>
                <c:pt idx="1466">
                  <c:v>-1.2</c:v>
                </c:pt>
                <c:pt idx="1467">
                  <c:v>0.01</c:v>
                </c:pt>
                <c:pt idx="1468">
                  <c:v>-0.6</c:v>
                </c:pt>
                <c:pt idx="1469">
                  <c:v>0.61</c:v>
                </c:pt>
                <c:pt idx="1470">
                  <c:v>1.21</c:v>
                </c:pt>
                <c:pt idx="1471">
                  <c:v>-1.2</c:v>
                </c:pt>
                <c:pt idx="1472">
                  <c:v>-1.2</c:v>
                </c:pt>
                <c:pt idx="1473">
                  <c:v>0.01</c:v>
                </c:pt>
                <c:pt idx="1474">
                  <c:v>1.8</c:v>
                </c:pt>
                <c:pt idx="1475">
                  <c:v>0.01</c:v>
                </c:pt>
                <c:pt idx="1476">
                  <c:v>-2.39</c:v>
                </c:pt>
                <c:pt idx="1477">
                  <c:v>-1.2</c:v>
                </c:pt>
                <c:pt idx="1478">
                  <c:v>0.61</c:v>
                </c:pt>
                <c:pt idx="1479">
                  <c:v>1.8</c:v>
                </c:pt>
                <c:pt idx="1480">
                  <c:v>2.4</c:v>
                </c:pt>
                <c:pt idx="1481">
                  <c:v>3.01</c:v>
                </c:pt>
                <c:pt idx="1482">
                  <c:v>1.8</c:v>
                </c:pt>
                <c:pt idx="1483">
                  <c:v>1.21</c:v>
                </c:pt>
                <c:pt idx="1484">
                  <c:v>1.8</c:v>
                </c:pt>
                <c:pt idx="1485">
                  <c:v>-0.6</c:v>
                </c:pt>
                <c:pt idx="1486">
                  <c:v>0.61</c:v>
                </c:pt>
                <c:pt idx="1487">
                  <c:v>0.61</c:v>
                </c:pt>
                <c:pt idx="1488">
                  <c:v>3.61</c:v>
                </c:pt>
                <c:pt idx="1489">
                  <c:v>3.01</c:v>
                </c:pt>
                <c:pt idx="1490">
                  <c:v>2.4</c:v>
                </c:pt>
                <c:pt idx="1491">
                  <c:v>1.8</c:v>
                </c:pt>
                <c:pt idx="1492">
                  <c:v>1.21</c:v>
                </c:pt>
                <c:pt idx="1493">
                  <c:v>-0.6</c:v>
                </c:pt>
                <c:pt idx="1494">
                  <c:v>0.61</c:v>
                </c:pt>
                <c:pt idx="1495">
                  <c:v>0.01</c:v>
                </c:pt>
                <c:pt idx="1496">
                  <c:v>0.01</c:v>
                </c:pt>
                <c:pt idx="1497">
                  <c:v>-1.79</c:v>
                </c:pt>
                <c:pt idx="1498">
                  <c:v>1.21</c:v>
                </c:pt>
                <c:pt idx="1499">
                  <c:v>3.01</c:v>
                </c:pt>
                <c:pt idx="1500">
                  <c:v>1.21</c:v>
                </c:pt>
                <c:pt idx="1501">
                  <c:v>1.21</c:v>
                </c:pt>
                <c:pt idx="1502">
                  <c:v>1.8</c:v>
                </c:pt>
                <c:pt idx="1503">
                  <c:v>3.01</c:v>
                </c:pt>
                <c:pt idx="1504">
                  <c:v>3.01</c:v>
                </c:pt>
                <c:pt idx="1505">
                  <c:v>-0.6</c:v>
                </c:pt>
                <c:pt idx="1506">
                  <c:v>1.8</c:v>
                </c:pt>
                <c:pt idx="1507">
                  <c:v>1.21</c:v>
                </c:pt>
                <c:pt idx="1508">
                  <c:v>0.61</c:v>
                </c:pt>
                <c:pt idx="1509">
                  <c:v>2.4</c:v>
                </c:pt>
                <c:pt idx="1510">
                  <c:v>2.4</c:v>
                </c:pt>
                <c:pt idx="1511">
                  <c:v>0.61</c:v>
                </c:pt>
                <c:pt idx="1512">
                  <c:v>-1.2</c:v>
                </c:pt>
                <c:pt idx="1513">
                  <c:v>0.01</c:v>
                </c:pt>
                <c:pt idx="1514">
                  <c:v>2.4</c:v>
                </c:pt>
                <c:pt idx="1515">
                  <c:v>3.01</c:v>
                </c:pt>
                <c:pt idx="1516">
                  <c:v>0.61</c:v>
                </c:pt>
                <c:pt idx="1517">
                  <c:v>0.61</c:v>
                </c:pt>
                <c:pt idx="1518">
                  <c:v>1.8</c:v>
                </c:pt>
                <c:pt idx="1519">
                  <c:v>0.01</c:v>
                </c:pt>
                <c:pt idx="1520">
                  <c:v>1.21</c:v>
                </c:pt>
                <c:pt idx="1521">
                  <c:v>0.01</c:v>
                </c:pt>
                <c:pt idx="1522">
                  <c:v>1.8</c:v>
                </c:pt>
                <c:pt idx="1523">
                  <c:v>1.21</c:v>
                </c:pt>
                <c:pt idx="1524">
                  <c:v>2.4</c:v>
                </c:pt>
                <c:pt idx="1525">
                  <c:v>1.8</c:v>
                </c:pt>
                <c:pt idx="1526">
                  <c:v>1.21</c:v>
                </c:pt>
                <c:pt idx="1527">
                  <c:v>1.21</c:v>
                </c:pt>
                <c:pt idx="1528">
                  <c:v>0.01</c:v>
                </c:pt>
                <c:pt idx="1529">
                  <c:v>2.4</c:v>
                </c:pt>
                <c:pt idx="1530">
                  <c:v>0.61</c:v>
                </c:pt>
                <c:pt idx="1531">
                  <c:v>1.8</c:v>
                </c:pt>
                <c:pt idx="1532">
                  <c:v>0.01</c:v>
                </c:pt>
                <c:pt idx="1533">
                  <c:v>2.4</c:v>
                </c:pt>
                <c:pt idx="1534">
                  <c:v>1.21</c:v>
                </c:pt>
                <c:pt idx="1535">
                  <c:v>1.21</c:v>
                </c:pt>
                <c:pt idx="1536">
                  <c:v>1.21</c:v>
                </c:pt>
                <c:pt idx="1537">
                  <c:v>1.8</c:v>
                </c:pt>
                <c:pt idx="1538">
                  <c:v>0.61</c:v>
                </c:pt>
                <c:pt idx="1539">
                  <c:v>-1.79</c:v>
                </c:pt>
                <c:pt idx="1540">
                  <c:v>0.61</c:v>
                </c:pt>
                <c:pt idx="1541">
                  <c:v>1.21</c:v>
                </c:pt>
                <c:pt idx="1542">
                  <c:v>1.21</c:v>
                </c:pt>
                <c:pt idx="1543">
                  <c:v>1.8</c:v>
                </c:pt>
                <c:pt idx="1544">
                  <c:v>0.61</c:v>
                </c:pt>
                <c:pt idx="1545">
                  <c:v>-1.2</c:v>
                </c:pt>
                <c:pt idx="1546">
                  <c:v>0.61</c:v>
                </c:pt>
                <c:pt idx="1547">
                  <c:v>1.21</c:v>
                </c:pt>
                <c:pt idx="1548">
                  <c:v>1.8</c:v>
                </c:pt>
                <c:pt idx="1549">
                  <c:v>0.01</c:v>
                </c:pt>
                <c:pt idx="1550">
                  <c:v>-0.6</c:v>
                </c:pt>
                <c:pt idx="1551">
                  <c:v>1.21</c:v>
                </c:pt>
                <c:pt idx="1552">
                  <c:v>-1.79</c:v>
                </c:pt>
                <c:pt idx="1553">
                  <c:v>1.21</c:v>
                </c:pt>
                <c:pt idx="1554">
                  <c:v>0.61</c:v>
                </c:pt>
                <c:pt idx="1555">
                  <c:v>0.61</c:v>
                </c:pt>
                <c:pt idx="1556">
                  <c:v>1.21</c:v>
                </c:pt>
                <c:pt idx="1557">
                  <c:v>2.4</c:v>
                </c:pt>
                <c:pt idx="1558">
                  <c:v>0.61</c:v>
                </c:pt>
                <c:pt idx="1559">
                  <c:v>-0.6</c:v>
                </c:pt>
                <c:pt idx="1560">
                  <c:v>2.4</c:v>
                </c:pt>
                <c:pt idx="1561">
                  <c:v>3.01</c:v>
                </c:pt>
                <c:pt idx="1562">
                  <c:v>2.4</c:v>
                </c:pt>
                <c:pt idx="1563">
                  <c:v>1.8</c:v>
                </c:pt>
                <c:pt idx="1564">
                  <c:v>1.21</c:v>
                </c:pt>
                <c:pt idx="1565">
                  <c:v>1.21</c:v>
                </c:pt>
                <c:pt idx="1566">
                  <c:v>3.01</c:v>
                </c:pt>
                <c:pt idx="1567">
                  <c:v>1.8</c:v>
                </c:pt>
                <c:pt idx="1568">
                  <c:v>3.01</c:v>
                </c:pt>
                <c:pt idx="1569">
                  <c:v>-1.79</c:v>
                </c:pt>
                <c:pt idx="1570">
                  <c:v>1.8</c:v>
                </c:pt>
                <c:pt idx="1571">
                  <c:v>1.8</c:v>
                </c:pt>
                <c:pt idx="1572">
                  <c:v>1.8</c:v>
                </c:pt>
                <c:pt idx="1573">
                  <c:v>-0.6</c:v>
                </c:pt>
                <c:pt idx="1574">
                  <c:v>-0.6</c:v>
                </c:pt>
                <c:pt idx="1575">
                  <c:v>0.61</c:v>
                </c:pt>
                <c:pt idx="1576">
                  <c:v>-1.2</c:v>
                </c:pt>
                <c:pt idx="1577">
                  <c:v>0.01</c:v>
                </c:pt>
                <c:pt idx="1578">
                  <c:v>0.01</c:v>
                </c:pt>
                <c:pt idx="1579">
                  <c:v>0.61</c:v>
                </c:pt>
                <c:pt idx="1580">
                  <c:v>1.8</c:v>
                </c:pt>
                <c:pt idx="1581">
                  <c:v>2.4</c:v>
                </c:pt>
                <c:pt idx="1582">
                  <c:v>-0.6</c:v>
                </c:pt>
                <c:pt idx="1583">
                  <c:v>4.21</c:v>
                </c:pt>
                <c:pt idx="1584">
                  <c:v>3.01</c:v>
                </c:pt>
                <c:pt idx="1585">
                  <c:v>1.21</c:v>
                </c:pt>
                <c:pt idx="1586">
                  <c:v>1.8</c:v>
                </c:pt>
                <c:pt idx="1587">
                  <c:v>0.61</c:v>
                </c:pt>
                <c:pt idx="1588">
                  <c:v>1.8</c:v>
                </c:pt>
                <c:pt idx="1589">
                  <c:v>1.8</c:v>
                </c:pt>
                <c:pt idx="1590">
                  <c:v>0.01</c:v>
                </c:pt>
                <c:pt idx="1591">
                  <c:v>0.01</c:v>
                </c:pt>
                <c:pt idx="1592">
                  <c:v>1.8</c:v>
                </c:pt>
                <c:pt idx="1593">
                  <c:v>3.01</c:v>
                </c:pt>
                <c:pt idx="1594">
                  <c:v>-1.2</c:v>
                </c:pt>
                <c:pt idx="1595">
                  <c:v>0.01</c:v>
                </c:pt>
                <c:pt idx="1596">
                  <c:v>2.4</c:v>
                </c:pt>
                <c:pt idx="1597">
                  <c:v>2.4</c:v>
                </c:pt>
                <c:pt idx="1598">
                  <c:v>1.21</c:v>
                </c:pt>
                <c:pt idx="1599">
                  <c:v>0.61</c:v>
                </c:pt>
                <c:pt idx="1600">
                  <c:v>0.61</c:v>
                </c:pt>
                <c:pt idx="1601">
                  <c:v>1.21</c:v>
                </c:pt>
                <c:pt idx="1602">
                  <c:v>-0.6</c:v>
                </c:pt>
                <c:pt idx="1603">
                  <c:v>1.8</c:v>
                </c:pt>
                <c:pt idx="1604">
                  <c:v>2.4</c:v>
                </c:pt>
                <c:pt idx="1605">
                  <c:v>-1.2</c:v>
                </c:pt>
                <c:pt idx="1606">
                  <c:v>0.01</c:v>
                </c:pt>
                <c:pt idx="1607">
                  <c:v>-1.79</c:v>
                </c:pt>
                <c:pt idx="1608">
                  <c:v>1.21</c:v>
                </c:pt>
                <c:pt idx="1609">
                  <c:v>1.8</c:v>
                </c:pt>
                <c:pt idx="1610">
                  <c:v>0.61</c:v>
                </c:pt>
                <c:pt idx="1611">
                  <c:v>0.61</c:v>
                </c:pt>
                <c:pt idx="1612">
                  <c:v>1.8</c:v>
                </c:pt>
                <c:pt idx="1613">
                  <c:v>2.4</c:v>
                </c:pt>
                <c:pt idx="1614">
                  <c:v>0.01</c:v>
                </c:pt>
                <c:pt idx="1615">
                  <c:v>2.4</c:v>
                </c:pt>
                <c:pt idx="1616">
                  <c:v>1.21</c:v>
                </c:pt>
                <c:pt idx="1617">
                  <c:v>1.8</c:v>
                </c:pt>
                <c:pt idx="1618">
                  <c:v>1.21</c:v>
                </c:pt>
                <c:pt idx="1619">
                  <c:v>1.8</c:v>
                </c:pt>
                <c:pt idx="1620">
                  <c:v>2.4</c:v>
                </c:pt>
                <c:pt idx="1621">
                  <c:v>3.61</c:v>
                </c:pt>
                <c:pt idx="1622">
                  <c:v>2.4</c:v>
                </c:pt>
                <c:pt idx="1623">
                  <c:v>0.01</c:v>
                </c:pt>
                <c:pt idx="1624">
                  <c:v>1.8</c:v>
                </c:pt>
                <c:pt idx="1625">
                  <c:v>4.21</c:v>
                </c:pt>
                <c:pt idx="1626">
                  <c:v>0.61</c:v>
                </c:pt>
                <c:pt idx="1627">
                  <c:v>1.21</c:v>
                </c:pt>
                <c:pt idx="1628">
                  <c:v>0.01</c:v>
                </c:pt>
                <c:pt idx="1629">
                  <c:v>3.61</c:v>
                </c:pt>
                <c:pt idx="1630">
                  <c:v>1.21</c:v>
                </c:pt>
                <c:pt idx="1631">
                  <c:v>0.01</c:v>
                </c:pt>
                <c:pt idx="1632">
                  <c:v>0.61</c:v>
                </c:pt>
                <c:pt idx="1633">
                  <c:v>2.4</c:v>
                </c:pt>
                <c:pt idx="1634">
                  <c:v>1.21</c:v>
                </c:pt>
                <c:pt idx="1635">
                  <c:v>0.01</c:v>
                </c:pt>
                <c:pt idx="1636">
                  <c:v>0.01</c:v>
                </c:pt>
                <c:pt idx="1637">
                  <c:v>1.21</c:v>
                </c:pt>
                <c:pt idx="1638">
                  <c:v>1.8</c:v>
                </c:pt>
                <c:pt idx="1639">
                  <c:v>-0.6</c:v>
                </c:pt>
                <c:pt idx="1640">
                  <c:v>0.01</c:v>
                </c:pt>
                <c:pt idx="1641">
                  <c:v>0.01</c:v>
                </c:pt>
                <c:pt idx="1642">
                  <c:v>-1.2</c:v>
                </c:pt>
                <c:pt idx="1643">
                  <c:v>1.21</c:v>
                </c:pt>
                <c:pt idx="1644">
                  <c:v>1.21</c:v>
                </c:pt>
                <c:pt idx="1645">
                  <c:v>1.21</c:v>
                </c:pt>
                <c:pt idx="1646">
                  <c:v>2.4</c:v>
                </c:pt>
                <c:pt idx="1647">
                  <c:v>2.4</c:v>
                </c:pt>
                <c:pt idx="1648">
                  <c:v>1.21</c:v>
                </c:pt>
                <c:pt idx="1649">
                  <c:v>1.8</c:v>
                </c:pt>
                <c:pt idx="1650">
                  <c:v>2.4</c:v>
                </c:pt>
                <c:pt idx="1651">
                  <c:v>3.61</c:v>
                </c:pt>
                <c:pt idx="1652">
                  <c:v>3.61</c:v>
                </c:pt>
                <c:pt idx="1653">
                  <c:v>1.21</c:v>
                </c:pt>
                <c:pt idx="1654">
                  <c:v>1.21</c:v>
                </c:pt>
                <c:pt idx="1655">
                  <c:v>3.01</c:v>
                </c:pt>
                <c:pt idx="1656">
                  <c:v>0.01</c:v>
                </c:pt>
                <c:pt idx="1657">
                  <c:v>1.8</c:v>
                </c:pt>
                <c:pt idx="1658">
                  <c:v>0.01</c:v>
                </c:pt>
                <c:pt idx="1659">
                  <c:v>1.21</c:v>
                </c:pt>
                <c:pt idx="1660">
                  <c:v>2.4</c:v>
                </c:pt>
                <c:pt idx="1661">
                  <c:v>1.8</c:v>
                </c:pt>
                <c:pt idx="1662">
                  <c:v>0.01</c:v>
                </c:pt>
                <c:pt idx="1663">
                  <c:v>0.61</c:v>
                </c:pt>
                <c:pt idx="1664">
                  <c:v>0.01</c:v>
                </c:pt>
                <c:pt idx="1665">
                  <c:v>1.21</c:v>
                </c:pt>
                <c:pt idx="1666">
                  <c:v>1.8</c:v>
                </c:pt>
                <c:pt idx="1667">
                  <c:v>0.61</c:v>
                </c:pt>
                <c:pt idx="1668">
                  <c:v>-1.79</c:v>
                </c:pt>
                <c:pt idx="1669">
                  <c:v>1.21</c:v>
                </c:pt>
                <c:pt idx="1670">
                  <c:v>2.4</c:v>
                </c:pt>
                <c:pt idx="1671">
                  <c:v>-0.6</c:v>
                </c:pt>
                <c:pt idx="1672">
                  <c:v>0.01</c:v>
                </c:pt>
                <c:pt idx="1673">
                  <c:v>1.21</c:v>
                </c:pt>
                <c:pt idx="1674">
                  <c:v>-1.2</c:v>
                </c:pt>
                <c:pt idx="1675">
                  <c:v>-1.2</c:v>
                </c:pt>
                <c:pt idx="1676">
                  <c:v>0.61</c:v>
                </c:pt>
                <c:pt idx="1677">
                  <c:v>0.61</c:v>
                </c:pt>
                <c:pt idx="1678">
                  <c:v>1.21</c:v>
                </c:pt>
                <c:pt idx="1679">
                  <c:v>0.61</c:v>
                </c:pt>
                <c:pt idx="1680">
                  <c:v>3.01</c:v>
                </c:pt>
                <c:pt idx="1681">
                  <c:v>0.01</c:v>
                </c:pt>
                <c:pt idx="1682">
                  <c:v>1.8</c:v>
                </c:pt>
                <c:pt idx="1683">
                  <c:v>2.4</c:v>
                </c:pt>
                <c:pt idx="1684">
                  <c:v>0.61</c:v>
                </c:pt>
                <c:pt idx="1685">
                  <c:v>1.8</c:v>
                </c:pt>
                <c:pt idx="1686">
                  <c:v>3.01</c:v>
                </c:pt>
                <c:pt idx="1687">
                  <c:v>1.21</c:v>
                </c:pt>
                <c:pt idx="1688">
                  <c:v>-1.2</c:v>
                </c:pt>
                <c:pt idx="1689">
                  <c:v>2.4</c:v>
                </c:pt>
                <c:pt idx="1690">
                  <c:v>1.21</c:v>
                </c:pt>
                <c:pt idx="1691">
                  <c:v>2.4</c:v>
                </c:pt>
                <c:pt idx="1692">
                  <c:v>2.4</c:v>
                </c:pt>
                <c:pt idx="1693">
                  <c:v>1.21</c:v>
                </c:pt>
                <c:pt idx="1694">
                  <c:v>2.4</c:v>
                </c:pt>
                <c:pt idx="1695">
                  <c:v>1.8</c:v>
                </c:pt>
                <c:pt idx="1696">
                  <c:v>2.4</c:v>
                </c:pt>
                <c:pt idx="1697">
                  <c:v>1.8</c:v>
                </c:pt>
                <c:pt idx="1698">
                  <c:v>1.8</c:v>
                </c:pt>
                <c:pt idx="1699">
                  <c:v>1.8</c:v>
                </c:pt>
                <c:pt idx="1700">
                  <c:v>1.8</c:v>
                </c:pt>
                <c:pt idx="1701">
                  <c:v>0.61</c:v>
                </c:pt>
                <c:pt idx="1702">
                  <c:v>0.61</c:v>
                </c:pt>
                <c:pt idx="1703">
                  <c:v>2.4</c:v>
                </c:pt>
                <c:pt idx="1704">
                  <c:v>0.01</c:v>
                </c:pt>
                <c:pt idx="1705">
                  <c:v>0.61</c:v>
                </c:pt>
                <c:pt idx="1706">
                  <c:v>3.01</c:v>
                </c:pt>
                <c:pt idx="1707">
                  <c:v>0.61</c:v>
                </c:pt>
                <c:pt idx="1708">
                  <c:v>1.21</c:v>
                </c:pt>
                <c:pt idx="1709">
                  <c:v>0.01</c:v>
                </c:pt>
                <c:pt idx="1710">
                  <c:v>1.8</c:v>
                </c:pt>
                <c:pt idx="1711">
                  <c:v>0.01</c:v>
                </c:pt>
                <c:pt idx="1712">
                  <c:v>0.01</c:v>
                </c:pt>
                <c:pt idx="1713">
                  <c:v>1.21</c:v>
                </c:pt>
                <c:pt idx="1714">
                  <c:v>3.01</c:v>
                </c:pt>
                <c:pt idx="1715">
                  <c:v>1.21</c:v>
                </c:pt>
                <c:pt idx="1716">
                  <c:v>1.8</c:v>
                </c:pt>
                <c:pt idx="1717">
                  <c:v>1.8</c:v>
                </c:pt>
                <c:pt idx="1718">
                  <c:v>1.21</c:v>
                </c:pt>
                <c:pt idx="1719">
                  <c:v>1.21</c:v>
                </c:pt>
                <c:pt idx="1720">
                  <c:v>2.4</c:v>
                </c:pt>
                <c:pt idx="1721">
                  <c:v>-1.2</c:v>
                </c:pt>
                <c:pt idx="1722">
                  <c:v>0.61</c:v>
                </c:pt>
                <c:pt idx="1723">
                  <c:v>3.61</c:v>
                </c:pt>
                <c:pt idx="1724">
                  <c:v>3.01</c:v>
                </c:pt>
                <c:pt idx="1725">
                  <c:v>1.8</c:v>
                </c:pt>
                <c:pt idx="1726">
                  <c:v>2.4</c:v>
                </c:pt>
                <c:pt idx="1727">
                  <c:v>3.01</c:v>
                </c:pt>
                <c:pt idx="1728">
                  <c:v>-0.6</c:v>
                </c:pt>
                <c:pt idx="1729">
                  <c:v>1.8</c:v>
                </c:pt>
                <c:pt idx="1730">
                  <c:v>-1.79</c:v>
                </c:pt>
                <c:pt idx="1731">
                  <c:v>2.4</c:v>
                </c:pt>
                <c:pt idx="1732">
                  <c:v>0.61</c:v>
                </c:pt>
                <c:pt idx="1733">
                  <c:v>1.21</c:v>
                </c:pt>
                <c:pt idx="1734">
                  <c:v>3.01</c:v>
                </c:pt>
                <c:pt idx="1735">
                  <c:v>0.61</c:v>
                </c:pt>
                <c:pt idx="1736">
                  <c:v>1.21</c:v>
                </c:pt>
                <c:pt idx="1737">
                  <c:v>1.21</c:v>
                </c:pt>
                <c:pt idx="1738">
                  <c:v>2.4</c:v>
                </c:pt>
                <c:pt idx="1739">
                  <c:v>2.4</c:v>
                </c:pt>
                <c:pt idx="1740">
                  <c:v>1.8</c:v>
                </c:pt>
                <c:pt idx="1741">
                  <c:v>3.01</c:v>
                </c:pt>
                <c:pt idx="1742">
                  <c:v>1.8</c:v>
                </c:pt>
                <c:pt idx="1743">
                  <c:v>3.01</c:v>
                </c:pt>
                <c:pt idx="1744">
                  <c:v>3.61</c:v>
                </c:pt>
                <c:pt idx="1745">
                  <c:v>-0.6</c:v>
                </c:pt>
                <c:pt idx="1746">
                  <c:v>0.61</c:v>
                </c:pt>
                <c:pt idx="1747">
                  <c:v>0.61</c:v>
                </c:pt>
                <c:pt idx="1748">
                  <c:v>1.21</c:v>
                </c:pt>
                <c:pt idx="1749">
                  <c:v>-0.6</c:v>
                </c:pt>
                <c:pt idx="1750">
                  <c:v>3.01</c:v>
                </c:pt>
                <c:pt idx="1751">
                  <c:v>1.8</c:v>
                </c:pt>
                <c:pt idx="1752">
                  <c:v>-1.2</c:v>
                </c:pt>
                <c:pt idx="1753">
                  <c:v>3.01</c:v>
                </c:pt>
                <c:pt idx="1754">
                  <c:v>-0.6</c:v>
                </c:pt>
                <c:pt idx="1755">
                  <c:v>1.21</c:v>
                </c:pt>
                <c:pt idx="1756">
                  <c:v>0.61</c:v>
                </c:pt>
                <c:pt idx="1757">
                  <c:v>-1.2</c:v>
                </c:pt>
                <c:pt idx="1758">
                  <c:v>0.61</c:v>
                </c:pt>
                <c:pt idx="1759">
                  <c:v>-0.6</c:v>
                </c:pt>
                <c:pt idx="1760">
                  <c:v>0.61</c:v>
                </c:pt>
                <c:pt idx="1761">
                  <c:v>-0.6</c:v>
                </c:pt>
                <c:pt idx="1762">
                  <c:v>1.21</c:v>
                </c:pt>
                <c:pt idx="1763">
                  <c:v>0.61</c:v>
                </c:pt>
                <c:pt idx="1764">
                  <c:v>0.61</c:v>
                </c:pt>
                <c:pt idx="1765">
                  <c:v>3.61</c:v>
                </c:pt>
                <c:pt idx="1766">
                  <c:v>3.61</c:v>
                </c:pt>
                <c:pt idx="1767">
                  <c:v>2.4</c:v>
                </c:pt>
                <c:pt idx="1768">
                  <c:v>3.61</c:v>
                </c:pt>
                <c:pt idx="1769">
                  <c:v>0.61</c:v>
                </c:pt>
                <c:pt idx="1770">
                  <c:v>0.61</c:v>
                </c:pt>
                <c:pt idx="1771">
                  <c:v>2.4</c:v>
                </c:pt>
                <c:pt idx="1772">
                  <c:v>4.21</c:v>
                </c:pt>
                <c:pt idx="1773">
                  <c:v>1.8</c:v>
                </c:pt>
                <c:pt idx="1774">
                  <c:v>-0.6</c:v>
                </c:pt>
                <c:pt idx="1775">
                  <c:v>2.4</c:v>
                </c:pt>
                <c:pt idx="1776">
                  <c:v>2.4</c:v>
                </c:pt>
                <c:pt idx="1777">
                  <c:v>1.21</c:v>
                </c:pt>
                <c:pt idx="1778">
                  <c:v>1.21</c:v>
                </c:pt>
                <c:pt idx="1779">
                  <c:v>1.8</c:v>
                </c:pt>
                <c:pt idx="1780">
                  <c:v>1.21</c:v>
                </c:pt>
                <c:pt idx="1781">
                  <c:v>0.61</c:v>
                </c:pt>
                <c:pt idx="1782">
                  <c:v>1.21</c:v>
                </c:pt>
                <c:pt idx="1783">
                  <c:v>1.8</c:v>
                </c:pt>
                <c:pt idx="1784">
                  <c:v>1.21</c:v>
                </c:pt>
                <c:pt idx="1785">
                  <c:v>1.21</c:v>
                </c:pt>
                <c:pt idx="1786">
                  <c:v>1.21</c:v>
                </c:pt>
                <c:pt idx="1787">
                  <c:v>3.01</c:v>
                </c:pt>
                <c:pt idx="1788">
                  <c:v>1.8</c:v>
                </c:pt>
                <c:pt idx="1789">
                  <c:v>1.8</c:v>
                </c:pt>
                <c:pt idx="1790">
                  <c:v>1.8</c:v>
                </c:pt>
                <c:pt idx="1791">
                  <c:v>3.01</c:v>
                </c:pt>
                <c:pt idx="1792">
                  <c:v>1.8</c:v>
                </c:pt>
                <c:pt idx="1793">
                  <c:v>0.61</c:v>
                </c:pt>
                <c:pt idx="1794">
                  <c:v>3.61</c:v>
                </c:pt>
                <c:pt idx="1795">
                  <c:v>0.61</c:v>
                </c:pt>
                <c:pt idx="1796">
                  <c:v>0.61</c:v>
                </c:pt>
                <c:pt idx="1797">
                  <c:v>1.21</c:v>
                </c:pt>
                <c:pt idx="1798">
                  <c:v>1.8</c:v>
                </c:pt>
                <c:pt idx="1799">
                  <c:v>-1.2</c:v>
                </c:pt>
                <c:pt idx="1800">
                  <c:v>1.21</c:v>
                </c:pt>
                <c:pt idx="1801">
                  <c:v>0.01</c:v>
                </c:pt>
                <c:pt idx="1802">
                  <c:v>1.8</c:v>
                </c:pt>
                <c:pt idx="1803">
                  <c:v>2.4</c:v>
                </c:pt>
                <c:pt idx="1804">
                  <c:v>1.8</c:v>
                </c:pt>
                <c:pt idx="1805">
                  <c:v>0.61</c:v>
                </c:pt>
                <c:pt idx="1806">
                  <c:v>3.61</c:v>
                </c:pt>
                <c:pt idx="1807">
                  <c:v>3.01</c:v>
                </c:pt>
                <c:pt idx="1808">
                  <c:v>0.01</c:v>
                </c:pt>
                <c:pt idx="1809">
                  <c:v>3.01</c:v>
                </c:pt>
                <c:pt idx="1810">
                  <c:v>2.4</c:v>
                </c:pt>
                <c:pt idx="1811">
                  <c:v>0.01</c:v>
                </c:pt>
                <c:pt idx="1812">
                  <c:v>2.4</c:v>
                </c:pt>
                <c:pt idx="1813">
                  <c:v>0.61</c:v>
                </c:pt>
                <c:pt idx="1814">
                  <c:v>1.8</c:v>
                </c:pt>
                <c:pt idx="1815">
                  <c:v>1.21</c:v>
                </c:pt>
                <c:pt idx="1816">
                  <c:v>1.8</c:v>
                </c:pt>
                <c:pt idx="1817">
                  <c:v>0.01</c:v>
                </c:pt>
                <c:pt idx="1818">
                  <c:v>1.21</c:v>
                </c:pt>
                <c:pt idx="1819">
                  <c:v>1.21</c:v>
                </c:pt>
                <c:pt idx="1820">
                  <c:v>1.8</c:v>
                </c:pt>
                <c:pt idx="1821">
                  <c:v>1.8</c:v>
                </c:pt>
                <c:pt idx="1822">
                  <c:v>-1.2</c:v>
                </c:pt>
                <c:pt idx="1823">
                  <c:v>0.61</c:v>
                </c:pt>
                <c:pt idx="1824">
                  <c:v>0.01</c:v>
                </c:pt>
                <c:pt idx="1825">
                  <c:v>3.61</c:v>
                </c:pt>
                <c:pt idx="1826">
                  <c:v>1.8</c:v>
                </c:pt>
                <c:pt idx="1827">
                  <c:v>1.21</c:v>
                </c:pt>
                <c:pt idx="1828">
                  <c:v>1.21</c:v>
                </c:pt>
                <c:pt idx="1829">
                  <c:v>1.21</c:v>
                </c:pt>
                <c:pt idx="1830">
                  <c:v>3.01</c:v>
                </c:pt>
                <c:pt idx="1831">
                  <c:v>0.61</c:v>
                </c:pt>
                <c:pt idx="1832">
                  <c:v>0.61</c:v>
                </c:pt>
                <c:pt idx="1833">
                  <c:v>1.21</c:v>
                </c:pt>
                <c:pt idx="1834">
                  <c:v>2.4</c:v>
                </c:pt>
                <c:pt idx="1835">
                  <c:v>1.21</c:v>
                </c:pt>
                <c:pt idx="1836">
                  <c:v>0.61</c:v>
                </c:pt>
                <c:pt idx="1837">
                  <c:v>2.4</c:v>
                </c:pt>
                <c:pt idx="1838">
                  <c:v>2.4</c:v>
                </c:pt>
                <c:pt idx="1839">
                  <c:v>2.4</c:v>
                </c:pt>
                <c:pt idx="1840">
                  <c:v>3.01</c:v>
                </c:pt>
                <c:pt idx="1841">
                  <c:v>0.61</c:v>
                </c:pt>
                <c:pt idx="1842">
                  <c:v>1.21</c:v>
                </c:pt>
                <c:pt idx="1843">
                  <c:v>1.8</c:v>
                </c:pt>
                <c:pt idx="1844">
                  <c:v>1.21</c:v>
                </c:pt>
                <c:pt idx="1845">
                  <c:v>0.01</c:v>
                </c:pt>
                <c:pt idx="1846">
                  <c:v>1.8</c:v>
                </c:pt>
                <c:pt idx="1847">
                  <c:v>0.01</c:v>
                </c:pt>
                <c:pt idx="1848">
                  <c:v>4.21</c:v>
                </c:pt>
                <c:pt idx="1849">
                  <c:v>1.8</c:v>
                </c:pt>
                <c:pt idx="1850">
                  <c:v>1.21</c:v>
                </c:pt>
                <c:pt idx="1851">
                  <c:v>0.01</c:v>
                </c:pt>
                <c:pt idx="1852">
                  <c:v>0.01</c:v>
                </c:pt>
                <c:pt idx="1853">
                  <c:v>1.8</c:v>
                </c:pt>
                <c:pt idx="1854">
                  <c:v>3.01</c:v>
                </c:pt>
                <c:pt idx="1855">
                  <c:v>1.8</c:v>
                </c:pt>
                <c:pt idx="1856">
                  <c:v>0.61</c:v>
                </c:pt>
                <c:pt idx="1857">
                  <c:v>1.21</c:v>
                </c:pt>
                <c:pt idx="1858">
                  <c:v>2.4</c:v>
                </c:pt>
                <c:pt idx="1859">
                  <c:v>0.01</c:v>
                </c:pt>
                <c:pt idx="1860">
                  <c:v>3.01</c:v>
                </c:pt>
                <c:pt idx="1861">
                  <c:v>1.21</c:v>
                </c:pt>
                <c:pt idx="1862">
                  <c:v>1.21</c:v>
                </c:pt>
                <c:pt idx="1863">
                  <c:v>6.01</c:v>
                </c:pt>
                <c:pt idx="1864">
                  <c:v>0.61</c:v>
                </c:pt>
                <c:pt idx="1865">
                  <c:v>0.01</c:v>
                </c:pt>
                <c:pt idx="1866">
                  <c:v>2.4</c:v>
                </c:pt>
                <c:pt idx="1867">
                  <c:v>0.01</c:v>
                </c:pt>
                <c:pt idx="1868">
                  <c:v>4.21</c:v>
                </c:pt>
                <c:pt idx="1869">
                  <c:v>-0.6</c:v>
                </c:pt>
                <c:pt idx="1870">
                  <c:v>2.4</c:v>
                </c:pt>
                <c:pt idx="1871">
                  <c:v>0.01</c:v>
                </c:pt>
                <c:pt idx="1872">
                  <c:v>3.01</c:v>
                </c:pt>
                <c:pt idx="1873">
                  <c:v>1.21</c:v>
                </c:pt>
                <c:pt idx="1874">
                  <c:v>3.01</c:v>
                </c:pt>
                <c:pt idx="1875">
                  <c:v>2.4</c:v>
                </c:pt>
                <c:pt idx="1876">
                  <c:v>2.4</c:v>
                </c:pt>
                <c:pt idx="1877">
                  <c:v>0.61</c:v>
                </c:pt>
                <c:pt idx="1878">
                  <c:v>3.61</c:v>
                </c:pt>
                <c:pt idx="1879">
                  <c:v>1.21</c:v>
                </c:pt>
                <c:pt idx="1880">
                  <c:v>1.21</c:v>
                </c:pt>
                <c:pt idx="1881">
                  <c:v>3.61</c:v>
                </c:pt>
                <c:pt idx="1882">
                  <c:v>1.21</c:v>
                </c:pt>
                <c:pt idx="1883">
                  <c:v>2.4</c:v>
                </c:pt>
                <c:pt idx="1884">
                  <c:v>1.8</c:v>
                </c:pt>
                <c:pt idx="1885">
                  <c:v>0.01</c:v>
                </c:pt>
                <c:pt idx="1886">
                  <c:v>1.8</c:v>
                </c:pt>
                <c:pt idx="1887">
                  <c:v>1.21</c:v>
                </c:pt>
                <c:pt idx="1888">
                  <c:v>0.01</c:v>
                </c:pt>
                <c:pt idx="1889">
                  <c:v>2.4</c:v>
                </c:pt>
                <c:pt idx="1890">
                  <c:v>0.61</c:v>
                </c:pt>
                <c:pt idx="1891">
                  <c:v>-1.79</c:v>
                </c:pt>
                <c:pt idx="1892">
                  <c:v>2.4</c:v>
                </c:pt>
                <c:pt idx="1893">
                  <c:v>2.4</c:v>
                </c:pt>
                <c:pt idx="1894">
                  <c:v>1.21</c:v>
                </c:pt>
                <c:pt idx="1895">
                  <c:v>0.01</c:v>
                </c:pt>
                <c:pt idx="1896">
                  <c:v>1.8</c:v>
                </c:pt>
                <c:pt idx="1897">
                  <c:v>3.61</c:v>
                </c:pt>
                <c:pt idx="1898">
                  <c:v>3.61</c:v>
                </c:pt>
                <c:pt idx="1899">
                  <c:v>1.8</c:v>
                </c:pt>
                <c:pt idx="1900">
                  <c:v>2.4</c:v>
                </c:pt>
                <c:pt idx="1901">
                  <c:v>1.8</c:v>
                </c:pt>
                <c:pt idx="1902">
                  <c:v>0.61</c:v>
                </c:pt>
                <c:pt idx="1903">
                  <c:v>1.8</c:v>
                </c:pt>
                <c:pt idx="1904">
                  <c:v>0.01</c:v>
                </c:pt>
                <c:pt idx="1905">
                  <c:v>1.21</c:v>
                </c:pt>
                <c:pt idx="1906">
                  <c:v>1.21</c:v>
                </c:pt>
                <c:pt idx="1907">
                  <c:v>3.61</c:v>
                </c:pt>
                <c:pt idx="1908">
                  <c:v>0.61</c:v>
                </c:pt>
                <c:pt idx="1909">
                  <c:v>2.4</c:v>
                </c:pt>
                <c:pt idx="1910">
                  <c:v>3.01</c:v>
                </c:pt>
                <c:pt idx="1911">
                  <c:v>1.8</c:v>
                </c:pt>
                <c:pt idx="1912">
                  <c:v>1.21</c:v>
                </c:pt>
                <c:pt idx="1913">
                  <c:v>2.4</c:v>
                </c:pt>
                <c:pt idx="1914">
                  <c:v>1.21</c:v>
                </c:pt>
                <c:pt idx="1915">
                  <c:v>1.8</c:v>
                </c:pt>
                <c:pt idx="1916">
                  <c:v>1.21</c:v>
                </c:pt>
                <c:pt idx="1917">
                  <c:v>2.4</c:v>
                </c:pt>
                <c:pt idx="1918">
                  <c:v>2.4</c:v>
                </c:pt>
                <c:pt idx="1919">
                  <c:v>1.8</c:v>
                </c:pt>
                <c:pt idx="1920">
                  <c:v>0.01</c:v>
                </c:pt>
                <c:pt idx="1921">
                  <c:v>2.4</c:v>
                </c:pt>
                <c:pt idx="1922">
                  <c:v>2.4</c:v>
                </c:pt>
                <c:pt idx="1923">
                  <c:v>2.4</c:v>
                </c:pt>
                <c:pt idx="1924">
                  <c:v>0.01</c:v>
                </c:pt>
                <c:pt idx="1925">
                  <c:v>1.8</c:v>
                </c:pt>
                <c:pt idx="1926">
                  <c:v>3.01</c:v>
                </c:pt>
                <c:pt idx="1927">
                  <c:v>2.4</c:v>
                </c:pt>
                <c:pt idx="1928">
                  <c:v>2.4</c:v>
                </c:pt>
                <c:pt idx="1929">
                  <c:v>0.01</c:v>
                </c:pt>
                <c:pt idx="1930">
                  <c:v>2.4</c:v>
                </c:pt>
                <c:pt idx="1931">
                  <c:v>0.61</c:v>
                </c:pt>
                <c:pt idx="1932">
                  <c:v>1.8</c:v>
                </c:pt>
                <c:pt idx="1933">
                  <c:v>3.01</c:v>
                </c:pt>
                <c:pt idx="1934">
                  <c:v>3.01</c:v>
                </c:pt>
                <c:pt idx="1935">
                  <c:v>2.4</c:v>
                </c:pt>
                <c:pt idx="1936">
                  <c:v>2.4</c:v>
                </c:pt>
                <c:pt idx="1937">
                  <c:v>1.21</c:v>
                </c:pt>
                <c:pt idx="1938">
                  <c:v>1.21</c:v>
                </c:pt>
                <c:pt idx="1939">
                  <c:v>3.01</c:v>
                </c:pt>
                <c:pt idx="1940">
                  <c:v>3.01</c:v>
                </c:pt>
                <c:pt idx="1941">
                  <c:v>1.8</c:v>
                </c:pt>
                <c:pt idx="1942">
                  <c:v>1.21</c:v>
                </c:pt>
                <c:pt idx="1943">
                  <c:v>1.8</c:v>
                </c:pt>
                <c:pt idx="1944">
                  <c:v>2.4</c:v>
                </c:pt>
                <c:pt idx="1945">
                  <c:v>2.4</c:v>
                </c:pt>
                <c:pt idx="1946">
                  <c:v>-1.79</c:v>
                </c:pt>
                <c:pt idx="1947">
                  <c:v>4.8</c:v>
                </c:pt>
                <c:pt idx="1948">
                  <c:v>2.4</c:v>
                </c:pt>
                <c:pt idx="1949">
                  <c:v>3.01</c:v>
                </c:pt>
                <c:pt idx="1950">
                  <c:v>1.21</c:v>
                </c:pt>
                <c:pt idx="1951">
                  <c:v>1.8</c:v>
                </c:pt>
                <c:pt idx="1952">
                  <c:v>1.8</c:v>
                </c:pt>
                <c:pt idx="1953">
                  <c:v>1.8</c:v>
                </c:pt>
                <c:pt idx="1954">
                  <c:v>1.21</c:v>
                </c:pt>
                <c:pt idx="1955">
                  <c:v>3.61</c:v>
                </c:pt>
                <c:pt idx="1956">
                  <c:v>1.8</c:v>
                </c:pt>
                <c:pt idx="1957">
                  <c:v>-0.6</c:v>
                </c:pt>
                <c:pt idx="1958">
                  <c:v>1.8</c:v>
                </c:pt>
                <c:pt idx="1959">
                  <c:v>2.4</c:v>
                </c:pt>
                <c:pt idx="1960">
                  <c:v>3.01</c:v>
                </c:pt>
                <c:pt idx="1961">
                  <c:v>0.61</c:v>
                </c:pt>
                <c:pt idx="1962">
                  <c:v>0.61</c:v>
                </c:pt>
                <c:pt idx="1963">
                  <c:v>3.01</c:v>
                </c:pt>
                <c:pt idx="1964">
                  <c:v>-0.6</c:v>
                </c:pt>
                <c:pt idx="1965">
                  <c:v>2.4</c:v>
                </c:pt>
                <c:pt idx="1966">
                  <c:v>3.01</c:v>
                </c:pt>
                <c:pt idx="1967">
                  <c:v>0.01</c:v>
                </c:pt>
                <c:pt idx="1968">
                  <c:v>2.4</c:v>
                </c:pt>
                <c:pt idx="1969">
                  <c:v>1.8</c:v>
                </c:pt>
                <c:pt idx="1970">
                  <c:v>1.8</c:v>
                </c:pt>
                <c:pt idx="1971">
                  <c:v>2.4</c:v>
                </c:pt>
                <c:pt idx="1972">
                  <c:v>3.61</c:v>
                </c:pt>
                <c:pt idx="1973">
                  <c:v>1.8</c:v>
                </c:pt>
                <c:pt idx="1974">
                  <c:v>1.8</c:v>
                </c:pt>
                <c:pt idx="1975">
                  <c:v>1.8</c:v>
                </c:pt>
                <c:pt idx="1976">
                  <c:v>1.21</c:v>
                </c:pt>
                <c:pt idx="1977">
                  <c:v>0.61</c:v>
                </c:pt>
                <c:pt idx="1978">
                  <c:v>3.01</c:v>
                </c:pt>
                <c:pt idx="1979">
                  <c:v>0.01</c:v>
                </c:pt>
                <c:pt idx="1980">
                  <c:v>4.21</c:v>
                </c:pt>
                <c:pt idx="1981">
                  <c:v>2.4</c:v>
                </c:pt>
                <c:pt idx="1982">
                  <c:v>1.21</c:v>
                </c:pt>
                <c:pt idx="1983">
                  <c:v>1.8</c:v>
                </c:pt>
                <c:pt idx="1984">
                  <c:v>1.8</c:v>
                </c:pt>
                <c:pt idx="1985">
                  <c:v>0.61</c:v>
                </c:pt>
                <c:pt idx="1986">
                  <c:v>2.4</c:v>
                </c:pt>
                <c:pt idx="1987">
                  <c:v>2.4</c:v>
                </c:pt>
                <c:pt idx="1988">
                  <c:v>3.01</c:v>
                </c:pt>
                <c:pt idx="1989">
                  <c:v>1.21</c:v>
                </c:pt>
                <c:pt idx="1990">
                  <c:v>2.4</c:v>
                </c:pt>
                <c:pt idx="1991">
                  <c:v>1.21</c:v>
                </c:pt>
                <c:pt idx="1992">
                  <c:v>1.8</c:v>
                </c:pt>
                <c:pt idx="1993">
                  <c:v>0.61</c:v>
                </c:pt>
                <c:pt idx="1994">
                  <c:v>1.21</c:v>
                </c:pt>
                <c:pt idx="1995">
                  <c:v>1.8</c:v>
                </c:pt>
                <c:pt idx="1996">
                  <c:v>1.8</c:v>
                </c:pt>
                <c:pt idx="1997">
                  <c:v>1.21</c:v>
                </c:pt>
                <c:pt idx="1998">
                  <c:v>0.61</c:v>
                </c:pt>
                <c:pt idx="1999">
                  <c:v>2.4</c:v>
                </c:pt>
                <c:pt idx="2000">
                  <c:v>3.01</c:v>
                </c:pt>
                <c:pt idx="2001">
                  <c:v>3.01</c:v>
                </c:pt>
                <c:pt idx="2002">
                  <c:v>3.01</c:v>
                </c:pt>
                <c:pt idx="2003">
                  <c:v>2.4</c:v>
                </c:pt>
                <c:pt idx="2004">
                  <c:v>2.4</c:v>
                </c:pt>
                <c:pt idx="2005">
                  <c:v>3.01</c:v>
                </c:pt>
                <c:pt idx="2006">
                  <c:v>2.4</c:v>
                </c:pt>
                <c:pt idx="2007">
                  <c:v>3.61</c:v>
                </c:pt>
                <c:pt idx="2008">
                  <c:v>0.01</c:v>
                </c:pt>
                <c:pt idx="2009">
                  <c:v>1.21</c:v>
                </c:pt>
                <c:pt idx="2010">
                  <c:v>1.8</c:v>
                </c:pt>
                <c:pt idx="2011">
                  <c:v>0.61</c:v>
                </c:pt>
                <c:pt idx="2012">
                  <c:v>2.4</c:v>
                </c:pt>
                <c:pt idx="2013">
                  <c:v>-0.6</c:v>
                </c:pt>
                <c:pt idx="2014">
                  <c:v>1.21</c:v>
                </c:pt>
                <c:pt idx="2015">
                  <c:v>3.61</c:v>
                </c:pt>
                <c:pt idx="2016">
                  <c:v>1.8</c:v>
                </c:pt>
                <c:pt idx="2017">
                  <c:v>3.01</c:v>
                </c:pt>
                <c:pt idx="2018">
                  <c:v>2.4</c:v>
                </c:pt>
                <c:pt idx="2019">
                  <c:v>1.8</c:v>
                </c:pt>
                <c:pt idx="2020">
                  <c:v>0.61</c:v>
                </c:pt>
                <c:pt idx="2021">
                  <c:v>0.61</c:v>
                </c:pt>
                <c:pt idx="2022">
                  <c:v>3.01</c:v>
                </c:pt>
                <c:pt idx="2023">
                  <c:v>3.01</c:v>
                </c:pt>
                <c:pt idx="2024">
                  <c:v>1.8</c:v>
                </c:pt>
                <c:pt idx="2025">
                  <c:v>1.8</c:v>
                </c:pt>
                <c:pt idx="2026">
                  <c:v>2.4</c:v>
                </c:pt>
                <c:pt idx="2027">
                  <c:v>2.4</c:v>
                </c:pt>
                <c:pt idx="2028">
                  <c:v>4.21</c:v>
                </c:pt>
                <c:pt idx="2029">
                  <c:v>1.21</c:v>
                </c:pt>
                <c:pt idx="2030">
                  <c:v>3.01</c:v>
                </c:pt>
                <c:pt idx="2031">
                  <c:v>2.4</c:v>
                </c:pt>
                <c:pt idx="2032">
                  <c:v>1.21</c:v>
                </c:pt>
                <c:pt idx="2033">
                  <c:v>2.4</c:v>
                </c:pt>
                <c:pt idx="2034">
                  <c:v>3.01</c:v>
                </c:pt>
                <c:pt idx="2035">
                  <c:v>4.21</c:v>
                </c:pt>
                <c:pt idx="2036">
                  <c:v>1.21</c:v>
                </c:pt>
                <c:pt idx="2037">
                  <c:v>1.8</c:v>
                </c:pt>
                <c:pt idx="2038">
                  <c:v>2.4</c:v>
                </c:pt>
                <c:pt idx="2039">
                  <c:v>2.4</c:v>
                </c:pt>
                <c:pt idx="2040">
                  <c:v>3.01</c:v>
                </c:pt>
                <c:pt idx="2041">
                  <c:v>2.4</c:v>
                </c:pt>
                <c:pt idx="2042">
                  <c:v>4.8</c:v>
                </c:pt>
                <c:pt idx="2043">
                  <c:v>2.4</c:v>
                </c:pt>
                <c:pt idx="2044">
                  <c:v>4.21</c:v>
                </c:pt>
                <c:pt idx="2045">
                  <c:v>3.01</c:v>
                </c:pt>
                <c:pt idx="2046">
                  <c:v>3.61</c:v>
                </c:pt>
                <c:pt idx="2047">
                  <c:v>1.21</c:v>
                </c:pt>
                <c:pt idx="2048">
                  <c:v>1.21</c:v>
                </c:pt>
                <c:pt idx="2049">
                  <c:v>2.4</c:v>
                </c:pt>
                <c:pt idx="2050">
                  <c:v>3.61</c:v>
                </c:pt>
                <c:pt idx="2051">
                  <c:v>3.01</c:v>
                </c:pt>
                <c:pt idx="2052">
                  <c:v>3.01</c:v>
                </c:pt>
                <c:pt idx="2053">
                  <c:v>4.21</c:v>
                </c:pt>
                <c:pt idx="2054">
                  <c:v>2.4</c:v>
                </c:pt>
                <c:pt idx="2055">
                  <c:v>1.8</c:v>
                </c:pt>
                <c:pt idx="2056">
                  <c:v>2.4</c:v>
                </c:pt>
                <c:pt idx="2057">
                  <c:v>1.21</c:v>
                </c:pt>
                <c:pt idx="2058">
                  <c:v>3.61</c:v>
                </c:pt>
                <c:pt idx="2059">
                  <c:v>2.4</c:v>
                </c:pt>
                <c:pt idx="2060">
                  <c:v>1.8</c:v>
                </c:pt>
                <c:pt idx="2061">
                  <c:v>3.61</c:v>
                </c:pt>
                <c:pt idx="2062">
                  <c:v>1.8</c:v>
                </c:pt>
                <c:pt idx="2063">
                  <c:v>2.4</c:v>
                </c:pt>
                <c:pt idx="2064">
                  <c:v>3.01</c:v>
                </c:pt>
                <c:pt idx="2065">
                  <c:v>1.8</c:v>
                </c:pt>
                <c:pt idx="2066">
                  <c:v>1.8</c:v>
                </c:pt>
                <c:pt idx="2067">
                  <c:v>1.21</c:v>
                </c:pt>
                <c:pt idx="2068">
                  <c:v>6.01</c:v>
                </c:pt>
                <c:pt idx="2069">
                  <c:v>2.4</c:v>
                </c:pt>
                <c:pt idx="2070">
                  <c:v>0.61</c:v>
                </c:pt>
                <c:pt idx="2071">
                  <c:v>3.01</c:v>
                </c:pt>
                <c:pt idx="2072">
                  <c:v>1.21</c:v>
                </c:pt>
                <c:pt idx="2073">
                  <c:v>4.21</c:v>
                </c:pt>
                <c:pt idx="2074">
                  <c:v>2.4</c:v>
                </c:pt>
                <c:pt idx="2075">
                  <c:v>4.21</c:v>
                </c:pt>
                <c:pt idx="2076">
                  <c:v>1.8</c:v>
                </c:pt>
                <c:pt idx="2077">
                  <c:v>0.61</c:v>
                </c:pt>
                <c:pt idx="2078">
                  <c:v>3.61</c:v>
                </c:pt>
                <c:pt idx="2079">
                  <c:v>1.8</c:v>
                </c:pt>
                <c:pt idx="2080">
                  <c:v>0.61</c:v>
                </c:pt>
                <c:pt idx="2081">
                  <c:v>4.8</c:v>
                </c:pt>
                <c:pt idx="2082">
                  <c:v>2.4</c:v>
                </c:pt>
                <c:pt idx="2083">
                  <c:v>1.8</c:v>
                </c:pt>
                <c:pt idx="2084">
                  <c:v>2.4</c:v>
                </c:pt>
                <c:pt idx="2085">
                  <c:v>4.21</c:v>
                </c:pt>
                <c:pt idx="2086">
                  <c:v>0.01</c:v>
                </c:pt>
                <c:pt idx="2087">
                  <c:v>0.61</c:v>
                </c:pt>
                <c:pt idx="2088">
                  <c:v>0.61</c:v>
                </c:pt>
                <c:pt idx="2089">
                  <c:v>2.4</c:v>
                </c:pt>
                <c:pt idx="2090">
                  <c:v>1.8</c:v>
                </c:pt>
                <c:pt idx="2091">
                  <c:v>2.4</c:v>
                </c:pt>
                <c:pt idx="2092">
                  <c:v>3.61</c:v>
                </c:pt>
                <c:pt idx="2093">
                  <c:v>2.4</c:v>
                </c:pt>
                <c:pt idx="2094">
                  <c:v>2.4</c:v>
                </c:pt>
                <c:pt idx="2095">
                  <c:v>3.61</c:v>
                </c:pt>
                <c:pt idx="2096">
                  <c:v>1.8</c:v>
                </c:pt>
                <c:pt idx="2097">
                  <c:v>1.21</c:v>
                </c:pt>
                <c:pt idx="2098">
                  <c:v>1.8</c:v>
                </c:pt>
                <c:pt idx="2099">
                  <c:v>1.21</c:v>
                </c:pt>
                <c:pt idx="2100">
                  <c:v>3.01</c:v>
                </c:pt>
                <c:pt idx="2101">
                  <c:v>2.4</c:v>
                </c:pt>
                <c:pt idx="2102">
                  <c:v>0.61</c:v>
                </c:pt>
                <c:pt idx="2103">
                  <c:v>2.4</c:v>
                </c:pt>
                <c:pt idx="2104">
                  <c:v>2.4</c:v>
                </c:pt>
                <c:pt idx="2105">
                  <c:v>4.21</c:v>
                </c:pt>
                <c:pt idx="2106">
                  <c:v>3.01</c:v>
                </c:pt>
                <c:pt idx="2107">
                  <c:v>1.21</c:v>
                </c:pt>
                <c:pt idx="2108">
                  <c:v>1.8</c:v>
                </c:pt>
                <c:pt idx="2109">
                  <c:v>2.4</c:v>
                </c:pt>
                <c:pt idx="2110">
                  <c:v>1.21</c:v>
                </c:pt>
                <c:pt idx="2111">
                  <c:v>2.4</c:v>
                </c:pt>
                <c:pt idx="2112">
                  <c:v>3.01</c:v>
                </c:pt>
                <c:pt idx="2113">
                  <c:v>1.8</c:v>
                </c:pt>
                <c:pt idx="2114">
                  <c:v>1.8</c:v>
                </c:pt>
                <c:pt idx="2115">
                  <c:v>1.8</c:v>
                </c:pt>
                <c:pt idx="2116">
                  <c:v>2.4</c:v>
                </c:pt>
                <c:pt idx="2117">
                  <c:v>0.61</c:v>
                </c:pt>
                <c:pt idx="2118">
                  <c:v>1.8</c:v>
                </c:pt>
                <c:pt idx="2119">
                  <c:v>1.21</c:v>
                </c:pt>
                <c:pt idx="2120">
                  <c:v>3.61</c:v>
                </c:pt>
                <c:pt idx="2121">
                  <c:v>2.4</c:v>
                </c:pt>
                <c:pt idx="2122">
                  <c:v>1.8</c:v>
                </c:pt>
                <c:pt idx="2123">
                  <c:v>1.8</c:v>
                </c:pt>
                <c:pt idx="2124">
                  <c:v>1.21</c:v>
                </c:pt>
                <c:pt idx="2125">
                  <c:v>0.61</c:v>
                </c:pt>
                <c:pt idx="2126">
                  <c:v>2.4</c:v>
                </c:pt>
                <c:pt idx="2127">
                  <c:v>1.8</c:v>
                </c:pt>
                <c:pt idx="2128">
                  <c:v>2.4</c:v>
                </c:pt>
                <c:pt idx="2129">
                  <c:v>2.4</c:v>
                </c:pt>
                <c:pt idx="2130">
                  <c:v>3.01</c:v>
                </c:pt>
                <c:pt idx="2131">
                  <c:v>2.4</c:v>
                </c:pt>
                <c:pt idx="2132">
                  <c:v>3.61</c:v>
                </c:pt>
                <c:pt idx="2133">
                  <c:v>1.21</c:v>
                </c:pt>
                <c:pt idx="2134">
                  <c:v>3.01</c:v>
                </c:pt>
                <c:pt idx="2135">
                  <c:v>2.4</c:v>
                </c:pt>
                <c:pt idx="2136">
                  <c:v>3.01</c:v>
                </c:pt>
                <c:pt idx="2137">
                  <c:v>0.61</c:v>
                </c:pt>
                <c:pt idx="2138">
                  <c:v>1.21</c:v>
                </c:pt>
                <c:pt idx="2139">
                  <c:v>1.8</c:v>
                </c:pt>
                <c:pt idx="2140">
                  <c:v>1.8</c:v>
                </c:pt>
                <c:pt idx="2141">
                  <c:v>4.21</c:v>
                </c:pt>
                <c:pt idx="2142">
                  <c:v>1.21</c:v>
                </c:pt>
                <c:pt idx="2143">
                  <c:v>4.21</c:v>
                </c:pt>
                <c:pt idx="2144">
                  <c:v>1.21</c:v>
                </c:pt>
                <c:pt idx="2145">
                  <c:v>0.01</c:v>
                </c:pt>
                <c:pt idx="2146">
                  <c:v>1.8</c:v>
                </c:pt>
                <c:pt idx="2147">
                  <c:v>1.8</c:v>
                </c:pt>
                <c:pt idx="2148">
                  <c:v>1.8</c:v>
                </c:pt>
                <c:pt idx="2149">
                  <c:v>3.01</c:v>
                </c:pt>
                <c:pt idx="2150">
                  <c:v>3.01</c:v>
                </c:pt>
                <c:pt idx="2151">
                  <c:v>2.4</c:v>
                </c:pt>
                <c:pt idx="2152">
                  <c:v>2.4</c:v>
                </c:pt>
                <c:pt idx="2153">
                  <c:v>1.21</c:v>
                </c:pt>
                <c:pt idx="2154">
                  <c:v>1.8</c:v>
                </c:pt>
                <c:pt idx="2155">
                  <c:v>4.21</c:v>
                </c:pt>
                <c:pt idx="2156">
                  <c:v>1.8</c:v>
                </c:pt>
                <c:pt idx="2157">
                  <c:v>1.21</c:v>
                </c:pt>
                <c:pt idx="2158">
                  <c:v>2.4</c:v>
                </c:pt>
                <c:pt idx="2159">
                  <c:v>1.8</c:v>
                </c:pt>
                <c:pt idx="2160">
                  <c:v>3.61</c:v>
                </c:pt>
                <c:pt idx="2161">
                  <c:v>3.01</c:v>
                </c:pt>
                <c:pt idx="2162">
                  <c:v>3.01</c:v>
                </c:pt>
                <c:pt idx="2163">
                  <c:v>3.61</c:v>
                </c:pt>
                <c:pt idx="2164">
                  <c:v>2.4</c:v>
                </c:pt>
                <c:pt idx="2165">
                  <c:v>1.8</c:v>
                </c:pt>
                <c:pt idx="2166">
                  <c:v>2.4</c:v>
                </c:pt>
                <c:pt idx="2167">
                  <c:v>3.61</c:v>
                </c:pt>
                <c:pt idx="2168">
                  <c:v>3.61</c:v>
                </c:pt>
                <c:pt idx="2169">
                  <c:v>4.21</c:v>
                </c:pt>
                <c:pt idx="2170">
                  <c:v>1.21</c:v>
                </c:pt>
                <c:pt idx="2171">
                  <c:v>3.01</c:v>
                </c:pt>
                <c:pt idx="2172">
                  <c:v>3.61</c:v>
                </c:pt>
                <c:pt idx="2173">
                  <c:v>-0.6</c:v>
                </c:pt>
                <c:pt idx="2174">
                  <c:v>2.4</c:v>
                </c:pt>
                <c:pt idx="2175">
                  <c:v>2.4</c:v>
                </c:pt>
                <c:pt idx="2176">
                  <c:v>3.61</c:v>
                </c:pt>
                <c:pt idx="2177">
                  <c:v>3.01</c:v>
                </c:pt>
                <c:pt idx="2178">
                  <c:v>2.4</c:v>
                </c:pt>
                <c:pt idx="2179">
                  <c:v>4.21</c:v>
                </c:pt>
                <c:pt idx="2180">
                  <c:v>3.01</c:v>
                </c:pt>
                <c:pt idx="2181">
                  <c:v>3.01</c:v>
                </c:pt>
                <c:pt idx="2182">
                  <c:v>0.01</c:v>
                </c:pt>
                <c:pt idx="2183">
                  <c:v>3.01</c:v>
                </c:pt>
                <c:pt idx="2184">
                  <c:v>3.01</c:v>
                </c:pt>
                <c:pt idx="2185">
                  <c:v>2.4</c:v>
                </c:pt>
                <c:pt idx="2186">
                  <c:v>1.8</c:v>
                </c:pt>
                <c:pt idx="2187">
                  <c:v>2.4</c:v>
                </c:pt>
                <c:pt idx="2188">
                  <c:v>2.4</c:v>
                </c:pt>
                <c:pt idx="2189">
                  <c:v>3.01</c:v>
                </c:pt>
                <c:pt idx="2190">
                  <c:v>3.61</c:v>
                </c:pt>
                <c:pt idx="2191">
                  <c:v>3.61</c:v>
                </c:pt>
                <c:pt idx="2192">
                  <c:v>1.8</c:v>
                </c:pt>
                <c:pt idx="2193">
                  <c:v>1.8</c:v>
                </c:pt>
                <c:pt idx="2194">
                  <c:v>0.61</c:v>
                </c:pt>
                <c:pt idx="2195">
                  <c:v>1.8</c:v>
                </c:pt>
                <c:pt idx="2196">
                  <c:v>4.21</c:v>
                </c:pt>
                <c:pt idx="2197">
                  <c:v>1.8</c:v>
                </c:pt>
                <c:pt idx="2198">
                  <c:v>2.4</c:v>
                </c:pt>
                <c:pt idx="2199">
                  <c:v>3.61</c:v>
                </c:pt>
                <c:pt idx="2200">
                  <c:v>3.01</c:v>
                </c:pt>
                <c:pt idx="2201">
                  <c:v>4.21</c:v>
                </c:pt>
                <c:pt idx="2202">
                  <c:v>1.21</c:v>
                </c:pt>
                <c:pt idx="2203">
                  <c:v>1.8</c:v>
                </c:pt>
                <c:pt idx="2204">
                  <c:v>2.4</c:v>
                </c:pt>
                <c:pt idx="2205">
                  <c:v>3.01</c:v>
                </c:pt>
                <c:pt idx="2206">
                  <c:v>3.01</c:v>
                </c:pt>
                <c:pt idx="2207">
                  <c:v>3.01</c:v>
                </c:pt>
                <c:pt idx="2208">
                  <c:v>1.8</c:v>
                </c:pt>
                <c:pt idx="2209">
                  <c:v>2.4</c:v>
                </c:pt>
                <c:pt idx="2210">
                  <c:v>0.61</c:v>
                </c:pt>
                <c:pt idx="2211">
                  <c:v>2.4</c:v>
                </c:pt>
                <c:pt idx="2212">
                  <c:v>3.61</c:v>
                </c:pt>
                <c:pt idx="2213">
                  <c:v>1.21</c:v>
                </c:pt>
                <c:pt idx="2214">
                  <c:v>1.21</c:v>
                </c:pt>
                <c:pt idx="2215">
                  <c:v>3.61</c:v>
                </c:pt>
                <c:pt idx="2216">
                  <c:v>4.8</c:v>
                </c:pt>
                <c:pt idx="2217">
                  <c:v>1.8</c:v>
                </c:pt>
                <c:pt idx="2218">
                  <c:v>2.4</c:v>
                </c:pt>
                <c:pt idx="2219">
                  <c:v>2.4</c:v>
                </c:pt>
                <c:pt idx="2220">
                  <c:v>2.4</c:v>
                </c:pt>
                <c:pt idx="2221">
                  <c:v>4.21</c:v>
                </c:pt>
                <c:pt idx="2222">
                  <c:v>0.01</c:v>
                </c:pt>
                <c:pt idx="2223">
                  <c:v>3.01</c:v>
                </c:pt>
                <c:pt idx="2224">
                  <c:v>4.8</c:v>
                </c:pt>
                <c:pt idx="2225">
                  <c:v>3.01</c:v>
                </c:pt>
                <c:pt idx="2226">
                  <c:v>3.61</c:v>
                </c:pt>
                <c:pt idx="2227">
                  <c:v>3.61</c:v>
                </c:pt>
                <c:pt idx="2228">
                  <c:v>1.21</c:v>
                </c:pt>
                <c:pt idx="2229">
                  <c:v>2.4</c:v>
                </c:pt>
                <c:pt idx="2230">
                  <c:v>1.8</c:v>
                </c:pt>
                <c:pt idx="2231">
                  <c:v>0.61</c:v>
                </c:pt>
                <c:pt idx="2232">
                  <c:v>3.61</c:v>
                </c:pt>
                <c:pt idx="2233">
                  <c:v>3.01</c:v>
                </c:pt>
                <c:pt idx="2234">
                  <c:v>2.4</c:v>
                </c:pt>
                <c:pt idx="2235">
                  <c:v>3.01</c:v>
                </c:pt>
                <c:pt idx="2236">
                  <c:v>2.4</c:v>
                </c:pt>
                <c:pt idx="2237">
                  <c:v>2.4</c:v>
                </c:pt>
                <c:pt idx="2238">
                  <c:v>3.01</c:v>
                </c:pt>
                <c:pt idx="2239">
                  <c:v>0.61</c:v>
                </c:pt>
                <c:pt idx="2240">
                  <c:v>2.4</c:v>
                </c:pt>
                <c:pt idx="2241">
                  <c:v>0.01</c:v>
                </c:pt>
                <c:pt idx="2242">
                  <c:v>3.01</c:v>
                </c:pt>
                <c:pt idx="2243">
                  <c:v>1.21</c:v>
                </c:pt>
                <c:pt idx="2244">
                  <c:v>2.4</c:v>
                </c:pt>
                <c:pt idx="2245">
                  <c:v>3.01</c:v>
                </c:pt>
                <c:pt idx="2246">
                  <c:v>2.4</c:v>
                </c:pt>
                <c:pt idx="2247">
                  <c:v>3.61</c:v>
                </c:pt>
                <c:pt idx="2248">
                  <c:v>3.01</c:v>
                </c:pt>
                <c:pt idx="2249">
                  <c:v>2.4</c:v>
                </c:pt>
                <c:pt idx="2250">
                  <c:v>2.4</c:v>
                </c:pt>
                <c:pt idx="2251">
                  <c:v>3.01</c:v>
                </c:pt>
                <c:pt idx="2252">
                  <c:v>2.4</c:v>
                </c:pt>
                <c:pt idx="2253">
                  <c:v>3.01</c:v>
                </c:pt>
                <c:pt idx="2254">
                  <c:v>3.01</c:v>
                </c:pt>
                <c:pt idx="2255">
                  <c:v>1.8</c:v>
                </c:pt>
                <c:pt idx="2256">
                  <c:v>3.61</c:v>
                </c:pt>
                <c:pt idx="2257">
                  <c:v>2.4</c:v>
                </c:pt>
                <c:pt idx="2258">
                  <c:v>4.21</c:v>
                </c:pt>
                <c:pt idx="2259">
                  <c:v>4.21</c:v>
                </c:pt>
                <c:pt idx="2260">
                  <c:v>3.01</c:v>
                </c:pt>
                <c:pt idx="2261">
                  <c:v>4.21</c:v>
                </c:pt>
                <c:pt idx="2262">
                  <c:v>2.4</c:v>
                </c:pt>
                <c:pt idx="2263">
                  <c:v>1.8</c:v>
                </c:pt>
                <c:pt idx="2264">
                  <c:v>3.61</c:v>
                </c:pt>
                <c:pt idx="2265">
                  <c:v>2.4</c:v>
                </c:pt>
                <c:pt idx="2266">
                  <c:v>2.4</c:v>
                </c:pt>
                <c:pt idx="2267">
                  <c:v>3.01</c:v>
                </c:pt>
                <c:pt idx="2268">
                  <c:v>3.61</c:v>
                </c:pt>
                <c:pt idx="2269">
                  <c:v>3.61</c:v>
                </c:pt>
                <c:pt idx="2270">
                  <c:v>1.21</c:v>
                </c:pt>
                <c:pt idx="2271">
                  <c:v>3.01</c:v>
                </c:pt>
                <c:pt idx="2272">
                  <c:v>2.4</c:v>
                </c:pt>
                <c:pt idx="2273">
                  <c:v>1.8</c:v>
                </c:pt>
                <c:pt idx="2274">
                  <c:v>1.21</c:v>
                </c:pt>
                <c:pt idx="2275">
                  <c:v>3.01</c:v>
                </c:pt>
                <c:pt idx="2276">
                  <c:v>1.21</c:v>
                </c:pt>
                <c:pt idx="2277">
                  <c:v>2.4</c:v>
                </c:pt>
                <c:pt idx="2278">
                  <c:v>2.4</c:v>
                </c:pt>
                <c:pt idx="2279">
                  <c:v>0.01</c:v>
                </c:pt>
                <c:pt idx="2280">
                  <c:v>2.4</c:v>
                </c:pt>
                <c:pt idx="2281">
                  <c:v>3.01</c:v>
                </c:pt>
                <c:pt idx="2282">
                  <c:v>2.4</c:v>
                </c:pt>
                <c:pt idx="2283">
                  <c:v>2.4</c:v>
                </c:pt>
                <c:pt idx="2284">
                  <c:v>3.61</c:v>
                </c:pt>
                <c:pt idx="2285">
                  <c:v>0.61</c:v>
                </c:pt>
                <c:pt idx="2286">
                  <c:v>3.01</c:v>
                </c:pt>
                <c:pt idx="2287">
                  <c:v>4.21</c:v>
                </c:pt>
                <c:pt idx="2288">
                  <c:v>3.01</c:v>
                </c:pt>
                <c:pt idx="2289">
                  <c:v>4.21</c:v>
                </c:pt>
                <c:pt idx="2290">
                  <c:v>0.01</c:v>
                </c:pt>
                <c:pt idx="2291">
                  <c:v>1.21</c:v>
                </c:pt>
                <c:pt idx="2292">
                  <c:v>1.21</c:v>
                </c:pt>
                <c:pt idx="2293">
                  <c:v>3.61</c:v>
                </c:pt>
                <c:pt idx="2294">
                  <c:v>4.21</c:v>
                </c:pt>
                <c:pt idx="2295">
                  <c:v>4.21</c:v>
                </c:pt>
                <c:pt idx="2296">
                  <c:v>3.61</c:v>
                </c:pt>
                <c:pt idx="2297">
                  <c:v>4.21</c:v>
                </c:pt>
                <c:pt idx="2298">
                  <c:v>3.01</c:v>
                </c:pt>
                <c:pt idx="2299">
                  <c:v>1.21</c:v>
                </c:pt>
                <c:pt idx="2300">
                  <c:v>3.01</c:v>
                </c:pt>
                <c:pt idx="2301">
                  <c:v>3.01</c:v>
                </c:pt>
                <c:pt idx="2302">
                  <c:v>3.61</c:v>
                </c:pt>
                <c:pt idx="2303">
                  <c:v>3.61</c:v>
                </c:pt>
                <c:pt idx="2304">
                  <c:v>3.01</c:v>
                </c:pt>
                <c:pt idx="2305">
                  <c:v>3.61</c:v>
                </c:pt>
                <c:pt idx="2306">
                  <c:v>0.61</c:v>
                </c:pt>
                <c:pt idx="2307">
                  <c:v>1.8</c:v>
                </c:pt>
                <c:pt idx="2308">
                  <c:v>5.4</c:v>
                </c:pt>
                <c:pt idx="2309">
                  <c:v>4.8</c:v>
                </c:pt>
                <c:pt idx="2310">
                  <c:v>2.4</c:v>
                </c:pt>
                <c:pt idx="2311">
                  <c:v>3.61</c:v>
                </c:pt>
                <c:pt idx="2312">
                  <c:v>1.8</c:v>
                </c:pt>
                <c:pt idx="2313">
                  <c:v>1.8</c:v>
                </c:pt>
                <c:pt idx="2314">
                  <c:v>1.21</c:v>
                </c:pt>
                <c:pt idx="2315">
                  <c:v>2.4</c:v>
                </c:pt>
                <c:pt idx="2316">
                  <c:v>1.8</c:v>
                </c:pt>
                <c:pt idx="2317">
                  <c:v>4.21</c:v>
                </c:pt>
                <c:pt idx="2318">
                  <c:v>2.4</c:v>
                </c:pt>
                <c:pt idx="2319">
                  <c:v>2.4</c:v>
                </c:pt>
                <c:pt idx="2320">
                  <c:v>4.21</c:v>
                </c:pt>
                <c:pt idx="2321">
                  <c:v>2.4</c:v>
                </c:pt>
                <c:pt idx="2322">
                  <c:v>3.61</c:v>
                </c:pt>
                <c:pt idx="2323">
                  <c:v>1.21</c:v>
                </c:pt>
                <c:pt idx="2324">
                  <c:v>2.4</c:v>
                </c:pt>
                <c:pt idx="2325">
                  <c:v>2.4</c:v>
                </c:pt>
                <c:pt idx="2326">
                  <c:v>4.8</c:v>
                </c:pt>
                <c:pt idx="2327">
                  <c:v>1.8</c:v>
                </c:pt>
                <c:pt idx="2328">
                  <c:v>2.4</c:v>
                </c:pt>
                <c:pt idx="2329">
                  <c:v>4.8</c:v>
                </c:pt>
                <c:pt idx="2330">
                  <c:v>2.4</c:v>
                </c:pt>
                <c:pt idx="2331">
                  <c:v>3.01</c:v>
                </c:pt>
                <c:pt idx="2332">
                  <c:v>3.01</c:v>
                </c:pt>
                <c:pt idx="2333">
                  <c:v>3.01</c:v>
                </c:pt>
                <c:pt idx="2334">
                  <c:v>0.61</c:v>
                </c:pt>
                <c:pt idx="2335">
                  <c:v>1.8</c:v>
                </c:pt>
                <c:pt idx="2336">
                  <c:v>3.61</c:v>
                </c:pt>
                <c:pt idx="2337">
                  <c:v>2.4</c:v>
                </c:pt>
                <c:pt idx="2338">
                  <c:v>3.61</c:v>
                </c:pt>
                <c:pt idx="2339">
                  <c:v>4.8</c:v>
                </c:pt>
                <c:pt idx="2340">
                  <c:v>3.61</c:v>
                </c:pt>
                <c:pt idx="2341">
                  <c:v>3.01</c:v>
                </c:pt>
                <c:pt idx="2342">
                  <c:v>3.01</c:v>
                </c:pt>
                <c:pt idx="2343">
                  <c:v>1.8</c:v>
                </c:pt>
                <c:pt idx="2344">
                  <c:v>3.01</c:v>
                </c:pt>
                <c:pt idx="2345">
                  <c:v>3.01</c:v>
                </c:pt>
                <c:pt idx="2346">
                  <c:v>1.21</c:v>
                </c:pt>
                <c:pt idx="2347">
                  <c:v>1.8</c:v>
                </c:pt>
                <c:pt idx="2348">
                  <c:v>4.8</c:v>
                </c:pt>
                <c:pt idx="2349">
                  <c:v>3.61</c:v>
                </c:pt>
                <c:pt idx="2350">
                  <c:v>3.01</c:v>
                </c:pt>
                <c:pt idx="2351">
                  <c:v>0.61</c:v>
                </c:pt>
                <c:pt idx="2352">
                  <c:v>2.4</c:v>
                </c:pt>
                <c:pt idx="2353">
                  <c:v>3.01</c:v>
                </c:pt>
                <c:pt idx="2354">
                  <c:v>3.01</c:v>
                </c:pt>
                <c:pt idx="2355">
                  <c:v>3.01</c:v>
                </c:pt>
                <c:pt idx="2356">
                  <c:v>3.01</c:v>
                </c:pt>
                <c:pt idx="2357">
                  <c:v>4.21</c:v>
                </c:pt>
                <c:pt idx="2358">
                  <c:v>2.4</c:v>
                </c:pt>
                <c:pt idx="2359">
                  <c:v>3.01</c:v>
                </c:pt>
                <c:pt idx="2360">
                  <c:v>3.01</c:v>
                </c:pt>
                <c:pt idx="2361">
                  <c:v>3.01</c:v>
                </c:pt>
                <c:pt idx="2362">
                  <c:v>1.8</c:v>
                </c:pt>
                <c:pt idx="2363">
                  <c:v>2.4</c:v>
                </c:pt>
                <c:pt idx="2364">
                  <c:v>2.4</c:v>
                </c:pt>
                <c:pt idx="2365">
                  <c:v>0.61</c:v>
                </c:pt>
                <c:pt idx="2366">
                  <c:v>3.61</c:v>
                </c:pt>
                <c:pt idx="2367">
                  <c:v>2.4</c:v>
                </c:pt>
                <c:pt idx="2368">
                  <c:v>1.8</c:v>
                </c:pt>
                <c:pt idx="2369">
                  <c:v>2.4</c:v>
                </c:pt>
                <c:pt idx="2370">
                  <c:v>3.01</c:v>
                </c:pt>
                <c:pt idx="2371">
                  <c:v>4.8</c:v>
                </c:pt>
                <c:pt idx="2372">
                  <c:v>2.4</c:v>
                </c:pt>
                <c:pt idx="2373">
                  <c:v>1.8</c:v>
                </c:pt>
                <c:pt idx="2374">
                  <c:v>2.4</c:v>
                </c:pt>
                <c:pt idx="2375">
                  <c:v>4.8</c:v>
                </c:pt>
                <c:pt idx="2376">
                  <c:v>2.4</c:v>
                </c:pt>
                <c:pt idx="2377">
                  <c:v>3.61</c:v>
                </c:pt>
                <c:pt idx="2378">
                  <c:v>0.61</c:v>
                </c:pt>
                <c:pt idx="2379">
                  <c:v>3.61</c:v>
                </c:pt>
                <c:pt idx="2380">
                  <c:v>1.21</c:v>
                </c:pt>
                <c:pt idx="2381">
                  <c:v>1.8</c:v>
                </c:pt>
                <c:pt idx="2382">
                  <c:v>4.21</c:v>
                </c:pt>
                <c:pt idx="2383">
                  <c:v>4.21</c:v>
                </c:pt>
                <c:pt idx="2384">
                  <c:v>0.61</c:v>
                </c:pt>
                <c:pt idx="2385">
                  <c:v>2.4</c:v>
                </c:pt>
                <c:pt idx="2386">
                  <c:v>1.8</c:v>
                </c:pt>
                <c:pt idx="2387">
                  <c:v>2.4</c:v>
                </c:pt>
                <c:pt idx="2388">
                  <c:v>4.21</c:v>
                </c:pt>
                <c:pt idx="2389">
                  <c:v>6.01</c:v>
                </c:pt>
                <c:pt idx="2390">
                  <c:v>4.8</c:v>
                </c:pt>
                <c:pt idx="2391">
                  <c:v>4.21</c:v>
                </c:pt>
                <c:pt idx="2392">
                  <c:v>4.21</c:v>
                </c:pt>
                <c:pt idx="2393">
                  <c:v>3.61</c:v>
                </c:pt>
                <c:pt idx="2394">
                  <c:v>3.01</c:v>
                </c:pt>
                <c:pt idx="2395">
                  <c:v>4.21</c:v>
                </c:pt>
                <c:pt idx="2396">
                  <c:v>1.8</c:v>
                </c:pt>
                <c:pt idx="2397">
                  <c:v>2.4</c:v>
                </c:pt>
                <c:pt idx="2398">
                  <c:v>2.4</c:v>
                </c:pt>
                <c:pt idx="2399">
                  <c:v>2.4</c:v>
                </c:pt>
                <c:pt idx="2400">
                  <c:v>1.8</c:v>
                </c:pt>
                <c:pt idx="2401">
                  <c:v>2.4</c:v>
                </c:pt>
                <c:pt idx="2402">
                  <c:v>4.21</c:v>
                </c:pt>
                <c:pt idx="2403">
                  <c:v>1.21</c:v>
                </c:pt>
                <c:pt idx="2404">
                  <c:v>3.61</c:v>
                </c:pt>
                <c:pt idx="2405">
                  <c:v>0.61</c:v>
                </c:pt>
                <c:pt idx="2406">
                  <c:v>2.4</c:v>
                </c:pt>
                <c:pt idx="2407">
                  <c:v>3.61</c:v>
                </c:pt>
                <c:pt idx="2408">
                  <c:v>4.21</c:v>
                </c:pt>
                <c:pt idx="2409">
                  <c:v>4.8</c:v>
                </c:pt>
                <c:pt idx="2410">
                  <c:v>3.61</c:v>
                </c:pt>
                <c:pt idx="2411">
                  <c:v>3.01</c:v>
                </c:pt>
                <c:pt idx="2412">
                  <c:v>1.21</c:v>
                </c:pt>
                <c:pt idx="2413">
                  <c:v>4.21</c:v>
                </c:pt>
                <c:pt idx="2414">
                  <c:v>4.21</c:v>
                </c:pt>
                <c:pt idx="2415">
                  <c:v>0.61</c:v>
                </c:pt>
                <c:pt idx="2416">
                  <c:v>1.8</c:v>
                </c:pt>
                <c:pt idx="2417">
                  <c:v>5.4</c:v>
                </c:pt>
                <c:pt idx="2418">
                  <c:v>1.21</c:v>
                </c:pt>
                <c:pt idx="2419">
                  <c:v>1.21</c:v>
                </c:pt>
                <c:pt idx="2420">
                  <c:v>2.4</c:v>
                </c:pt>
                <c:pt idx="2421">
                  <c:v>1.8</c:v>
                </c:pt>
                <c:pt idx="2422">
                  <c:v>3.01</c:v>
                </c:pt>
                <c:pt idx="2423">
                  <c:v>4.21</c:v>
                </c:pt>
                <c:pt idx="2424">
                  <c:v>1.21</c:v>
                </c:pt>
                <c:pt idx="2425">
                  <c:v>1.21</c:v>
                </c:pt>
                <c:pt idx="2426">
                  <c:v>3.61</c:v>
                </c:pt>
                <c:pt idx="2427">
                  <c:v>5.4</c:v>
                </c:pt>
                <c:pt idx="2428">
                  <c:v>3.61</c:v>
                </c:pt>
                <c:pt idx="2429">
                  <c:v>3.61</c:v>
                </c:pt>
                <c:pt idx="2430">
                  <c:v>2.4</c:v>
                </c:pt>
                <c:pt idx="2431">
                  <c:v>3.61</c:v>
                </c:pt>
                <c:pt idx="2432">
                  <c:v>4.21</c:v>
                </c:pt>
                <c:pt idx="2433">
                  <c:v>1.8</c:v>
                </c:pt>
                <c:pt idx="2434">
                  <c:v>3.01</c:v>
                </c:pt>
                <c:pt idx="2435">
                  <c:v>1.21</c:v>
                </c:pt>
                <c:pt idx="2436">
                  <c:v>3.01</c:v>
                </c:pt>
                <c:pt idx="2437">
                  <c:v>3.01</c:v>
                </c:pt>
                <c:pt idx="2438">
                  <c:v>2.4</c:v>
                </c:pt>
                <c:pt idx="2439">
                  <c:v>1.21</c:v>
                </c:pt>
                <c:pt idx="2440">
                  <c:v>1.21</c:v>
                </c:pt>
                <c:pt idx="2441">
                  <c:v>3.61</c:v>
                </c:pt>
                <c:pt idx="2442">
                  <c:v>0.61</c:v>
                </c:pt>
                <c:pt idx="2443">
                  <c:v>1.8</c:v>
                </c:pt>
                <c:pt idx="2444">
                  <c:v>1.8</c:v>
                </c:pt>
                <c:pt idx="2445">
                  <c:v>2.4</c:v>
                </c:pt>
                <c:pt idx="2446">
                  <c:v>2.4</c:v>
                </c:pt>
                <c:pt idx="2447">
                  <c:v>2.4</c:v>
                </c:pt>
                <c:pt idx="2448">
                  <c:v>1.8</c:v>
                </c:pt>
                <c:pt idx="2449">
                  <c:v>5.4</c:v>
                </c:pt>
                <c:pt idx="2450">
                  <c:v>3.61</c:v>
                </c:pt>
                <c:pt idx="2451">
                  <c:v>2.4</c:v>
                </c:pt>
                <c:pt idx="2452">
                  <c:v>1.8</c:v>
                </c:pt>
                <c:pt idx="2453">
                  <c:v>1.8</c:v>
                </c:pt>
                <c:pt idx="2454">
                  <c:v>4.8</c:v>
                </c:pt>
                <c:pt idx="2455">
                  <c:v>1.21</c:v>
                </c:pt>
                <c:pt idx="2456">
                  <c:v>3.01</c:v>
                </c:pt>
                <c:pt idx="2457">
                  <c:v>3.01</c:v>
                </c:pt>
                <c:pt idx="2458">
                  <c:v>3.01</c:v>
                </c:pt>
                <c:pt idx="2459">
                  <c:v>2.4</c:v>
                </c:pt>
                <c:pt idx="2460">
                  <c:v>4.21</c:v>
                </c:pt>
                <c:pt idx="2461">
                  <c:v>0.61</c:v>
                </c:pt>
                <c:pt idx="2462">
                  <c:v>1.8</c:v>
                </c:pt>
                <c:pt idx="2463">
                  <c:v>3.01</c:v>
                </c:pt>
                <c:pt idx="2464">
                  <c:v>1.21</c:v>
                </c:pt>
                <c:pt idx="2465">
                  <c:v>3.61</c:v>
                </c:pt>
                <c:pt idx="2466">
                  <c:v>3.01</c:v>
                </c:pt>
                <c:pt idx="2467">
                  <c:v>4.21</c:v>
                </c:pt>
                <c:pt idx="2468">
                  <c:v>3.61</c:v>
                </c:pt>
                <c:pt idx="2469">
                  <c:v>3.01</c:v>
                </c:pt>
                <c:pt idx="2470">
                  <c:v>4.21</c:v>
                </c:pt>
                <c:pt idx="2471">
                  <c:v>4.8</c:v>
                </c:pt>
                <c:pt idx="2472">
                  <c:v>3.01</c:v>
                </c:pt>
                <c:pt idx="2473">
                  <c:v>3.01</c:v>
                </c:pt>
                <c:pt idx="2474">
                  <c:v>3.01</c:v>
                </c:pt>
                <c:pt idx="2475">
                  <c:v>2.4</c:v>
                </c:pt>
                <c:pt idx="2476">
                  <c:v>3.61</c:v>
                </c:pt>
                <c:pt idx="2477">
                  <c:v>3.01</c:v>
                </c:pt>
                <c:pt idx="2478">
                  <c:v>2.4</c:v>
                </c:pt>
                <c:pt idx="2479">
                  <c:v>2.4</c:v>
                </c:pt>
                <c:pt idx="2480">
                  <c:v>3.01</c:v>
                </c:pt>
                <c:pt idx="2481">
                  <c:v>2.4</c:v>
                </c:pt>
                <c:pt idx="2482">
                  <c:v>2.4</c:v>
                </c:pt>
                <c:pt idx="2483">
                  <c:v>1.21</c:v>
                </c:pt>
                <c:pt idx="2484">
                  <c:v>4.8</c:v>
                </c:pt>
                <c:pt idx="2485">
                  <c:v>2.4</c:v>
                </c:pt>
                <c:pt idx="2486">
                  <c:v>3.61</c:v>
                </c:pt>
                <c:pt idx="2487">
                  <c:v>4.21</c:v>
                </c:pt>
                <c:pt idx="2488">
                  <c:v>3.01</c:v>
                </c:pt>
                <c:pt idx="2489">
                  <c:v>3.61</c:v>
                </c:pt>
                <c:pt idx="2490">
                  <c:v>4.8</c:v>
                </c:pt>
                <c:pt idx="2491">
                  <c:v>3.61</c:v>
                </c:pt>
                <c:pt idx="2492">
                  <c:v>3.61</c:v>
                </c:pt>
                <c:pt idx="2493">
                  <c:v>4.21</c:v>
                </c:pt>
                <c:pt idx="2494">
                  <c:v>3.01</c:v>
                </c:pt>
                <c:pt idx="2495">
                  <c:v>1.8</c:v>
                </c:pt>
                <c:pt idx="2496">
                  <c:v>3.01</c:v>
                </c:pt>
                <c:pt idx="2497">
                  <c:v>3.01</c:v>
                </c:pt>
                <c:pt idx="2498">
                  <c:v>3.01</c:v>
                </c:pt>
                <c:pt idx="2499">
                  <c:v>3.61</c:v>
                </c:pt>
                <c:pt idx="2500">
                  <c:v>2.4</c:v>
                </c:pt>
                <c:pt idx="2501">
                  <c:v>3.61</c:v>
                </c:pt>
                <c:pt idx="2502">
                  <c:v>1.8</c:v>
                </c:pt>
                <c:pt idx="2503">
                  <c:v>0.01</c:v>
                </c:pt>
                <c:pt idx="2504">
                  <c:v>2.4</c:v>
                </c:pt>
                <c:pt idx="2505">
                  <c:v>4.8</c:v>
                </c:pt>
                <c:pt idx="2506">
                  <c:v>3.61</c:v>
                </c:pt>
                <c:pt idx="2507">
                  <c:v>2.4</c:v>
                </c:pt>
                <c:pt idx="2508">
                  <c:v>2.4</c:v>
                </c:pt>
                <c:pt idx="2509">
                  <c:v>4.21</c:v>
                </c:pt>
                <c:pt idx="2510">
                  <c:v>3.61</c:v>
                </c:pt>
                <c:pt idx="2511">
                  <c:v>3.61</c:v>
                </c:pt>
                <c:pt idx="2512">
                  <c:v>5.4</c:v>
                </c:pt>
                <c:pt idx="2513">
                  <c:v>1.8</c:v>
                </c:pt>
                <c:pt idx="2514">
                  <c:v>3.61</c:v>
                </c:pt>
                <c:pt idx="2515">
                  <c:v>4.8</c:v>
                </c:pt>
                <c:pt idx="2516">
                  <c:v>1.21</c:v>
                </c:pt>
                <c:pt idx="2517">
                  <c:v>2.4</c:v>
                </c:pt>
                <c:pt idx="2518">
                  <c:v>2.4</c:v>
                </c:pt>
                <c:pt idx="2519">
                  <c:v>3.61</c:v>
                </c:pt>
                <c:pt idx="2520">
                  <c:v>1.21</c:v>
                </c:pt>
                <c:pt idx="2521">
                  <c:v>2.4</c:v>
                </c:pt>
                <c:pt idx="2522">
                  <c:v>2.4</c:v>
                </c:pt>
                <c:pt idx="2523">
                  <c:v>5.4</c:v>
                </c:pt>
                <c:pt idx="2524">
                  <c:v>3.61</c:v>
                </c:pt>
                <c:pt idx="2525">
                  <c:v>4.21</c:v>
                </c:pt>
                <c:pt idx="2526">
                  <c:v>3.01</c:v>
                </c:pt>
                <c:pt idx="2527">
                  <c:v>3.61</c:v>
                </c:pt>
                <c:pt idx="2528">
                  <c:v>4.8</c:v>
                </c:pt>
                <c:pt idx="2529">
                  <c:v>3.01</c:v>
                </c:pt>
                <c:pt idx="2530">
                  <c:v>4.21</c:v>
                </c:pt>
                <c:pt idx="2531">
                  <c:v>2.4</c:v>
                </c:pt>
                <c:pt idx="2532">
                  <c:v>1.8</c:v>
                </c:pt>
                <c:pt idx="2533">
                  <c:v>3.61</c:v>
                </c:pt>
                <c:pt idx="2534">
                  <c:v>4.21</c:v>
                </c:pt>
                <c:pt idx="2535">
                  <c:v>6.01</c:v>
                </c:pt>
                <c:pt idx="2536">
                  <c:v>1.8</c:v>
                </c:pt>
                <c:pt idx="2537">
                  <c:v>2.4</c:v>
                </c:pt>
                <c:pt idx="2538">
                  <c:v>1.8</c:v>
                </c:pt>
                <c:pt idx="2539">
                  <c:v>3.01</c:v>
                </c:pt>
                <c:pt idx="2540">
                  <c:v>1.21</c:v>
                </c:pt>
                <c:pt idx="2541">
                  <c:v>3.01</c:v>
                </c:pt>
                <c:pt idx="2542">
                  <c:v>3.01</c:v>
                </c:pt>
                <c:pt idx="2543">
                  <c:v>3.61</c:v>
                </c:pt>
                <c:pt idx="2544">
                  <c:v>4.21</c:v>
                </c:pt>
                <c:pt idx="2545">
                  <c:v>3.01</c:v>
                </c:pt>
                <c:pt idx="2546">
                  <c:v>3.01</c:v>
                </c:pt>
                <c:pt idx="2547">
                  <c:v>3.01</c:v>
                </c:pt>
                <c:pt idx="2548">
                  <c:v>3.01</c:v>
                </c:pt>
                <c:pt idx="2549">
                  <c:v>4.8</c:v>
                </c:pt>
                <c:pt idx="2550">
                  <c:v>3.61</c:v>
                </c:pt>
                <c:pt idx="2551">
                  <c:v>4.8</c:v>
                </c:pt>
                <c:pt idx="2552">
                  <c:v>2.4</c:v>
                </c:pt>
                <c:pt idx="2553">
                  <c:v>2.4</c:v>
                </c:pt>
                <c:pt idx="2554">
                  <c:v>2.4</c:v>
                </c:pt>
                <c:pt idx="2555">
                  <c:v>3.01</c:v>
                </c:pt>
                <c:pt idx="2556">
                  <c:v>3.61</c:v>
                </c:pt>
                <c:pt idx="2557">
                  <c:v>3.61</c:v>
                </c:pt>
                <c:pt idx="2558">
                  <c:v>1.8</c:v>
                </c:pt>
                <c:pt idx="2559">
                  <c:v>4.21</c:v>
                </c:pt>
                <c:pt idx="2560">
                  <c:v>2.4</c:v>
                </c:pt>
                <c:pt idx="2561">
                  <c:v>3.61</c:v>
                </c:pt>
                <c:pt idx="2562">
                  <c:v>3.01</c:v>
                </c:pt>
                <c:pt idx="2563">
                  <c:v>3.61</c:v>
                </c:pt>
                <c:pt idx="2564">
                  <c:v>0.61</c:v>
                </c:pt>
                <c:pt idx="2565">
                  <c:v>1.8</c:v>
                </c:pt>
                <c:pt idx="2566">
                  <c:v>2.4</c:v>
                </c:pt>
                <c:pt idx="2567">
                  <c:v>2.4</c:v>
                </c:pt>
                <c:pt idx="2568">
                  <c:v>4.21</c:v>
                </c:pt>
                <c:pt idx="2569">
                  <c:v>3.61</c:v>
                </c:pt>
                <c:pt idx="2570">
                  <c:v>4.21</c:v>
                </c:pt>
                <c:pt idx="2571">
                  <c:v>3.61</c:v>
                </c:pt>
                <c:pt idx="2572">
                  <c:v>4.21</c:v>
                </c:pt>
                <c:pt idx="2573">
                  <c:v>1.21</c:v>
                </c:pt>
                <c:pt idx="2574">
                  <c:v>2.4</c:v>
                </c:pt>
                <c:pt idx="2575">
                  <c:v>4.8</c:v>
                </c:pt>
                <c:pt idx="2576">
                  <c:v>1.8</c:v>
                </c:pt>
                <c:pt idx="2577">
                  <c:v>1.8</c:v>
                </c:pt>
                <c:pt idx="2578">
                  <c:v>2.4</c:v>
                </c:pt>
                <c:pt idx="2579">
                  <c:v>5.4</c:v>
                </c:pt>
                <c:pt idx="2580">
                  <c:v>4.8</c:v>
                </c:pt>
                <c:pt idx="2581">
                  <c:v>4.21</c:v>
                </c:pt>
                <c:pt idx="2582">
                  <c:v>3.61</c:v>
                </c:pt>
                <c:pt idx="2583">
                  <c:v>2.4</c:v>
                </c:pt>
                <c:pt idx="2584">
                  <c:v>4.21</c:v>
                </c:pt>
                <c:pt idx="2585">
                  <c:v>3.61</c:v>
                </c:pt>
                <c:pt idx="2586">
                  <c:v>3.01</c:v>
                </c:pt>
                <c:pt idx="2587">
                  <c:v>2.4</c:v>
                </c:pt>
                <c:pt idx="2588">
                  <c:v>3.01</c:v>
                </c:pt>
                <c:pt idx="2589">
                  <c:v>3.61</c:v>
                </c:pt>
                <c:pt idx="2590">
                  <c:v>3.61</c:v>
                </c:pt>
                <c:pt idx="2591">
                  <c:v>2.4</c:v>
                </c:pt>
                <c:pt idx="2592">
                  <c:v>3.61</c:v>
                </c:pt>
                <c:pt idx="2593">
                  <c:v>1.21</c:v>
                </c:pt>
                <c:pt idx="2594">
                  <c:v>3.61</c:v>
                </c:pt>
                <c:pt idx="2595">
                  <c:v>4.21</c:v>
                </c:pt>
                <c:pt idx="2596">
                  <c:v>4.21</c:v>
                </c:pt>
                <c:pt idx="2597">
                  <c:v>4.21</c:v>
                </c:pt>
                <c:pt idx="2598">
                  <c:v>2.4</c:v>
                </c:pt>
                <c:pt idx="2599">
                  <c:v>1.8</c:v>
                </c:pt>
                <c:pt idx="2600">
                  <c:v>2.4</c:v>
                </c:pt>
                <c:pt idx="2601">
                  <c:v>1.8</c:v>
                </c:pt>
                <c:pt idx="2602">
                  <c:v>3.01</c:v>
                </c:pt>
                <c:pt idx="2603">
                  <c:v>3.61</c:v>
                </c:pt>
                <c:pt idx="2604">
                  <c:v>1.8</c:v>
                </c:pt>
                <c:pt idx="2605">
                  <c:v>2.4</c:v>
                </c:pt>
                <c:pt idx="2606">
                  <c:v>5.4</c:v>
                </c:pt>
                <c:pt idx="2607">
                  <c:v>0.01</c:v>
                </c:pt>
                <c:pt idx="2608">
                  <c:v>3.61</c:v>
                </c:pt>
                <c:pt idx="2609">
                  <c:v>3.61</c:v>
                </c:pt>
                <c:pt idx="2610">
                  <c:v>4.21</c:v>
                </c:pt>
                <c:pt idx="2611">
                  <c:v>3.61</c:v>
                </c:pt>
                <c:pt idx="2612">
                  <c:v>3.01</c:v>
                </c:pt>
                <c:pt idx="2613">
                  <c:v>4.21</c:v>
                </c:pt>
                <c:pt idx="2614">
                  <c:v>4.21</c:v>
                </c:pt>
                <c:pt idx="2615">
                  <c:v>3.61</c:v>
                </c:pt>
                <c:pt idx="2616">
                  <c:v>3.01</c:v>
                </c:pt>
                <c:pt idx="2617">
                  <c:v>1.8</c:v>
                </c:pt>
                <c:pt idx="2618">
                  <c:v>1.21</c:v>
                </c:pt>
                <c:pt idx="2619">
                  <c:v>2.4</c:v>
                </c:pt>
                <c:pt idx="2620">
                  <c:v>1.21</c:v>
                </c:pt>
                <c:pt idx="2621">
                  <c:v>4.21</c:v>
                </c:pt>
                <c:pt idx="2622">
                  <c:v>1.8</c:v>
                </c:pt>
                <c:pt idx="2623">
                  <c:v>3.01</c:v>
                </c:pt>
                <c:pt idx="2624">
                  <c:v>2.4</c:v>
                </c:pt>
                <c:pt idx="2625">
                  <c:v>4.21</c:v>
                </c:pt>
                <c:pt idx="2626">
                  <c:v>1.21</c:v>
                </c:pt>
                <c:pt idx="2627">
                  <c:v>3.61</c:v>
                </c:pt>
                <c:pt idx="2628">
                  <c:v>4.8</c:v>
                </c:pt>
                <c:pt idx="2629">
                  <c:v>2.4</c:v>
                </c:pt>
                <c:pt idx="2630">
                  <c:v>5.4</c:v>
                </c:pt>
                <c:pt idx="2631">
                  <c:v>6.01</c:v>
                </c:pt>
                <c:pt idx="2632">
                  <c:v>2.4</c:v>
                </c:pt>
                <c:pt idx="2633">
                  <c:v>2.4</c:v>
                </c:pt>
                <c:pt idx="2634">
                  <c:v>2.4</c:v>
                </c:pt>
                <c:pt idx="2635">
                  <c:v>3.61</c:v>
                </c:pt>
                <c:pt idx="2636">
                  <c:v>3.61</c:v>
                </c:pt>
                <c:pt idx="2637">
                  <c:v>3.01</c:v>
                </c:pt>
                <c:pt idx="2638">
                  <c:v>2.4</c:v>
                </c:pt>
                <c:pt idx="2639">
                  <c:v>5.4</c:v>
                </c:pt>
                <c:pt idx="2640">
                  <c:v>2.4</c:v>
                </c:pt>
                <c:pt idx="2641">
                  <c:v>3.01</c:v>
                </c:pt>
                <c:pt idx="2642">
                  <c:v>2.4</c:v>
                </c:pt>
                <c:pt idx="2643">
                  <c:v>3.01</c:v>
                </c:pt>
                <c:pt idx="2644">
                  <c:v>1.8</c:v>
                </c:pt>
                <c:pt idx="2645">
                  <c:v>4.8</c:v>
                </c:pt>
                <c:pt idx="2646">
                  <c:v>4.21</c:v>
                </c:pt>
                <c:pt idx="2647">
                  <c:v>4.21</c:v>
                </c:pt>
                <c:pt idx="2648">
                  <c:v>4.21</c:v>
                </c:pt>
                <c:pt idx="2649">
                  <c:v>4.8</c:v>
                </c:pt>
                <c:pt idx="2650">
                  <c:v>4.21</c:v>
                </c:pt>
                <c:pt idx="2651">
                  <c:v>3.61</c:v>
                </c:pt>
                <c:pt idx="2652">
                  <c:v>5.4</c:v>
                </c:pt>
                <c:pt idx="2653">
                  <c:v>3.01</c:v>
                </c:pt>
                <c:pt idx="2654">
                  <c:v>4.8</c:v>
                </c:pt>
                <c:pt idx="2655">
                  <c:v>1.8</c:v>
                </c:pt>
                <c:pt idx="2656">
                  <c:v>3.01</c:v>
                </c:pt>
                <c:pt idx="2657">
                  <c:v>7.21</c:v>
                </c:pt>
                <c:pt idx="2658">
                  <c:v>4.21</c:v>
                </c:pt>
                <c:pt idx="2659">
                  <c:v>2.4</c:v>
                </c:pt>
                <c:pt idx="2660">
                  <c:v>3.61</c:v>
                </c:pt>
                <c:pt idx="2661">
                  <c:v>4.8</c:v>
                </c:pt>
                <c:pt idx="2662">
                  <c:v>3.01</c:v>
                </c:pt>
                <c:pt idx="2663">
                  <c:v>2.4</c:v>
                </c:pt>
                <c:pt idx="2664">
                  <c:v>3.61</c:v>
                </c:pt>
                <c:pt idx="2665">
                  <c:v>3.01</c:v>
                </c:pt>
                <c:pt idx="2666">
                  <c:v>4.8</c:v>
                </c:pt>
                <c:pt idx="2667">
                  <c:v>3.61</c:v>
                </c:pt>
                <c:pt idx="2668">
                  <c:v>4.21</c:v>
                </c:pt>
                <c:pt idx="2669">
                  <c:v>3.61</c:v>
                </c:pt>
                <c:pt idx="2670">
                  <c:v>3.01</c:v>
                </c:pt>
                <c:pt idx="2671">
                  <c:v>4.21</c:v>
                </c:pt>
                <c:pt idx="2672">
                  <c:v>1.8</c:v>
                </c:pt>
                <c:pt idx="2673">
                  <c:v>3.01</c:v>
                </c:pt>
                <c:pt idx="2674">
                  <c:v>4.8</c:v>
                </c:pt>
                <c:pt idx="2675">
                  <c:v>2.4</c:v>
                </c:pt>
                <c:pt idx="2676">
                  <c:v>3.61</c:v>
                </c:pt>
                <c:pt idx="2677">
                  <c:v>3.61</c:v>
                </c:pt>
                <c:pt idx="2678">
                  <c:v>2.4</c:v>
                </c:pt>
                <c:pt idx="2679">
                  <c:v>1.8</c:v>
                </c:pt>
                <c:pt idx="2680">
                  <c:v>4.8</c:v>
                </c:pt>
                <c:pt idx="2681">
                  <c:v>3.61</c:v>
                </c:pt>
                <c:pt idx="2682">
                  <c:v>3.61</c:v>
                </c:pt>
                <c:pt idx="2683">
                  <c:v>4.21</c:v>
                </c:pt>
                <c:pt idx="2684">
                  <c:v>4.21</c:v>
                </c:pt>
                <c:pt idx="2685">
                  <c:v>2.4</c:v>
                </c:pt>
                <c:pt idx="2686">
                  <c:v>1.8</c:v>
                </c:pt>
                <c:pt idx="2687">
                  <c:v>3.61</c:v>
                </c:pt>
                <c:pt idx="2688">
                  <c:v>1.8</c:v>
                </c:pt>
                <c:pt idx="2689">
                  <c:v>3.61</c:v>
                </c:pt>
                <c:pt idx="2690">
                  <c:v>3.01</c:v>
                </c:pt>
                <c:pt idx="2691">
                  <c:v>3.01</c:v>
                </c:pt>
                <c:pt idx="2692">
                  <c:v>3.01</c:v>
                </c:pt>
                <c:pt idx="2693">
                  <c:v>4.21</c:v>
                </c:pt>
                <c:pt idx="2694">
                  <c:v>3.01</c:v>
                </c:pt>
                <c:pt idx="2695">
                  <c:v>3.61</c:v>
                </c:pt>
                <c:pt idx="2696">
                  <c:v>4.21</c:v>
                </c:pt>
                <c:pt idx="2697">
                  <c:v>1.8</c:v>
                </c:pt>
                <c:pt idx="2698">
                  <c:v>1.8</c:v>
                </c:pt>
                <c:pt idx="2699">
                  <c:v>3.01</c:v>
                </c:pt>
                <c:pt idx="2700">
                  <c:v>3.01</c:v>
                </c:pt>
                <c:pt idx="2701">
                  <c:v>2.4</c:v>
                </c:pt>
                <c:pt idx="2702">
                  <c:v>3.01</c:v>
                </c:pt>
                <c:pt idx="2703">
                  <c:v>2.4</c:v>
                </c:pt>
                <c:pt idx="2704">
                  <c:v>4.21</c:v>
                </c:pt>
                <c:pt idx="2705">
                  <c:v>3.01</c:v>
                </c:pt>
                <c:pt idx="2706">
                  <c:v>4.8</c:v>
                </c:pt>
                <c:pt idx="2707">
                  <c:v>5.4</c:v>
                </c:pt>
                <c:pt idx="2708">
                  <c:v>3.61</c:v>
                </c:pt>
                <c:pt idx="2709">
                  <c:v>3.01</c:v>
                </c:pt>
                <c:pt idx="2710">
                  <c:v>3.61</c:v>
                </c:pt>
                <c:pt idx="2711">
                  <c:v>4.21</c:v>
                </c:pt>
                <c:pt idx="2712">
                  <c:v>5.4</c:v>
                </c:pt>
                <c:pt idx="2713">
                  <c:v>3.61</c:v>
                </c:pt>
                <c:pt idx="2714">
                  <c:v>1.8</c:v>
                </c:pt>
                <c:pt idx="2715">
                  <c:v>2.4</c:v>
                </c:pt>
                <c:pt idx="2716">
                  <c:v>4.8</c:v>
                </c:pt>
                <c:pt idx="2717">
                  <c:v>4.21</c:v>
                </c:pt>
                <c:pt idx="2718">
                  <c:v>1.8</c:v>
                </c:pt>
                <c:pt idx="2719">
                  <c:v>1.8</c:v>
                </c:pt>
                <c:pt idx="2720">
                  <c:v>3.61</c:v>
                </c:pt>
                <c:pt idx="2721">
                  <c:v>3.01</c:v>
                </c:pt>
                <c:pt idx="2722">
                  <c:v>4.8</c:v>
                </c:pt>
                <c:pt idx="2723">
                  <c:v>4.21</c:v>
                </c:pt>
                <c:pt idx="2724">
                  <c:v>4.21</c:v>
                </c:pt>
                <c:pt idx="2725">
                  <c:v>4.21</c:v>
                </c:pt>
                <c:pt idx="2726">
                  <c:v>2.4</c:v>
                </c:pt>
                <c:pt idx="2727">
                  <c:v>4.21</c:v>
                </c:pt>
                <c:pt idx="2728">
                  <c:v>3.01</c:v>
                </c:pt>
                <c:pt idx="2729">
                  <c:v>2.4</c:v>
                </c:pt>
                <c:pt idx="2730">
                  <c:v>4.21</c:v>
                </c:pt>
                <c:pt idx="2731">
                  <c:v>4.8</c:v>
                </c:pt>
                <c:pt idx="2732">
                  <c:v>2.4</c:v>
                </c:pt>
                <c:pt idx="2733">
                  <c:v>2.4</c:v>
                </c:pt>
                <c:pt idx="2734">
                  <c:v>3.61</c:v>
                </c:pt>
                <c:pt idx="2735">
                  <c:v>4.8</c:v>
                </c:pt>
                <c:pt idx="2736">
                  <c:v>6.61</c:v>
                </c:pt>
                <c:pt idx="2737">
                  <c:v>4.8</c:v>
                </c:pt>
                <c:pt idx="2738">
                  <c:v>3.61</c:v>
                </c:pt>
                <c:pt idx="2739">
                  <c:v>3.01</c:v>
                </c:pt>
                <c:pt idx="2740">
                  <c:v>4.8</c:v>
                </c:pt>
                <c:pt idx="2741">
                  <c:v>4.21</c:v>
                </c:pt>
                <c:pt idx="2742">
                  <c:v>3.61</c:v>
                </c:pt>
                <c:pt idx="2743">
                  <c:v>5.4</c:v>
                </c:pt>
                <c:pt idx="2744">
                  <c:v>3.01</c:v>
                </c:pt>
                <c:pt idx="2745">
                  <c:v>1.8</c:v>
                </c:pt>
                <c:pt idx="2746">
                  <c:v>1.8</c:v>
                </c:pt>
                <c:pt idx="2747">
                  <c:v>5.4</c:v>
                </c:pt>
                <c:pt idx="2748">
                  <c:v>2.4</c:v>
                </c:pt>
                <c:pt idx="2749">
                  <c:v>5.4</c:v>
                </c:pt>
                <c:pt idx="2750">
                  <c:v>3.01</c:v>
                </c:pt>
                <c:pt idx="2751">
                  <c:v>3.61</c:v>
                </c:pt>
                <c:pt idx="2752">
                  <c:v>3.01</c:v>
                </c:pt>
                <c:pt idx="2753">
                  <c:v>2.4</c:v>
                </c:pt>
                <c:pt idx="2754">
                  <c:v>3.01</c:v>
                </c:pt>
                <c:pt idx="2755">
                  <c:v>3.01</c:v>
                </c:pt>
                <c:pt idx="2756">
                  <c:v>3.61</c:v>
                </c:pt>
                <c:pt idx="2757">
                  <c:v>4.21</c:v>
                </c:pt>
                <c:pt idx="2758">
                  <c:v>4.8</c:v>
                </c:pt>
                <c:pt idx="2759">
                  <c:v>3.01</c:v>
                </c:pt>
                <c:pt idx="2760">
                  <c:v>4.21</c:v>
                </c:pt>
                <c:pt idx="2761">
                  <c:v>4.21</c:v>
                </c:pt>
                <c:pt idx="2762">
                  <c:v>3.01</c:v>
                </c:pt>
                <c:pt idx="2763">
                  <c:v>1.21</c:v>
                </c:pt>
                <c:pt idx="2764">
                  <c:v>3.61</c:v>
                </c:pt>
                <c:pt idx="2765">
                  <c:v>1.8</c:v>
                </c:pt>
                <c:pt idx="2766">
                  <c:v>4.21</c:v>
                </c:pt>
                <c:pt idx="2767">
                  <c:v>4.8</c:v>
                </c:pt>
                <c:pt idx="2768">
                  <c:v>3.01</c:v>
                </c:pt>
                <c:pt idx="2769">
                  <c:v>3.01</c:v>
                </c:pt>
                <c:pt idx="2770">
                  <c:v>2.4</c:v>
                </c:pt>
                <c:pt idx="2771">
                  <c:v>1.21</c:v>
                </c:pt>
                <c:pt idx="2772">
                  <c:v>4.8</c:v>
                </c:pt>
                <c:pt idx="2773">
                  <c:v>4.8</c:v>
                </c:pt>
                <c:pt idx="2774">
                  <c:v>3.01</c:v>
                </c:pt>
                <c:pt idx="2775">
                  <c:v>4.8</c:v>
                </c:pt>
                <c:pt idx="2776">
                  <c:v>0.61</c:v>
                </c:pt>
                <c:pt idx="2777">
                  <c:v>3.61</c:v>
                </c:pt>
                <c:pt idx="2778">
                  <c:v>3.01</c:v>
                </c:pt>
                <c:pt idx="2779">
                  <c:v>3.01</c:v>
                </c:pt>
                <c:pt idx="2780">
                  <c:v>3.01</c:v>
                </c:pt>
                <c:pt idx="2781">
                  <c:v>3.61</c:v>
                </c:pt>
                <c:pt idx="2782">
                  <c:v>3.61</c:v>
                </c:pt>
                <c:pt idx="2783">
                  <c:v>1.21</c:v>
                </c:pt>
                <c:pt idx="2784">
                  <c:v>4.8</c:v>
                </c:pt>
                <c:pt idx="2785">
                  <c:v>4.8</c:v>
                </c:pt>
                <c:pt idx="2786">
                  <c:v>4.8</c:v>
                </c:pt>
                <c:pt idx="2787">
                  <c:v>4.8</c:v>
                </c:pt>
                <c:pt idx="2788">
                  <c:v>1.8</c:v>
                </c:pt>
                <c:pt idx="2789">
                  <c:v>1.8</c:v>
                </c:pt>
                <c:pt idx="2790">
                  <c:v>3.61</c:v>
                </c:pt>
                <c:pt idx="2791">
                  <c:v>2.4</c:v>
                </c:pt>
                <c:pt idx="2792">
                  <c:v>3.01</c:v>
                </c:pt>
                <c:pt idx="2793">
                  <c:v>3.01</c:v>
                </c:pt>
                <c:pt idx="2794">
                  <c:v>2.4</c:v>
                </c:pt>
                <c:pt idx="2795">
                  <c:v>4.21</c:v>
                </c:pt>
                <c:pt idx="2796">
                  <c:v>3.61</c:v>
                </c:pt>
                <c:pt idx="2797">
                  <c:v>3.61</c:v>
                </c:pt>
                <c:pt idx="2798">
                  <c:v>3.61</c:v>
                </c:pt>
                <c:pt idx="2799">
                  <c:v>3.01</c:v>
                </c:pt>
                <c:pt idx="2800">
                  <c:v>3.01</c:v>
                </c:pt>
                <c:pt idx="2801">
                  <c:v>1.8</c:v>
                </c:pt>
                <c:pt idx="2802">
                  <c:v>3.01</c:v>
                </c:pt>
                <c:pt idx="2803">
                  <c:v>3.61</c:v>
                </c:pt>
                <c:pt idx="2804">
                  <c:v>3.01</c:v>
                </c:pt>
                <c:pt idx="2805">
                  <c:v>4.21</c:v>
                </c:pt>
                <c:pt idx="2806">
                  <c:v>4.21</c:v>
                </c:pt>
                <c:pt idx="2807">
                  <c:v>4.21</c:v>
                </c:pt>
                <c:pt idx="2808">
                  <c:v>3.01</c:v>
                </c:pt>
                <c:pt idx="2809">
                  <c:v>4.21</c:v>
                </c:pt>
                <c:pt idx="2810">
                  <c:v>3.61</c:v>
                </c:pt>
                <c:pt idx="2811">
                  <c:v>2.4</c:v>
                </c:pt>
                <c:pt idx="2812">
                  <c:v>3.01</c:v>
                </c:pt>
                <c:pt idx="2813">
                  <c:v>3.61</c:v>
                </c:pt>
                <c:pt idx="2814">
                  <c:v>3.61</c:v>
                </c:pt>
                <c:pt idx="2815">
                  <c:v>3.01</c:v>
                </c:pt>
                <c:pt idx="2816">
                  <c:v>3.61</c:v>
                </c:pt>
                <c:pt idx="2817">
                  <c:v>3.61</c:v>
                </c:pt>
                <c:pt idx="2818">
                  <c:v>3.01</c:v>
                </c:pt>
                <c:pt idx="2819">
                  <c:v>1.8</c:v>
                </c:pt>
                <c:pt idx="2820">
                  <c:v>3.01</c:v>
                </c:pt>
                <c:pt idx="2821">
                  <c:v>1.8</c:v>
                </c:pt>
                <c:pt idx="2822">
                  <c:v>1.8</c:v>
                </c:pt>
                <c:pt idx="2823">
                  <c:v>4.8</c:v>
                </c:pt>
                <c:pt idx="2824">
                  <c:v>5.4</c:v>
                </c:pt>
                <c:pt idx="2825">
                  <c:v>3.61</c:v>
                </c:pt>
                <c:pt idx="2826">
                  <c:v>1.8</c:v>
                </c:pt>
                <c:pt idx="2827">
                  <c:v>1.8</c:v>
                </c:pt>
                <c:pt idx="2828">
                  <c:v>4.8</c:v>
                </c:pt>
                <c:pt idx="2829">
                  <c:v>1.8</c:v>
                </c:pt>
                <c:pt idx="2830">
                  <c:v>3.61</c:v>
                </c:pt>
                <c:pt idx="2831">
                  <c:v>5.4</c:v>
                </c:pt>
                <c:pt idx="2832">
                  <c:v>4.21</c:v>
                </c:pt>
                <c:pt idx="2833">
                  <c:v>3.01</c:v>
                </c:pt>
                <c:pt idx="2834">
                  <c:v>3.61</c:v>
                </c:pt>
                <c:pt idx="2835">
                  <c:v>3.01</c:v>
                </c:pt>
                <c:pt idx="2836">
                  <c:v>2.4</c:v>
                </c:pt>
                <c:pt idx="2837">
                  <c:v>4.21</c:v>
                </c:pt>
                <c:pt idx="2838">
                  <c:v>3.61</c:v>
                </c:pt>
                <c:pt idx="2839">
                  <c:v>3.61</c:v>
                </c:pt>
                <c:pt idx="2840">
                  <c:v>3.01</c:v>
                </c:pt>
                <c:pt idx="2841">
                  <c:v>2.4</c:v>
                </c:pt>
                <c:pt idx="2842">
                  <c:v>3.61</c:v>
                </c:pt>
                <c:pt idx="2843">
                  <c:v>5.4</c:v>
                </c:pt>
                <c:pt idx="2844">
                  <c:v>3.01</c:v>
                </c:pt>
                <c:pt idx="2845">
                  <c:v>4.8</c:v>
                </c:pt>
                <c:pt idx="2846">
                  <c:v>1.21</c:v>
                </c:pt>
                <c:pt idx="2847">
                  <c:v>4.21</c:v>
                </c:pt>
                <c:pt idx="2848">
                  <c:v>4.21</c:v>
                </c:pt>
                <c:pt idx="2849">
                  <c:v>2.4</c:v>
                </c:pt>
                <c:pt idx="2850">
                  <c:v>3.61</c:v>
                </c:pt>
                <c:pt idx="2851">
                  <c:v>1.8</c:v>
                </c:pt>
                <c:pt idx="2852">
                  <c:v>3.61</c:v>
                </c:pt>
                <c:pt idx="2853">
                  <c:v>1.8</c:v>
                </c:pt>
                <c:pt idx="2854">
                  <c:v>3.61</c:v>
                </c:pt>
                <c:pt idx="2855">
                  <c:v>3.01</c:v>
                </c:pt>
                <c:pt idx="2856">
                  <c:v>2.4</c:v>
                </c:pt>
                <c:pt idx="2857">
                  <c:v>3.61</c:v>
                </c:pt>
                <c:pt idx="2858">
                  <c:v>3.01</c:v>
                </c:pt>
                <c:pt idx="2859">
                  <c:v>4.21</c:v>
                </c:pt>
                <c:pt idx="2860">
                  <c:v>3.01</c:v>
                </c:pt>
                <c:pt idx="2861">
                  <c:v>5.4</c:v>
                </c:pt>
                <c:pt idx="2862">
                  <c:v>1.8</c:v>
                </c:pt>
                <c:pt idx="2863">
                  <c:v>4.21</c:v>
                </c:pt>
                <c:pt idx="2864">
                  <c:v>4.21</c:v>
                </c:pt>
                <c:pt idx="2865">
                  <c:v>4.21</c:v>
                </c:pt>
                <c:pt idx="2866">
                  <c:v>4.8</c:v>
                </c:pt>
                <c:pt idx="2867">
                  <c:v>2.4</c:v>
                </c:pt>
                <c:pt idx="2868">
                  <c:v>4.21</c:v>
                </c:pt>
                <c:pt idx="2869">
                  <c:v>3.01</c:v>
                </c:pt>
                <c:pt idx="2870">
                  <c:v>4.21</c:v>
                </c:pt>
                <c:pt idx="2871">
                  <c:v>3.61</c:v>
                </c:pt>
                <c:pt idx="2872">
                  <c:v>4.8</c:v>
                </c:pt>
                <c:pt idx="2873">
                  <c:v>5.4</c:v>
                </c:pt>
                <c:pt idx="2874">
                  <c:v>3.01</c:v>
                </c:pt>
                <c:pt idx="2875">
                  <c:v>2.4</c:v>
                </c:pt>
                <c:pt idx="2876">
                  <c:v>4.21</c:v>
                </c:pt>
                <c:pt idx="2877">
                  <c:v>3.61</c:v>
                </c:pt>
                <c:pt idx="2878">
                  <c:v>1.8</c:v>
                </c:pt>
                <c:pt idx="2879">
                  <c:v>4.8</c:v>
                </c:pt>
                <c:pt idx="2880">
                  <c:v>2.4</c:v>
                </c:pt>
                <c:pt idx="2881">
                  <c:v>2.4</c:v>
                </c:pt>
                <c:pt idx="2882">
                  <c:v>3.01</c:v>
                </c:pt>
                <c:pt idx="2883">
                  <c:v>3.61</c:v>
                </c:pt>
                <c:pt idx="2884">
                  <c:v>4.21</c:v>
                </c:pt>
                <c:pt idx="2885">
                  <c:v>1.8</c:v>
                </c:pt>
                <c:pt idx="2886">
                  <c:v>4.21</c:v>
                </c:pt>
                <c:pt idx="2887">
                  <c:v>2.4</c:v>
                </c:pt>
                <c:pt idx="2888">
                  <c:v>1.8</c:v>
                </c:pt>
                <c:pt idx="2889">
                  <c:v>1.8</c:v>
                </c:pt>
                <c:pt idx="2890">
                  <c:v>4.21</c:v>
                </c:pt>
                <c:pt idx="2891">
                  <c:v>3.61</c:v>
                </c:pt>
                <c:pt idx="2892">
                  <c:v>3.61</c:v>
                </c:pt>
                <c:pt idx="2893">
                  <c:v>1.8</c:v>
                </c:pt>
                <c:pt idx="2894">
                  <c:v>3.01</c:v>
                </c:pt>
                <c:pt idx="2895">
                  <c:v>6.01</c:v>
                </c:pt>
                <c:pt idx="2896">
                  <c:v>3.01</c:v>
                </c:pt>
                <c:pt idx="2897">
                  <c:v>4.8</c:v>
                </c:pt>
                <c:pt idx="2898">
                  <c:v>1.8</c:v>
                </c:pt>
                <c:pt idx="2899">
                  <c:v>1.8</c:v>
                </c:pt>
                <c:pt idx="2900">
                  <c:v>4.21</c:v>
                </c:pt>
                <c:pt idx="2901">
                  <c:v>3.61</c:v>
                </c:pt>
                <c:pt idx="2902">
                  <c:v>2.4</c:v>
                </c:pt>
                <c:pt idx="2903">
                  <c:v>3.01</c:v>
                </c:pt>
                <c:pt idx="2904">
                  <c:v>3.01</c:v>
                </c:pt>
                <c:pt idx="2905">
                  <c:v>3.01</c:v>
                </c:pt>
                <c:pt idx="2906">
                  <c:v>4.21</c:v>
                </c:pt>
                <c:pt idx="2907">
                  <c:v>5.4</c:v>
                </c:pt>
                <c:pt idx="2908">
                  <c:v>4.8</c:v>
                </c:pt>
                <c:pt idx="2909">
                  <c:v>3.01</c:v>
                </c:pt>
                <c:pt idx="2910">
                  <c:v>5.4</c:v>
                </c:pt>
                <c:pt idx="2911">
                  <c:v>6.01</c:v>
                </c:pt>
                <c:pt idx="2912">
                  <c:v>3.61</c:v>
                </c:pt>
                <c:pt idx="2913">
                  <c:v>1.21</c:v>
                </c:pt>
                <c:pt idx="2914">
                  <c:v>4.21</c:v>
                </c:pt>
                <c:pt idx="2915">
                  <c:v>1.21</c:v>
                </c:pt>
                <c:pt idx="2916">
                  <c:v>4.21</c:v>
                </c:pt>
                <c:pt idx="2917">
                  <c:v>6.01</c:v>
                </c:pt>
                <c:pt idx="2918">
                  <c:v>4.21</c:v>
                </c:pt>
                <c:pt idx="2919">
                  <c:v>3.01</c:v>
                </c:pt>
                <c:pt idx="2920">
                  <c:v>1.8</c:v>
                </c:pt>
                <c:pt idx="2921">
                  <c:v>3.01</c:v>
                </c:pt>
                <c:pt idx="2922">
                  <c:v>3.61</c:v>
                </c:pt>
                <c:pt idx="2923">
                  <c:v>3.61</c:v>
                </c:pt>
                <c:pt idx="2924">
                  <c:v>3.61</c:v>
                </c:pt>
                <c:pt idx="2925">
                  <c:v>4.8</c:v>
                </c:pt>
                <c:pt idx="2926">
                  <c:v>4.21</c:v>
                </c:pt>
                <c:pt idx="2927">
                  <c:v>4.8</c:v>
                </c:pt>
                <c:pt idx="2928">
                  <c:v>3.61</c:v>
                </c:pt>
                <c:pt idx="2929">
                  <c:v>1.8</c:v>
                </c:pt>
                <c:pt idx="2930">
                  <c:v>3.01</c:v>
                </c:pt>
                <c:pt idx="2931">
                  <c:v>3.61</c:v>
                </c:pt>
                <c:pt idx="2932">
                  <c:v>4.21</c:v>
                </c:pt>
                <c:pt idx="2933">
                  <c:v>4.21</c:v>
                </c:pt>
                <c:pt idx="2934">
                  <c:v>2.4</c:v>
                </c:pt>
                <c:pt idx="2935">
                  <c:v>4.8</c:v>
                </c:pt>
                <c:pt idx="2936">
                  <c:v>2.4</c:v>
                </c:pt>
                <c:pt idx="2937">
                  <c:v>5.4</c:v>
                </c:pt>
                <c:pt idx="2938">
                  <c:v>5.4</c:v>
                </c:pt>
                <c:pt idx="2939">
                  <c:v>5.4</c:v>
                </c:pt>
                <c:pt idx="2940">
                  <c:v>2.4</c:v>
                </c:pt>
                <c:pt idx="2941">
                  <c:v>3.01</c:v>
                </c:pt>
                <c:pt idx="2942">
                  <c:v>6.01</c:v>
                </c:pt>
                <c:pt idx="2943">
                  <c:v>3.01</c:v>
                </c:pt>
                <c:pt idx="2944">
                  <c:v>2.4</c:v>
                </c:pt>
                <c:pt idx="2945">
                  <c:v>2.4</c:v>
                </c:pt>
                <c:pt idx="2946">
                  <c:v>3.61</c:v>
                </c:pt>
                <c:pt idx="2947">
                  <c:v>1.21</c:v>
                </c:pt>
                <c:pt idx="2948">
                  <c:v>4.8</c:v>
                </c:pt>
                <c:pt idx="2949">
                  <c:v>3.01</c:v>
                </c:pt>
                <c:pt idx="2950">
                  <c:v>3.61</c:v>
                </c:pt>
                <c:pt idx="2951">
                  <c:v>3.61</c:v>
                </c:pt>
                <c:pt idx="2952">
                  <c:v>4.8</c:v>
                </c:pt>
                <c:pt idx="2953">
                  <c:v>2.4</c:v>
                </c:pt>
                <c:pt idx="2954">
                  <c:v>4.8</c:v>
                </c:pt>
                <c:pt idx="2955">
                  <c:v>4.21</c:v>
                </c:pt>
                <c:pt idx="2956">
                  <c:v>2.4</c:v>
                </c:pt>
                <c:pt idx="2957">
                  <c:v>2.4</c:v>
                </c:pt>
                <c:pt idx="2958">
                  <c:v>1.8</c:v>
                </c:pt>
                <c:pt idx="2959">
                  <c:v>3.61</c:v>
                </c:pt>
                <c:pt idx="2960">
                  <c:v>3.01</c:v>
                </c:pt>
                <c:pt idx="2961">
                  <c:v>5.4</c:v>
                </c:pt>
                <c:pt idx="2962">
                  <c:v>4.8</c:v>
                </c:pt>
                <c:pt idx="2963">
                  <c:v>4.21</c:v>
                </c:pt>
                <c:pt idx="2964">
                  <c:v>1.8</c:v>
                </c:pt>
                <c:pt idx="2965">
                  <c:v>3.01</c:v>
                </c:pt>
                <c:pt idx="2966">
                  <c:v>3.01</c:v>
                </c:pt>
                <c:pt idx="2967">
                  <c:v>3.01</c:v>
                </c:pt>
                <c:pt idx="2968">
                  <c:v>3.61</c:v>
                </c:pt>
                <c:pt idx="2969">
                  <c:v>1.8</c:v>
                </c:pt>
                <c:pt idx="2970">
                  <c:v>4.21</c:v>
                </c:pt>
                <c:pt idx="2971">
                  <c:v>3.01</c:v>
                </c:pt>
                <c:pt idx="2972">
                  <c:v>4.8</c:v>
                </c:pt>
                <c:pt idx="2973">
                  <c:v>3.01</c:v>
                </c:pt>
                <c:pt idx="2974">
                  <c:v>5.4</c:v>
                </c:pt>
                <c:pt idx="2975">
                  <c:v>6.61</c:v>
                </c:pt>
                <c:pt idx="2976">
                  <c:v>3.61</c:v>
                </c:pt>
                <c:pt idx="2977">
                  <c:v>6.01</c:v>
                </c:pt>
                <c:pt idx="2978">
                  <c:v>2.4</c:v>
                </c:pt>
                <c:pt idx="2979">
                  <c:v>5.4</c:v>
                </c:pt>
                <c:pt idx="2980">
                  <c:v>3.61</c:v>
                </c:pt>
                <c:pt idx="2981">
                  <c:v>1.8</c:v>
                </c:pt>
                <c:pt idx="2982">
                  <c:v>3.01</c:v>
                </c:pt>
                <c:pt idx="2983">
                  <c:v>3.01</c:v>
                </c:pt>
                <c:pt idx="2984">
                  <c:v>2.4</c:v>
                </c:pt>
                <c:pt idx="2985">
                  <c:v>4.8</c:v>
                </c:pt>
                <c:pt idx="2986">
                  <c:v>3.01</c:v>
                </c:pt>
                <c:pt idx="2987">
                  <c:v>4.21</c:v>
                </c:pt>
                <c:pt idx="2988">
                  <c:v>4.8</c:v>
                </c:pt>
                <c:pt idx="2989">
                  <c:v>3.61</c:v>
                </c:pt>
                <c:pt idx="2990">
                  <c:v>3.61</c:v>
                </c:pt>
                <c:pt idx="2991">
                  <c:v>4.21</c:v>
                </c:pt>
                <c:pt idx="2992">
                  <c:v>3.01</c:v>
                </c:pt>
                <c:pt idx="2993">
                  <c:v>6.01</c:v>
                </c:pt>
                <c:pt idx="2994">
                  <c:v>6.01</c:v>
                </c:pt>
                <c:pt idx="2995">
                  <c:v>3.01</c:v>
                </c:pt>
                <c:pt idx="2996">
                  <c:v>4.8</c:v>
                </c:pt>
                <c:pt idx="2997">
                  <c:v>2.4</c:v>
                </c:pt>
                <c:pt idx="2998">
                  <c:v>3.01</c:v>
                </c:pt>
                <c:pt idx="2999">
                  <c:v>2.4</c:v>
                </c:pt>
                <c:pt idx="3000">
                  <c:v>3.61</c:v>
                </c:pt>
                <c:pt idx="3001">
                  <c:v>3.61</c:v>
                </c:pt>
                <c:pt idx="3002">
                  <c:v>2.4</c:v>
                </c:pt>
                <c:pt idx="3003">
                  <c:v>4.21</c:v>
                </c:pt>
                <c:pt idx="3004">
                  <c:v>3.61</c:v>
                </c:pt>
                <c:pt idx="3005">
                  <c:v>3.01</c:v>
                </c:pt>
                <c:pt idx="3006">
                  <c:v>3.01</c:v>
                </c:pt>
                <c:pt idx="3007">
                  <c:v>5.4</c:v>
                </c:pt>
                <c:pt idx="3008">
                  <c:v>3.01</c:v>
                </c:pt>
                <c:pt idx="3009">
                  <c:v>3.01</c:v>
                </c:pt>
                <c:pt idx="3010">
                  <c:v>3.01</c:v>
                </c:pt>
                <c:pt idx="3011">
                  <c:v>4.21</c:v>
                </c:pt>
                <c:pt idx="3012">
                  <c:v>5.4</c:v>
                </c:pt>
                <c:pt idx="3013">
                  <c:v>3.61</c:v>
                </c:pt>
                <c:pt idx="3014">
                  <c:v>3.61</c:v>
                </c:pt>
                <c:pt idx="3015">
                  <c:v>4.21</c:v>
                </c:pt>
                <c:pt idx="3016">
                  <c:v>4.21</c:v>
                </c:pt>
                <c:pt idx="3017">
                  <c:v>4.8</c:v>
                </c:pt>
                <c:pt idx="3018">
                  <c:v>5.4</c:v>
                </c:pt>
                <c:pt idx="3019">
                  <c:v>4.21</c:v>
                </c:pt>
                <c:pt idx="3020">
                  <c:v>4.21</c:v>
                </c:pt>
                <c:pt idx="3021">
                  <c:v>1.8</c:v>
                </c:pt>
                <c:pt idx="3022">
                  <c:v>0.01</c:v>
                </c:pt>
                <c:pt idx="3023">
                  <c:v>3.61</c:v>
                </c:pt>
                <c:pt idx="3024">
                  <c:v>4.8</c:v>
                </c:pt>
                <c:pt idx="3025">
                  <c:v>3.61</c:v>
                </c:pt>
                <c:pt idx="3026">
                  <c:v>3.61</c:v>
                </c:pt>
                <c:pt idx="3027">
                  <c:v>3.61</c:v>
                </c:pt>
                <c:pt idx="3028">
                  <c:v>3.61</c:v>
                </c:pt>
                <c:pt idx="3029">
                  <c:v>4.21</c:v>
                </c:pt>
                <c:pt idx="3030">
                  <c:v>4.21</c:v>
                </c:pt>
                <c:pt idx="3031">
                  <c:v>2.4</c:v>
                </c:pt>
                <c:pt idx="3032">
                  <c:v>3.61</c:v>
                </c:pt>
                <c:pt idx="3033">
                  <c:v>3.61</c:v>
                </c:pt>
                <c:pt idx="3034">
                  <c:v>3.01</c:v>
                </c:pt>
                <c:pt idx="3035">
                  <c:v>4.21</c:v>
                </c:pt>
                <c:pt idx="3036">
                  <c:v>2.4</c:v>
                </c:pt>
                <c:pt idx="3037">
                  <c:v>4.21</c:v>
                </c:pt>
                <c:pt idx="3038">
                  <c:v>5.4</c:v>
                </c:pt>
                <c:pt idx="3039">
                  <c:v>3.61</c:v>
                </c:pt>
                <c:pt idx="3040">
                  <c:v>4.21</c:v>
                </c:pt>
                <c:pt idx="3041">
                  <c:v>2.4</c:v>
                </c:pt>
                <c:pt idx="3042">
                  <c:v>4.21</c:v>
                </c:pt>
                <c:pt idx="3043">
                  <c:v>4.21</c:v>
                </c:pt>
                <c:pt idx="3044">
                  <c:v>6.01</c:v>
                </c:pt>
                <c:pt idx="3045">
                  <c:v>5.4</c:v>
                </c:pt>
                <c:pt idx="3046">
                  <c:v>4.21</c:v>
                </c:pt>
                <c:pt idx="3047">
                  <c:v>4.21</c:v>
                </c:pt>
                <c:pt idx="3048">
                  <c:v>1.8</c:v>
                </c:pt>
                <c:pt idx="3049">
                  <c:v>3.01</c:v>
                </c:pt>
                <c:pt idx="3050">
                  <c:v>4.21</c:v>
                </c:pt>
                <c:pt idx="3051">
                  <c:v>3.61</c:v>
                </c:pt>
                <c:pt idx="3052">
                  <c:v>3.01</c:v>
                </c:pt>
                <c:pt idx="3053">
                  <c:v>4.21</c:v>
                </c:pt>
                <c:pt idx="3054">
                  <c:v>4.8</c:v>
                </c:pt>
                <c:pt idx="3055">
                  <c:v>4.8</c:v>
                </c:pt>
                <c:pt idx="3056">
                  <c:v>4.21</c:v>
                </c:pt>
                <c:pt idx="3057">
                  <c:v>3.01</c:v>
                </c:pt>
                <c:pt idx="3058">
                  <c:v>3.01</c:v>
                </c:pt>
                <c:pt idx="3059">
                  <c:v>2.4</c:v>
                </c:pt>
                <c:pt idx="3060">
                  <c:v>3.61</c:v>
                </c:pt>
                <c:pt idx="3061">
                  <c:v>4.8</c:v>
                </c:pt>
                <c:pt idx="3062">
                  <c:v>5.4</c:v>
                </c:pt>
                <c:pt idx="3063">
                  <c:v>3.01</c:v>
                </c:pt>
                <c:pt idx="3064">
                  <c:v>4.21</c:v>
                </c:pt>
                <c:pt idx="3065">
                  <c:v>2.4</c:v>
                </c:pt>
                <c:pt idx="3066">
                  <c:v>2.4</c:v>
                </c:pt>
                <c:pt idx="3067">
                  <c:v>1.8</c:v>
                </c:pt>
                <c:pt idx="3068">
                  <c:v>4.21</c:v>
                </c:pt>
                <c:pt idx="3069">
                  <c:v>5.4</c:v>
                </c:pt>
                <c:pt idx="3070">
                  <c:v>3.01</c:v>
                </c:pt>
                <c:pt idx="3071">
                  <c:v>4.8</c:v>
                </c:pt>
                <c:pt idx="3072">
                  <c:v>4.8</c:v>
                </c:pt>
                <c:pt idx="3073">
                  <c:v>3.61</c:v>
                </c:pt>
                <c:pt idx="3074">
                  <c:v>5.4</c:v>
                </c:pt>
                <c:pt idx="3075">
                  <c:v>5.4</c:v>
                </c:pt>
                <c:pt idx="3076">
                  <c:v>3.01</c:v>
                </c:pt>
                <c:pt idx="3077">
                  <c:v>4.8</c:v>
                </c:pt>
                <c:pt idx="3078">
                  <c:v>3.61</c:v>
                </c:pt>
                <c:pt idx="3079">
                  <c:v>3.01</c:v>
                </c:pt>
                <c:pt idx="3080">
                  <c:v>2.4</c:v>
                </c:pt>
                <c:pt idx="3081">
                  <c:v>3.61</c:v>
                </c:pt>
                <c:pt idx="3082">
                  <c:v>3.61</c:v>
                </c:pt>
                <c:pt idx="3083">
                  <c:v>1.21</c:v>
                </c:pt>
                <c:pt idx="3084">
                  <c:v>7.21</c:v>
                </c:pt>
                <c:pt idx="3085">
                  <c:v>3.01</c:v>
                </c:pt>
                <c:pt idx="3086">
                  <c:v>4.21</c:v>
                </c:pt>
                <c:pt idx="3087">
                  <c:v>3.01</c:v>
                </c:pt>
                <c:pt idx="3088">
                  <c:v>3.61</c:v>
                </c:pt>
                <c:pt idx="3089">
                  <c:v>4.21</c:v>
                </c:pt>
                <c:pt idx="3090">
                  <c:v>5.4</c:v>
                </c:pt>
                <c:pt idx="3091">
                  <c:v>4.21</c:v>
                </c:pt>
                <c:pt idx="3092">
                  <c:v>3.61</c:v>
                </c:pt>
                <c:pt idx="3093">
                  <c:v>6.61</c:v>
                </c:pt>
                <c:pt idx="3094">
                  <c:v>3.01</c:v>
                </c:pt>
                <c:pt idx="3095">
                  <c:v>1.8</c:v>
                </c:pt>
                <c:pt idx="3096">
                  <c:v>4.8</c:v>
                </c:pt>
                <c:pt idx="3097">
                  <c:v>2.4</c:v>
                </c:pt>
                <c:pt idx="3098">
                  <c:v>4.21</c:v>
                </c:pt>
                <c:pt idx="3099">
                  <c:v>4.21</c:v>
                </c:pt>
                <c:pt idx="3100">
                  <c:v>3.61</c:v>
                </c:pt>
                <c:pt idx="3101">
                  <c:v>3.61</c:v>
                </c:pt>
                <c:pt idx="3102">
                  <c:v>4.8</c:v>
                </c:pt>
                <c:pt idx="3103">
                  <c:v>6.61</c:v>
                </c:pt>
                <c:pt idx="3104">
                  <c:v>5.4</c:v>
                </c:pt>
                <c:pt idx="3105">
                  <c:v>3.61</c:v>
                </c:pt>
                <c:pt idx="3106">
                  <c:v>3.01</c:v>
                </c:pt>
                <c:pt idx="3107">
                  <c:v>4.21</c:v>
                </c:pt>
                <c:pt idx="3108">
                  <c:v>3.61</c:v>
                </c:pt>
                <c:pt idx="3109">
                  <c:v>3.61</c:v>
                </c:pt>
                <c:pt idx="3110">
                  <c:v>4.8</c:v>
                </c:pt>
                <c:pt idx="3111">
                  <c:v>4.21</c:v>
                </c:pt>
                <c:pt idx="3112">
                  <c:v>5.4</c:v>
                </c:pt>
                <c:pt idx="3113">
                  <c:v>4.21</c:v>
                </c:pt>
                <c:pt idx="3114">
                  <c:v>4.21</c:v>
                </c:pt>
                <c:pt idx="3115">
                  <c:v>5.4</c:v>
                </c:pt>
                <c:pt idx="3116">
                  <c:v>3.61</c:v>
                </c:pt>
                <c:pt idx="3117">
                  <c:v>4.8</c:v>
                </c:pt>
                <c:pt idx="3118">
                  <c:v>3.01</c:v>
                </c:pt>
                <c:pt idx="3119">
                  <c:v>3.61</c:v>
                </c:pt>
                <c:pt idx="3120">
                  <c:v>4.21</c:v>
                </c:pt>
                <c:pt idx="3121">
                  <c:v>3.61</c:v>
                </c:pt>
                <c:pt idx="3122">
                  <c:v>5.4</c:v>
                </c:pt>
                <c:pt idx="3123">
                  <c:v>3.61</c:v>
                </c:pt>
                <c:pt idx="3124">
                  <c:v>3.01</c:v>
                </c:pt>
                <c:pt idx="3125">
                  <c:v>4.21</c:v>
                </c:pt>
                <c:pt idx="3126">
                  <c:v>3.01</c:v>
                </c:pt>
                <c:pt idx="3127">
                  <c:v>3.01</c:v>
                </c:pt>
                <c:pt idx="3128">
                  <c:v>4.8</c:v>
                </c:pt>
                <c:pt idx="3129">
                  <c:v>6.61</c:v>
                </c:pt>
                <c:pt idx="3130">
                  <c:v>3.61</c:v>
                </c:pt>
                <c:pt idx="3131">
                  <c:v>3.61</c:v>
                </c:pt>
                <c:pt idx="3132">
                  <c:v>4.21</c:v>
                </c:pt>
                <c:pt idx="3133">
                  <c:v>1.8</c:v>
                </c:pt>
                <c:pt idx="3134">
                  <c:v>3.61</c:v>
                </c:pt>
                <c:pt idx="3135">
                  <c:v>2.4</c:v>
                </c:pt>
                <c:pt idx="3136">
                  <c:v>6.01</c:v>
                </c:pt>
                <c:pt idx="3137">
                  <c:v>3.61</c:v>
                </c:pt>
                <c:pt idx="3138">
                  <c:v>1.8</c:v>
                </c:pt>
                <c:pt idx="3139">
                  <c:v>5.4</c:v>
                </c:pt>
                <c:pt idx="3140">
                  <c:v>1.8</c:v>
                </c:pt>
                <c:pt idx="3141">
                  <c:v>2.4</c:v>
                </c:pt>
                <c:pt idx="3142">
                  <c:v>3.61</c:v>
                </c:pt>
                <c:pt idx="3143">
                  <c:v>4.8</c:v>
                </c:pt>
                <c:pt idx="3144">
                  <c:v>3.61</c:v>
                </c:pt>
                <c:pt idx="3145">
                  <c:v>2.4</c:v>
                </c:pt>
                <c:pt idx="3146">
                  <c:v>1.8</c:v>
                </c:pt>
                <c:pt idx="3147">
                  <c:v>4.8</c:v>
                </c:pt>
                <c:pt idx="3148">
                  <c:v>3.61</c:v>
                </c:pt>
                <c:pt idx="3149">
                  <c:v>2.4</c:v>
                </c:pt>
                <c:pt idx="3150">
                  <c:v>3.61</c:v>
                </c:pt>
                <c:pt idx="3151">
                  <c:v>4.21</c:v>
                </c:pt>
                <c:pt idx="3152">
                  <c:v>6.01</c:v>
                </c:pt>
                <c:pt idx="3153">
                  <c:v>3.61</c:v>
                </c:pt>
                <c:pt idx="3154">
                  <c:v>5.4</c:v>
                </c:pt>
                <c:pt idx="3155">
                  <c:v>3.01</c:v>
                </c:pt>
                <c:pt idx="3156">
                  <c:v>2.4</c:v>
                </c:pt>
                <c:pt idx="3157">
                  <c:v>4.21</c:v>
                </c:pt>
                <c:pt idx="3158">
                  <c:v>1.8</c:v>
                </c:pt>
                <c:pt idx="3159">
                  <c:v>4.21</c:v>
                </c:pt>
                <c:pt idx="3160">
                  <c:v>3.61</c:v>
                </c:pt>
                <c:pt idx="3161">
                  <c:v>6.01</c:v>
                </c:pt>
                <c:pt idx="3162">
                  <c:v>5.4</c:v>
                </c:pt>
                <c:pt idx="3163">
                  <c:v>3.61</c:v>
                </c:pt>
                <c:pt idx="3164">
                  <c:v>4.21</c:v>
                </c:pt>
                <c:pt idx="3165">
                  <c:v>3.01</c:v>
                </c:pt>
                <c:pt idx="3166">
                  <c:v>6.01</c:v>
                </c:pt>
                <c:pt idx="3167">
                  <c:v>4.21</c:v>
                </c:pt>
                <c:pt idx="3168">
                  <c:v>3.01</c:v>
                </c:pt>
                <c:pt idx="3169">
                  <c:v>3.01</c:v>
                </c:pt>
                <c:pt idx="3170">
                  <c:v>1.21</c:v>
                </c:pt>
                <c:pt idx="3171">
                  <c:v>2.4</c:v>
                </c:pt>
                <c:pt idx="3172">
                  <c:v>3.01</c:v>
                </c:pt>
                <c:pt idx="3173">
                  <c:v>3.61</c:v>
                </c:pt>
                <c:pt idx="3174">
                  <c:v>1.8</c:v>
                </c:pt>
                <c:pt idx="3175">
                  <c:v>3.01</c:v>
                </c:pt>
                <c:pt idx="3176">
                  <c:v>6.01</c:v>
                </c:pt>
                <c:pt idx="3177">
                  <c:v>6.01</c:v>
                </c:pt>
                <c:pt idx="3178">
                  <c:v>4.21</c:v>
                </c:pt>
                <c:pt idx="3179">
                  <c:v>4.8</c:v>
                </c:pt>
                <c:pt idx="3180">
                  <c:v>4.21</c:v>
                </c:pt>
                <c:pt idx="3181">
                  <c:v>4.21</c:v>
                </c:pt>
                <c:pt idx="3182">
                  <c:v>3.61</c:v>
                </c:pt>
                <c:pt idx="3183">
                  <c:v>4.8</c:v>
                </c:pt>
                <c:pt idx="3184">
                  <c:v>3.61</c:v>
                </c:pt>
                <c:pt idx="3185">
                  <c:v>4.21</c:v>
                </c:pt>
                <c:pt idx="3186">
                  <c:v>4.8</c:v>
                </c:pt>
                <c:pt idx="3187">
                  <c:v>3.01</c:v>
                </c:pt>
                <c:pt idx="3188">
                  <c:v>4.21</c:v>
                </c:pt>
                <c:pt idx="3189">
                  <c:v>4.8</c:v>
                </c:pt>
                <c:pt idx="3190">
                  <c:v>3.61</c:v>
                </c:pt>
                <c:pt idx="3191">
                  <c:v>3.61</c:v>
                </c:pt>
                <c:pt idx="3192">
                  <c:v>1.8</c:v>
                </c:pt>
                <c:pt idx="3193">
                  <c:v>4.8</c:v>
                </c:pt>
                <c:pt idx="3194">
                  <c:v>4.21</c:v>
                </c:pt>
                <c:pt idx="3195">
                  <c:v>3.61</c:v>
                </c:pt>
                <c:pt idx="3196">
                  <c:v>3.01</c:v>
                </c:pt>
                <c:pt idx="3197">
                  <c:v>4.8</c:v>
                </c:pt>
                <c:pt idx="3198">
                  <c:v>3.61</c:v>
                </c:pt>
                <c:pt idx="3199">
                  <c:v>4.8</c:v>
                </c:pt>
                <c:pt idx="3200">
                  <c:v>2.4</c:v>
                </c:pt>
                <c:pt idx="3201">
                  <c:v>2.4</c:v>
                </c:pt>
                <c:pt idx="3202">
                  <c:v>5.4</c:v>
                </c:pt>
                <c:pt idx="3203">
                  <c:v>4.8</c:v>
                </c:pt>
                <c:pt idx="3204">
                  <c:v>4.8</c:v>
                </c:pt>
                <c:pt idx="3205">
                  <c:v>3.61</c:v>
                </c:pt>
                <c:pt idx="3206">
                  <c:v>2.4</c:v>
                </c:pt>
                <c:pt idx="3207">
                  <c:v>3.01</c:v>
                </c:pt>
                <c:pt idx="3208">
                  <c:v>3.01</c:v>
                </c:pt>
                <c:pt idx="3209">
                  <c:v>3.01</c:v>
                </c:pt>
                <c:pt idx="3210">
                  <c:v>3.01</c:v>
                </c:pt>
                <c:pt idx="3211">
                  <c:v>3.01</c:v>
                </c:pt>
                <c:pt idx="3212">
                  <c:v>5.4</c:v>
                </c:pt>
                <c:pt idx="3213">
                  <c:v>4.8</c:v>
                </c:pt>
                <c:pt idx="3214">
                  <c:v>4.8</c:v>
                </c:pt>
                <c:pt idx="3215">
                  <c:v>3.01</c:v>
                </c:pt>
                <c:pt idx="3216">
                  <c:v>3.61</c:v>
                </c:pt>
                <c:pt idx="3217">
                  <c:v>6.01</c:v>
                </c:pt>
                <c:pt idx="3218">
                  <c:v>3.01</c:v>
                </c:pt>
                <c:pt idx="3219">
                  <c:v>3.61</c:v>
                </c:pt>
                <c:pt idx="3220">
                  <c:v>3.01</c:v>
                </c:pt>
                <c:pt idx="3221">
                  <c:v>2.4</c:v>
                </c:pt>
                <c:pt idx="3222">
                  <c:v>4.21</c:v>
                </c:pt>
                <c:pt idx="3223">
                  <c:v>6.01</c:v>
                </c:pt>
                <c:pt idx="3224">
                  <c:v>0.61</c:v>
                </c:pt>
                <c:pt idx="3225">
                  <c:v>6.01</c:v>
                </c:pt>
                <c:pt idx="3226">
                  <c:v>4.8</c:v>
                </c:pt>
                <c:pt idx="3227">
                  <c:v>4.8</c:v>
                </c:pt>
                <c:pt idx="3228">
                  <c:v>2.4</c:v>
                </c:pt>
                <c:pt idx="3229">
                  <c:v>2.4</c:v>
                </c:pt>
                <c:pt idx="3230">
                  <c:v>3.61</c:v>
                </c:pt>
                <c:pt idx="3231">
                  <c:v>3.01</c:v>
                </c:pt>
                <c:pt idx="3232">
                  <c:v>4.8</c:v>
                </c:pt>
                <c:pt idx="3233">
                  <c:v>4.8</c:v>
                </c:pt>
                <c:pt idx="3234">
                  <c:v>4.8</c:v>
                </c:pt>
                <c:pt idx="3235">
                  <c:v>5.4</c:v>
                </c:pt>
                <c:pt idx="3236">
                  <c:v>4.21</c:v>
                </c:pt>
                <c:pt idx="3237">
                  <c:v>2.4</c:v>
                </c:pt>
                <c:pt idx="3238">
                  <c:v>2.4</c:v>
                </c:pt>
                <c:pt idx="3239">
                  <c:v>4.21</c:v>
                </c:pt>
                <c:pt idx="3240">
                  <c:v>6.01</c:v>
                </c:pt>
                <c:pt idx="3241">
                  <c:v>4.21</c:v>
                </c:pt>
                <c:pt idx="3242">
                  <c:v>3.61</c:v>
                </c:pt>
                <c:pt idx="3243">
                  <c:v>4.21</c:v>
                </c:pt>
                <c:pt idx="3244">
                  <c:v>3.01</c:v>
                </c:pt>
                <c:pt idx="3245">
                  <c:v>3.61</c:v>
                </c:pt>
                <c:pt idx="3246">
                  <c:v>2.4</c:v>
                </c:pt>
                <c:pt idx="3247">
                  <c:v>4.21</c:v>
                </c:pt>
                <c:pt idx="3248">
                  <c:v>5.4</c:v>
                </c:pt>
                <c:pt idx="3249">
                  <c:v>1.8</c:v>
                </c:pt>
                <c:pt idx="3250">
                  <c:v>3.61</c:v>
                </c:pt>
                <c:pt idx="3251">
                  <c:v>4.21</c:v>
                </c:pt>
                <c:pt idx="3252">
                  <c:v>3.61</c:v>
                </c:pt>
                <c:pt idx="3253">
                  <c:v>6.01</c:v>
                </c:pt>
                <c:pt idx="3254">
                  <c:v>4.21</c:v>
                </c:pt>
                <c:pt idx="3255">
                  <c:v>3.61</c:v>
                </c:pt>
                <c:pt idx="3256">
                  <c:v>1.8</c:v>
                </c:pt>
                <c:pt idx="3257">
                  <c:v>3.61</c:v>
                </c:pt>
                <c:pt idx="3258">
                  <c:v>3.61</c:v>
                </c:pt>
                <c:pt idx="3259">
                  <c:v>3.61</c:v>
                </c:pt>
                <c:pt idx="3260">
                  <c:v>4.21</c:v>
                </c:pt>
                <c:pt idx="3261">
                  <c:v>4.21</c:v>
                </c:pt>
                <c:pt idx="3262">
                  <c:v>2.4</c:v>
                </c:pt>
                <c:pt idx="3263">
                  <c:v>3.61</c:v>
                </c:pt>
                <c:pt idx="3264">
                  <c:v>3.01</c:v>
                </c:pt>
                <c:pt idx="3265">
                  <c:v>4.21</c:v>
                </c:pt>
                <c:pt idx="3266">
                  <c:v>3.01</c:v>
                </c:pt>
                <c:pt idx="3267">
                  <c:v>4.21</c:v>
                </c:pt>
                <c:pt idx="3268">
                  <c:v>4.21</c:v>
                </c:pt>
                <c:pt idx="3269">
                  <c:v>4.8</c:v>
                </c:pt>
                <c:pt idx="3270">
                  <c:v>3.01</c:v>
                </c:pt>
                <c:pt idx="3271">
                  <c:v>4.21</c:v>
                </c:pt>
                <c:pt idx="3272">
                  <c:v>3.61</c:v>
                </c:pt>
                <c:pt idx="3273">
                  <c:v>3.61</c:v>
                </c:pt>
                <c:pt idx="3274">
                  <c:v>5.4</c:v>
                </c:pt>
                <c:pt idx="3275">
                  <c:v>3.01</c:v>
                </c:pt>
                <c:pt idx="3276">
                  <c:v>3.01</c:v>
                </c:pt>
                <c:pt idx="3277">
                  <c:v>4.8</c:v>
                </c:pt>
                <c:pt idx="3278">
                  <c:v>5.4</c:v>
                </c:pt>
                <c:pt idx="3279">
                  <c:v>3.01</c:v>
                </c:pt>
                <c:pt idx="3280">
                  <c:v>5.4</c:v>
                </c:pt>
                <c:pt idx="3281">
                  <c:v>6.61</c:v>
                </c:pt>
                <c:pt idx="3282">
                  <c:v>4.8</c:v>
                </c:pt>
                <c:pt idx="3283">
                  <c:v>4.21</c:v>
                </c:pt>
                <c:pt idx="3284">
                  <c:v>3.01</c:v>
                </c:pt>
                <c:pt idx="3285">
                  <c:v>2.4</c:v>
                </c:pt>
                <c:pt idx="3286">
                  <c:v>2.4</c:v>
                </c:pt>
                <c:pt idx="3287">
                  <c:v>3.01</c:v>
                </c:pt>
                <c:pt idx="3288">
                  <c:v>3.61</c:v>
                </c:pt>
                <c:pt idx="3289">
                  <c:v>5.4</c:v>
                </c:pt>
                <c:pt idx="3290">
                  <c:v>4.21</c:v>
                </c:pt>
                <c:pt idx="3291">
                  <c:v>3.61</c:v>
                </c:pt>
                <c:pt idx="3292">
                  <c:v>3.01</c:v>
                </c:pt>
                <c:pt idx="3293">
                  <c:v>3.61</c:v>
                </c:pt>
                <c:pt idx="3294">
                  <c:v>3.61</c:v>
                </c:pt>
                <c:pt idx="3295">
                  <c:v>2.4</c:v>
                </c:pt>
                <c:pt idx="3296">
                  <c:v>2.4</c:v>
                </c:pt>
                <c:pt idx="3297">
                  <c:v>3.61</c:v>
                </c:pt>
                <c:pt idx="3298">
                  <c:v>2.4</c:v>
                </c:pt>
                <c:pt idx="3299">
                  <c:v>4.21</c:v>
                </c:pt>
                <c:pt idx="3300">
                  <c:v>3.61</c:v>
                </c:pt>
                <c:pt idx="3301">
                  <c:v>3.61</c:v>
                </c:pt>
                <c:pt idx="3302">
                  <c:v>3.01</c:v>
                </c:pt>
                <c:pt idx="3303">
                  <c:v>4.21</c:v>
                </c:pt>
                <c:pt idx="3304">
                  <c:v>4.8</c:v>
                </c:pt>
                <c:pt idx="3305">
                  <c:v>5.4</c:v>
                </c:pt>
                <c:pt idx="3306">
                  <c:v>4.8</c:v>
                </c:pt>
                <c:pt idx="3307">
                  <c:v>3.01</c:v>
                </c:pt>
                <c:pt idx="3308">
                  <c:v>3.01</c:v>
                </c:pt>
                <c:pt idx="3309">
                  <c:v>3.61</c:v>
                </c:pt>
                <c:pt idx="3310">
                  <c:v>1.8</c:v>
                </c:pt>
                <c:pt idx="3311">
                  <c:v>1.8</c:v>
                </c:pt>
                <c:pt idx="3312">
                  <c:v>3.61</c:v>
                </c:pt>
                <c:pt idx="3313">
                  <c:v>4.21</c:v>
                </c:pt>
                <c:pt idx="3314">
                  <c:v>4.8</c:v>
                </c:pt>
                <c:pt idx="3315">
                  <c:v>2.4</c:v>
                </c:pt>
                <c:pt idx="3316">
                  <c:v>3.61</c:v>
                </c:pt>
                <c:pt idx="3317">
                  <c:v>5.4</c:v>
                </c:pt>
                <c:pt idx="3318">
                  <c:v>3.01</c:v>
                </c:pt>
                <c:pt idx="3319">
                  <c:v>4.21</c:v>
                </c:pt>
                <c:pt idx="3320">
                  <c:v>4.8</c:v>
                </c:pt>
                <c:pt idx="3321">
                  <c:v>1.8</c:v>
                </c:pt>
                <c:pt idx="3322">
                  <c:v>4.8</c:v>
                </c:pt>
                <c:pt idx="3323">
                  <c:v>3.01</c:v>
                </c:pt>
                <c:pt idx="3324">
                  <c:v>4.8</c:v>
                </c:pt>
                <c:pt idx="3325">
                  <c:v>3.01</c:v>
                </c:pt>
                <c:pt idx="3326">
                  <c:v>5.4</c:v>
                </c:pt>
                <c:pt idx="3327">
                  <c:v>4.21</c:v>
                </c:pt>
                <c:pt idx="3328">
                  <c:v>4.8</c:v>
                </c:pt>
                <c:pt idx="3329">
                  <c:v>2.4</c:v>
                </c:pt>
                <c:pt idx="3330">
                  <c:v>5.4</c:v>
                </c:pt>
                <c:pt idx="3331">
                  <c:v>3.61</c:v>
                </c:pt>
                <c:pt idx="3332">
                  <c:v>3.61</c:v>
                </c:pt>
                <c:pt idx="3333">
                  <c:v>3.01</c:v>
                </c:pt>
                <c:pt idx="3334">
                  <c:v>4.21</c:v>
                </c:pt>
                <c:pt idx="3335">
                  <c:v>3.61</c:v>
                </c:pt>
                <c:pt idx="3336">
                  <c:v>5.4</c:v>
                </c:pt>
                <c:pt idx="3337">
                  <c:v>7.21</c:v>
                </c:pt>
                <c:pt idx="3338">
                  <c:v>4.8</c:v>
                </c:pt>
                <c:pt idx="3339">
                  <c:v>3.01</c:v>
                </c:pt>
                <c:pt idx="3340">
                  <c:v>4.21</c:v>
                </c:pt>
                <c:pt idx="3341">
                  <c:v>6.01</c:v>
                </c:pt>
                <c:pt idx="3342">
                  <c:v>3.61</c:v>
                </c:pt>
                <c:pt idx="3343">
                  <c:v>6.61</c:v>
                </c:pt>
                <c:pt idx="3344">
                  <c:v>4.21</c:v>
                </c:pt>
                <c:pt idx="3345">
                  <c:v>4.21</c:v>
                </c:pt>
                <c:pt idx="3346">
                  <c:v>4.21</c:v>
                </c:pt>
                <c:pt idx="3347">
                  <c:v>3.61</c:v>
                </c:pt>
                <c:pt idx="3348">
                  <c:v>0.61</c:v>
                </c:pt>
                <c:pt idx="3349">
                  <c:v>4.21</c:v>
                </c:pt>
                <c:pt idx="3350">
                  <c:v>3.61</c:v>
                </c:pt>
                <c:pt idx="3351">
                  <c:v>3.61</c:v>
                </c:pt>
                <c:pt idx="3352">
                  <c:v>2.4</c:v>
                </c:pt>
                <c:pt idx="3353">
                  <c:v>1.8</c:v>
                </c:pt>
                <c:pt idx="3354">
                  <c:v>3.01</c:v>
                </c:pt>
                <c:pt idx="3355">
                  <c:v>3.61</c:v>
                </c:pt>
                <c:pt idx="3356">
                  <c:v>6.61</c:v>
                </c:pt>
                <c:pt idx="3357">
                  <c:v>4.21</c:v>
                </c:pt>
                <c:pt idx="3358">
                  <c:v>4.21</c:v>
                </c:pt>
                <c:pt idx="3359">
                  <c:v>3.61</c:v>
                </c:pt>
                <c:pt idx="3360">
                  <c:v>5.4</c:v>
                </c:pt>
                <c:pt idx="3361">
                  <c:v>3.61</c:v>
                </c:pt>
                <c:pt idx="3362">
                  <c:v>3.01</c:v>
                </c:pt>
                <c:pt idx="3363">
                  <c:v>5.4</c:v>
                </c:pt>
                <c:pt idx="3364">
                  <c:v>3.01</c:v>
                </c:pt>
                <c:pt idx="3365">
                  <c:v>4.21</c:v>
                </c:pt>
                <c:pt idx="3366">
                  <c:v>4.21</c:v>
                </c:pt>
                <c:pt idx="3367">
                  <c:v>4.21</c:v>
                </c:pt>
                <c:pt idx="3368">
                  <c:v>3.61</c:v>
                </c:pt>
                <c:pt idx="3369">
                  <c:v>5.4</c:v>
                </c:pt>
                <c:pt idx="3370">
                  <c:v>3.01</c:v>
                </c:pt>
                <c:pt idx="3371">
                  <c:v>3.61</c:v>
                </c:pt>
                <c:pt idx="3372">
                  <c:v>6.01</c:v>
                </c:pt>
                <c:pt idx="3373">
                  <c:v>3.61</c:v>
                </c:pt>
                <c:pt idx="3374">
                  <c:v>4.21</c:v>
                </c:pt>
                <c:pt idx="3375">
                  <c:v>5.4</c:v>
                </c:pt>
                <c:pt idx="3376">
                  <c:v>3.01</c:v>
                </c:pt>
                <c:pt idx="3377">
                  <c:v>5.4</c:v>
                </c:pt>
                <c:pt idx="3378">
                  <c:v>4.21</c:v>
                </c:pt>
                <c:pt idx="3379">
                  <c:v>6.01</c:v>
                </c:pt>
                <c:pt idx="3380">
                  <c:v>4.21</c:v>
                </c:pt>
                <c:pt idx="3381">
                  <c:v>3.61</c:v>
                </c:pt>
                <c:pt idx="3382">
                  <c:v>4.21</c:v>
                </c:pt>
                <c:pt idx="3383">
                  <c:v>3.01</c:v>
                </c:pt>
                <c:pt idx="3384">
                  <c:v>3.61</c:v>
                </c:pt>
                <c:pt idx="3385">
                  <c:v>4.21</c:v>
                </c:pt>
                <c:pt idx="3386">
                  <c:v>5.4</c:v>
                </c:pt>
                <c:pt idx="3387">
                  <c:v>2.4</c:v>
                </c:pt>
                <c:pt idx="3388">
                  <c:v>4.8</c:v>
                </c:pt>
                <c:pt idx="3389">
                  <c:v>3.61</c:v>
                </c:pt>
                <c:pt idx="3390">
                  <c:v>2.4</c:v>
                </c:pt>
                <c:pt idx="3391">
                  <c:v>3.61</c:v>
                </c:pt>
                <c:pt idx="3392">
                  <c:v>4.21</c:v>
                </c:pt>
                <c:pt idx="3393">
                  <c:v>3.61</c:v>
                </c:pt>
                <c:pt idx="3394">
                  <c:v>3.01</c:v>
                </c:pt>
                <c:pt idx="3395">
                  <c:v>4.21</c:v>
                </c:pt>
                <c:pt idx="3396">
                  <c:v>4.21</c:v>
                </c:pt>
                <c:pt idx="3397">
                  <c:v>1.8</c:v>
                </c:pt>
                <c:pt idx="3398">
                  <c:v>4.8</c:v>
                </c:pt>
                <c:pt idx="3399">
                  <c:v>5.4</c:v>
                </c:pt>
                <c:pt idx="3400">
                  <c:v>3.61</c:v>
                </c:pt>
                <c:pt idx="3401">
                  <c:v>4.21</c:v>
                </c:pt>
                <c:pt idx="3402">
                  <c:v>5.4</c:v>
                </c:pt>
                <c:pt idx="3403">
                  <c:v>5.4</c:v>
                </c:pt>
                <c:pt idx="3404">
                  <c:v>4.21</c:v>
                </c:pt>
                <c:pt idx="3405">
                  <c:v>3.61</c:v>
                </c:pt>
                <c:pt idx="3406">
                  <c:v>4.21</c:v>
                </c:pt>
                <c:pt idx="3407">
                  <c:v>6.01</c:v>
                </c:pt>
                <c:pt idx="3408">
                  <c:v>4.8</c:v>
                </c:pt>
                <c:pt idx="3409">
                  <c:v>3.01</c:v>
                </c:pt>
                <c:pt idx="3410">
                  <c:v>4.21</c:v>
                </c:pt>
                <c:pt idx="3411">
                  <c:v>3.61</c:v>
                </c:pt>
                <c:pt idx="3412">
                  <c:v>2.4</c:v>
                </c:pt>
                <c:pt idx="3413">
                  <c:v>4.8</c:v>
                </c:pt>
                <c:pt idx="3414">
                  <c:v>4.8</c:v>
                </c:pt>
                <c:pt idx="3415">
                  <c:v>3.01</c:v>
                </c:pt>
                <c:pt idx="3416">
                  <c:v>4.21</c:v>
                </c:pt>
                <c:pt idx="3417">
                  <c:v>3.61</c:v>
                </c:pt>
                <c:pt idx="3418">
                  <c:v>3.01</c:v>
                </c:pt>
                <c:pt idx="3419">
                  <c:v>4.21</c:v>
                </c:pt>
                <c:pt idx="3420">
                  <c:v>4.21</c:v>
                </c:pt>
                <c:pt idx="3421">
                  <c:v>4.21</c:v>
                </c:pt>
                <c:pt idx="3422">
                  <c:v>4.8</c:v>
                </c:pt>
                <c:pt idx="3423">
                  <c:v>3.61</c:v>
                </c:pt>
                <c:pt idx="3424">
                  <c:v>1.8</c:v>
                </c:pt>
                <c:pt idx="3425">
                  <c:v>6.01</c:v>
                </c:pt>
                <c:pt idx="3426">
                  <c:v>4.21</c:v>
                </c:pt>
                <c:pt idx="3427">
                  <c:v>3.61</c:v>
                </c:pt>
                <c:pt idx="3428">
                  <c:v>3.61</c:v>
                </c:pt>
                <c:pt idx="3429">
                  <c:v>3.01</c:v>
                </c:pt>
                <c:pt idx="3430">
                  <c:v>6.01</c:v>
                </c:pt>
                <c:pt idx="3431">
                  <c:v>4.21</c:v>
                </c:pt>
                <c:pt idx="3432">
                  <c:v>3.01</c:v>
                </c:pt>
                <c:pt idx="3433">
                  <c:v>3.01</c:v>
                </c:pt>
                <c:pt idx="3434">
                  <c:v>6.01</c:v>
                </c:pt>
                <c:pt idx="3435">
                  <c:v>5.4</c:v>
                </c:pt>
                <c:pt idx="3436">
                  <c:v>4.8</c:v>
                </c:pt>
                <c:pt idx="3437">
                  <c:v>3.01</c:v>
                </c:pt>
                <c:pt idx="3438">
                  <c:v>4.21</c:v>
                </c:pt>
                <c:pt idx="3439">
                  <c:v>4.21</c:v>
                </c:pt>
                <c:pt idx="3440">
                  <c:v>4.8</c:v>
                </c:pt>
                <c:pt idx="3441">
                  <c:v>4.8</c:v>
                </c:pt>
                <c:pt idx="3442">
                  <c:v>4.21</c:v>
                </c:pt>
                <c:pt idx="3443">
                  <c:v>3.61</c:v>
                </c:pt>
                <c:pt idx="3444">
                  <c:v>5.4</c:v>
                </c:pt>
                <c:pt idx="3445">
                  <c:v>3.61</c:v>
                </c:pt>
                <c:pt idx="3446">
                  <c:v>3.01</c:v>
                </c:pt>
                <c:pt idx="3447">
                  <c:v>5.4</c:v>
                </c:pt>
                <c:pt idx="3448">
                  <c:v>4.8</c:v>
                </c:pt>
                <c:pt idx="3449">
                  <c:v>1.8</c:v>
                </c:pt>
                <c:pt idx="3450">
                  <c:v>3.01</c:v>
                </c:pt>
                <c:pt idx="3451">
                  <c:v>4.8</c:v>
                </c:pt>
                <c:pt idx="3452">
                  <c:v>3.61</c:v>
                </c:pt>
                <c:pt idx="3453">
                  <c:v>1.8</c:v>
                </c:pt>
                <c:pt idx="3454">
                  <c:v>3.61</c:v>
                </c:pt>
                <c:pt idx="3455">
                  <c:v>5.4</c:v>
                </c:pt>
                <c:pt idx="3456">
                  <c:v>4.8</c:v>
                </c:pt>
                <c:pt idx="3457">
                  <c:v>3.01</c:v>
                </c:pt>
                <c:pt idx="3458">
                  <c:v>5.4</c:v>
                </c:pt>
                <c:pt idx="3459">
                  <c:v>3.61</c:v>
                </c:pt>
                <c:pt idx="3460">
                  <c:v>3.01</c:v>
                </c:pt>
                <c:pt idx="3461">
                  <c:v>4.8</c:v>
                </c:pt>
                <c:pt idx="3462">
                  <c:v>3.61</c:v>
                </c:pt>
                <c:pt idx="3463">
                  <c:v>4.21</c:v>
                </c:pt>
                <c:pt idx="3464">
                  <c:v>3.61</c:v>
                </c:pt>
                <c:pt idx="3465">
                  <c:v>5.4</c:v>
                </c:pt>
                <c:pt idx="3466">
                  <c:v>5.4</c:v>
                </c:pt>
                <c:pt idx="3467">
                  <c:v>4.8</c:v>
                </c:pt>
                <c:pt idx="3468">
                  <c:v>4.21</c:v>
                </c:pt>
                <c:pt idx="3469">
                  <c:v>3.01</c:v>
                </c:pt>
                <c:pt idx="3470">
                  <c:v>4.21</c:v>
                </c:pt>
                <c:pt idx="3471">
                  <c:v>4.21</c:v>
                </c:pt>
                <c:pt idx="3472">
                  <c:v>1.8</c:v>
                </c:pt>
                <c:pt idx="3473">
                  <c:v>4.21</c:v>
                </c:pt>
                <c:pt idx="3474">
                  <c:v>2.4</c:v>
                </c:pt>
                <c:pt idx="3475">
                  <c:v>4.8</c:v>
                </c:pt>
                <c:pt idx="3476">
                  <c:v>5.4</c:v>
                </c:pt>
                <c:pt idx="3477">
                  <c:v>4.21</c:v>
                </c:pt>
                <c:pt idx="3478">
                  <c:v>4.8</c:v>
                </c:pt>
                <c:pt idx="3479">
                  <c:v>4.8</c:v>
                </c:pt>
                <c:pt idx="3480">
                  <c:v>3.01</c:v>
                </c:pt>
                <c:pt idx="3481">
                  <c:v>5.4</c:v>
                </c:pt>
                <c:pt idx="3482">
                  <c:v>3.61</c:v>
                </c:pt>
                <c:pt idx="3483">
                  <c:v>3.61</c:v>
                </c:pt>
                <c:pt idx="3484">
                  <c:v>3.01</c:v>
                </c:pt>
                <c:pt idx="3485">
                  <c:v>3.61</c:v>
                </c:pt>
                <c:pt idx="3486">
                  <c:v>3.61</c:v>
                </c:pt>
                <c:pt idx="3487">
                  <c:v>4.8</c:v>
                </c:pt>
                <c:pt idx="3488">
                  <c:v>3.61</c:v>
                </c:pt>
                <c:pt idx="3489">
                  <c:v>3.01</c:v>
                </c:pt>
                <c:pt idx="3490">
                  <c:v>2.4</c:v>
                </c:pt>
                <c:pt idx="3491">
                  <c:v>2.4</c:v>
                </c:pt>
                <c:pt idx="3492">
                  <c:v>3.01</c:v>
                </c:pt>
                <c:pt idx="3493">
                  <c:v>3.61</c:v>
                </c:pt>
                <c:pt idx="3494">
                  <c:v>5.4</c:v>
                </c:pt>
                <c:pt idx="3495">
                  <c:v>4.8</c:v>
                </c:pt>
                <c:pt idx="3496">
                  <c:v>4.8</c:v>
                </c:pt>
                <c:pt idx="3497">
                  <c:v>3.61</c:v>
                </c:pt>
                <c:pt idx="3498">
                  <c:v>4.8</c:v>
                </c:pt>
                <c:pt idx="3499">
                  <c:v>6.01</c:v>
                </c:pt>
                <c:pt idx="3500">
                  <c:v>4.21</c:v>
                </c:pt>
                <c:pt idx="3501">
                  <c:v>3.01</c:v>
                </c:pt>
                <c:pt idx="3502">
                  <c:v>1.8</c:v>
                </c:pt>
                <c:pt idx="3503">
                  <c:v>4.8</c:v>
                </c:pt>
                <c:pt idx="3504">
                  <c:v>3.61</c:v>
                </c:pt>
                <c:pt idx="3505">
                  <c:v>3.01</c:v>
                </c:pt>
                <c:pt idx="3506">
                  <c:v>3.61</c:v>
                </c:pt>
                <c:pt idx="3507">
                  <c:v>4.8</c:v>
                </c:pt>
                <c:pt idx="3508">
                  <c:v>3.01</c:v>
                </c:pt>
                <c:pt idx="3509">
                  <c:v>4.8</c:v>
                </c:pt>
                <c:pt idx="3510">
                  <c:v>3.01</c:v>
                </c:pt>
                <c:pt idx="3511">
                  <c:v>4.8</c:v>
                </c:pt>
                <c:pt idx="3512">
                  <c:v>3.61</c:v>
                </c:pt>
                <c:pt idx="3513">
                  <c:v>6.61</c:v>
                </c:pt>
                <c:pt idx="3514">
                  <c:v>1.8</c:v>
                </c:pt>
                <c:pt idx="3515">
                  <c:v>3.01</c:v>
                </c:pt>
                <c:pt idx="3516">
                  <c:v>4.21</c:v>
                </c:pt>
                <c:pt idx="3517">
                  <c:v>4.21</c:v>
                </c:pt>
                <c:pt idx="3518">
                  <c:v>2.4</c:v>
                </c:pt>
                <c:pt idx="3519">
                  <c:v>4.21</c:v>
                </c:pt>
                <c:pt idx="3520">
                  <c:v>4.21</c:v>
                </c:pt>
                <c:pt idx="3521">
                  <c:v>6.01</c:v>
                </c:pt>
                <c:pt idx="3522">
                  <c:v>3.61</c:v>
                </c:pt>
                <c:pt idx="3523">
                  <c:v>3.01</c:v>
                </c:pt>
                <c:pt idx="3524">
                  <c:v>5.4</c:v>
                </c:pt>
                <c:pt idx="3525">
                  <c:v>2.4</c:v>
                </c:pt>
                <c:pt idx="3526">
                  <c:v>4.8</c:v>
                </c:pt>
                <c:pt idx="3527">
                  <c:v>6.01</c:v>
                </c:pt>
                <c:pt idx="3528">
                  <c:v>2.4</c:v>
                </c:pt>
                <c:pt idx="3529">
                  <c:v>4.21</c:v>
                </c:pt>
                <c:pt idx="3530">
                  <c:v>3.61</c:v>
                </c:pt>
                <c:pt idx="3531">
                  <c:v>3.01</c:v>
                </c:pt>
                <c:pt idx="3532">
                  <c:v>3.61</c:v>
                </c:pt>
                <c:pt idx="3533">
                  <c:v>5.4</c:v>
                </c:pt>
                <c:pt idx="3534">
                  <c:v>4.21</c:v>
                </c:pt>
                <c:pt idx="3535">
                  <c:v>5.4</c:v>
                </c:pt>
                <c:pt idx="3536">
                  <c:v>2.4</c:v>
                </c:pt>
                <c:pt idx="3537">
                  <c:v>4.8</c:v>
                </c:pt>
                <c:pt idx="3538">
                  <c:v>6.01</c:v>
                </c:pt>
                <c:pt idx="3539">
                  <c:v>5.4</c:v>
                </c:pt>
                <c:pt idx="3540">
                  <c:v>6.01</c:v>
                </c:pt>
                <c:pt idx="3541">
                  <c:v>4.8</c:v>
                </c:pt>
                <c:pt idx="3542">
                  <c:v>3.61</c:v>
                </c:pt>
                <c:pt idx="3543">
                  <c:v>6.61</c:v>
                </c:pt>
                <c:pt idx="3544">
                  <c:v>3.01</c:v>
                </c:pt>
                <c:pt idx="3545">
                  <c:v>4.8</c:v>
                </c:pt>
                <c:pt idx="3546">
                  <c:v>3.61</c:v>
                </c:pt>
                <c:pt idx="3547">
                  <c:v>3.61</c:v>
                </c:pt>
                <c:pt idx="3548">
                  <c:v>5.4</c:v>
                </c:pt>
                <c:pt idx="3549">
                  <c:v>5.4</c:v>
                </c:pt>
                <c:pt idx="3550">
                  <c:v>2.4</c:v>
                </c:pt>
                <c:pt idx="3551">
                  <c:v>4.8</c:v>
                </c:pt>
                <c:pt idx="3552">
                  <c:v>4.21</c:v>
                </c:pt>
                <c:pt idx="3553">
                  <c:v>6.61</c:v>
                </c:pt>
                <c:pt idx="3554">
                  <c:v>4.8</c:v>
                </c:pt>
                <c:pt idx="3555">
                  <c:v>4.21</c:v>
                </c:pt>
                <c:pt idx="3556">
                  <c:v>4.21</c:v>
                </c:pt>
                <c:pt idx="3557">
                  <c:v>3.61</c:v>
                </c:pt>
                <c:pt idx="3558">
                  <c:v>4.8</c:v>
                </c:pt>
                <c:pt idx="3559">
                  <c:v>4.21</c:v>
                </c:pt>
                <c:pt idx="3560">
                  <c:v>3.61</c:v>
                </c:pt>
                <c:pt idx="3561">
                  <c:v>4.21</c:v>
                </c:pt>
                <c:pt idx="3562">
                  <c:v>5.4</c:v>
                </c:pt>
                <c:pt idx="3563">
                  <c:v>3.61</c:v>
                </c:pt>
                <c:pt idx="3564">
                  <c:v>3.01</c:v>
                </c:pt>
                <c:pt idx="3565">
                  <c:v>5.4</c:v>
                </c:pt>
                <c:pt idx="3566">
                  <c:v>1.8</c:v>
                </c:pt>
                <c:pt idx="3567">
                  <c:v>6.01</c:v>
                </c:pt>
                <c:pt idx="3568">
                  <c:v>4.8</c:v>
                </c:pt>
                <c:pt idx="3569">
                  <c:v>6.01</c:v>
                </c:pt>
                <c:pt idx="3570">
                  <c:v>4.21</c:v>
                </c:pt>
                <c:pt idx="3571">
                  <c:v>1.8</c:v>
                </c:pt>
                <c:pt idx="3572">
                  <c:v>1.8</c:v>
                </c:pt>
                <c:pt idx="3573">
                  <c:v>3.01</c:v>
                </c:pt>
                <c:pt idx="3574">
                  <c:v>6.61</c:v>
                </c:pt>
                <c:pt idx="3575">
                  <c:v>4.8</c:v>
                </c:pt>
                <c:pt idx="3576">
                  <c:v>6.01</c:v>
                </c:pt>
                <c:pt idx="3577">
                  <c:v>6.61</c:v>
                </c:pt>
                <c:pt idx="3578">
                  <c:v>4.21</c:v>
                </c:pt>
                <c:pt idx="3579">
                  <c:v>4.21</c:v>
                </c:pt>
                <c:pt idx="3580">
                  <c:v>3.01</c:v>
                </c:pt>
                <c:pt idx="3581">
                  <c:v>4.21</c:v>
                </c:pt>
                <c:pt idx="3582">
                  <c:v>4.8</c:v>
                </c:pt>
                <c:pt idx="3583">
                  <c:v>3.01</c:v>
                </c:pt>
                <c:pt idx="3584">
                  <c:v>4.8</c:v>
                </c:pt>
                <c:pt idx="3585">
                  <c:v>4.21</c:v>
                </c:pt>
                <c:pt idx="3586">
                  <c:v>4.8</c:v>
                </c:pt>
                <c:pt idx="3587">
                  <c:v>6.01</c:v>
                </c:pt>
                <c:pt idx="3588">
                  <c:v>6.61</c:v>
                </c:pt>
                <c:pt idx="3589">
                  <c:v>3.61</c:v>
                </c:pt>
                <c:pt idx="3590">
                  <c:v>5.4</c:v>
                </c:pt>
                <c:pt idx="3591">
                  <c:v>6.01</c:v>
                </c:pt>
                <c:pt idx="3592">
                  <c:v>4.8</c:v>
                </c:pt>
                <c:pt idx="3593">
                  <c:v>3.61</c:v>
                </c:pt>
                <c:pt idx="3594">
                  <c:v>4.21</c:v>
                </c:pt>
                <c:pt idx="3595">
                  <c:v>4.8</c:v>
                </c:pt>
                <c:pt idx="3596">
                  <c:v>3.61</c:v>
                </c:pt>
                <c:pt idx="3597">
                  <c:v>3.61</c:v>
                </c:pt>
                <c:pt idx="3598">
                  <c:v>3.01</c:v>
                </c:pt>
                <c:pt idx="3599">
                  <c:v>3.01</c:v>
                </c:pt>
                <c:pt idx="3600">
                  <c:v>3.61</c:v>
                </c:pt>
                <c:pt idx="3601">
                  <c:v>6.01</c:v>
                </c:pt>
                <c:pt idx="3602">
                  <c:v>4.21</c:v>
                </c:pt>
                <c:pt idx="3603">
                  <c:v>3.01</c:v>
                </c:pt>
                <c:pt idx="3604">
                  <c:v>5.4</c:v>
                </c:pt>
                <c:pt idx="3605">
                  <c:v>4.8</c:v>
                </c:pt>
                <c:pt idx="3606">
                  <c:v>5.4</c:v>
                </c:pt>
                <c:pt idx="3607">
                  <c:v>4.8</c:v>
                </c:pt>
                <c:pt idx="3608">
                  <c:v>4.21</c:v>
                </c:pt>
                <c:pt idx="3609">
                  <c:v>5.4</c:v>
                </c:pt>
                <c:pt idx="3610">
                  <c:v>4.21</c:v>
                </c:pt>
                <c:pt idx="3611">
                  <c:v>4.21</c:v>
                </c:pt>
                <c:pt idx="3612">
                  <c:v>5.4</c:v>
                </c:pt>
                <c:pt idx="3613">
                  <c:v>4.21</c:v>
                </c:pt>
                <c:pt idx="3614">
                  <c:v>4.21</c:v>
                </c:pt>
                <c:pt idx="3615">
                  <c:v>3.61</c:v>
                </c:pt>
                <c:pt idx="3616">
                  <c:v>3.61</c:v>
                </c:pt>
                <c:pt idx="3617">
                  <c:v>5.4</c:v>
                </c:pt>
                <c:pt idx="3618">
                  <c:v>4.8</c:v>
                </c:pt>
                <c:pt idx="3619">
                  <c:v>4.8</c:v>
                </c:pt>
                <c:pt idx="3620">
                  <c:v>3.61</c:v>
                </c:pt>
                <c:pt idx="3621">
                  <c:v>4.8</c:v>
                </c:pt>
                <c:pt idx="3622">
                  <c:v>5.4</c:v>
                </c:pt>
                <c:pt idx="3623">
                  <c:v>3.01</c:v>
                </c:pt>
                <c:pt idx="3624">
                  <c:v>6.01</c:v>
                </c:pt>
                <c:pt idx="3625">
                  <c:v>5.4</c:v>
                </c:pt>
                <c:pt idx="3626">
                  <c:v>3.01</c:v>
                </c:pt>
                <c:pt idx="3627">
                  <c:v>5.4</c:v>
                </c:pt>
                <c:pt idx="3628">
                  <c:v>6.01</c:v>
                </c:pt>
                <c:pt idx="3629">
                  <c:v>4.8</c:v>
                </c:pt>
                <c:pt idx="3630">
                  <c:v>4.21</c:v>
                </c:pt>
                <c:pt idx="3631">
                  <c:v>4.8</c:v>
                </c:pt>
                <c:pt idx="3632">
                  <c:v>5.4</c:v>
                </c:pt>
                <c:pt idx="3633">
                  <c:v>4.8</c:v>
                </c:pt>
                <c:pt idx="3634">
                  <c:v>3.61</c:v>
                </c:pt>
                <c:pt idx="3635">
                  <c:v>4.21</c:v>
                </c:pt>
                <c:pt idx="3636">
                  <c:v>7.21</c:v>
                </c:pt>
                <c:pt idx="3637">
                  <c:v>6.61</c:v>
                </c:pt>
                <c:pt idx="3638">
                  <c:v>5.4</c:v>
                </c:pt>
                <c:pt idx="3639">
                  <c:v>3.61</c:v>
                </c:pt>
                <c:pt idx="3640">
                  <c:v>4.8</c:v>
                </c:pt>
                <c:pt idx="3641">
                  <c:v>6.61</c:v>
                </c:pt>
                <c:pt idx="3642">
                  <c:v>5.4</c:v>
                </c:pt>
                <c:pt idx="3643">
                  <c:v>3.61</c:v>
                </c:pt>
                <c:pt idx="3644">
                  <c:v>5.4</c:v>
                </c:pt>
                <c:pt idx="3645">
                  <c:v>6.01</c:v>
                </c:pt>
                <c:pt idx="3646">
                  <c:v>5.4</c:v>
                </c:pt>
                <c:pt idx="3647">
                  <c:v>7.21</c:v>
                </c:pt>
                <c:pt idx="3648">
                  <c:v>4.21</c:v>
                </c:pt>
                <c:pt idx="3649">
                  <c:v>5.4</c:v>
                </c:pt>
                <c:pt idx="3650">
                  <c:v>6.01</c:v>
                </c:pt>
                <c:pt idx="3651">
                  <c:v>3.61</c:v>
                </c:pt>
                <c:pt idx="3652">
                  <c:v>6.01</c:v>
                </c:pt>
                <c:pt idx="3653">
                  <c:v>6.01</c:v>
                </c:pt>
                <c:pt idx="3654">
                  <c:v>6.01</c:v>
                </c:pt>
                <c:pt idx="3655">
                  <c:v>3.61</c:v>
                </c:pt>
                <c:pt idx="3656">
                  <c:v>4.8</c:v>
                </c:pt>
                <c:pt idx="3657">
                  <c:v>4.8</c:v>
                </c:pt>
                <c:pt idx="3658">
                  <c:v>4.21</c:v>
                </c:pt>
                <c:pt idx="3659">
                  <c:v>3.01</c:v>
                </c:pt>
                <c:pt idx="3660">
                  <c:v>3.61</c:v>
                </c:pt>
                <c:pt idx="3661">
                  <c:v>5.4</c:v>
                </c:pt>
                <c:pt idx="3662">
                  <c:v>4.8</c:v>
                </c:pt>
                <c:pt idx="3663">
                  <c:v>6.61</c:v>
                </c:pt>
                <c:pt idx="3664">
                  <c:v>1.8</c:v>
                </c:pt>
                <c:pt idx="3665">
                  <c:v>3.01</c:v>
                </c:pt>
                <c:pt idx="3666">
                  <c:v>5.4</c:v>
                </c:pt>
                <c:pt idx="3667">
                  <c:v>6.01</c:v>
                </c:pt>
                <c:pt idx="3668">
                  <c:v>6.61</c:v>
                </c:pt>
                <c:pt idx="3669">
                  <c:v>4.21</c:v>
                </c:pt>
                <c:pt idx="3670">
                  <c:v>3.01</c:v>
                </c:pt>
                <c:pt idx="3671">
                  <c:v>4.21</c:v>
                </c:pt>
                <c:pt idx="3672">
                  <c:v>4.8</c:v>
                </c:pt>
                <c:pt idx="3673">
                  <c:v>3.01</c:v>
                </c:pt>
                <c:pt idx="3674">
                  <c:v>4.21</c:v>
                </c:pt>
                <c:pt idx="3675">
                  <c:v>4.8</c:v>
                </c:pt>
                <c:pt idx="3676">
                  <c:v>3.01</c:v>
                </c:pt>
                <c:pt idx="3677">
                  <c:v>4.21</c:v>
                </c:pt>
                <c:pt idx="3678">
                  <c:v>4.21</c:v>
                </c:pt>
                <c:pt idx="3679">
                  <c:v>3.61</c:v>
                </c:pt>
                <c:pt idx="3680">
                  <c:v>4.21</c:v>
                </c:pt>
                <c:pt idx="3681">
                  <c:v>3.61</c:v>
                </c:pt>
                <c:pt idx="3682">
                  <c:v>5.4</c:v>
                </c:pt>
                <c:pt idx="3683">
                  <c:v>4.21</c:v>
                </c:pt>
                <c:pt idx="3684">
                  <c:v>3.61</c:v>
                </c:pt>
                <c:pt idx="3685">
                  <c:v>4.8</c:v>
                </c:pt>
                <c:pt idx="3686">
                  <c:v>3.01</c:v>
                </c:pt>
                <c:pt idx="3687">
                  <c:v>4.21</c:v>
                </c:pt>
                <c:pt idx="3688">
                  <c:v>6.01</c:v>
                </c:pt>
                <c:pt idx="3689">
                  <c:v>4.21</c:v>
                </c:pt>
                <c:pt idx="3690">
                  <c:v>4.21</c:v>
                </c:pt>
                <c:pt idx="3691">
                  <c:v>5.4</c:v>
                </c:pt>
                <c:pt idx="3692">
                  <c:v>4.21</c:v>
                </c:pt>
                <c:pt idx="3693">
                  <c:v>4.21</c:v>
                </c:pt>
                <c:pt idx="3694">
                  <c:v>4.8</c:v>
                </c:pt>
                <c:pt idx="3695">
                  <c:v>4.8</c:v>
                </c:pt>
                <c:pt idx="3696">
                  <c:v>3.61</c:v>
                </c:pt>
                <c:pt idx="3697">
                  <c:v>6.01</c:v>
                </c:pt>
                <c:pt idx="3698">
                  <c:v>3.01</c:v>
                </c:pt>
                <c:pt idx="3699">
                  <c:v>4.21</c:v>
                </c:pt>
                <c:pt idx="3700">
                  <c:v>3.61</c:v>
                </c:pt>
                <c:pt idx="3701">
                  <c:v>5.4</c:v>
                </c:pt>
                <c:pt idx="3702">
                  <c:v>4.21</c:v>
                </c:pt>
                <c:pt idx="3703">
                  <c:v>4.8</c:v>
                </c:pt>
                <c:pt idx="3704">
                  <c:v>4.21</c:v>
                </c:pt>
                <c:pt idx="3705">
                  <c:v>3.61</c:v>
                </c:pt>
                <c:pt idx="3706">
                  <c:v>5.4</c:v>
                </c:pt>
                <c:pt idx="3707">
                  <c:v>4.21</c:v>
                </c:pt>
                <c:pt idx="3708">
                  <c:v>6.01</c:v>
                </c:pt>
                <c:pt idx="3709">
                  <c:v>3.61</c:v>
                </c:pt>
                <c:pt idx="3710">
                  <c:v>4.21</c:v>
                </c:pt>
                <c:pt idx="3711">
                  <c:v>4.21</c:v>
                </c:pt>
                <c:pt idx="3712">
                  <c:v>4.8</c:v>
                </c:pt>
                <c:pt idx="3713">
                  <c:v>5.4</c:v>
                </c:pt>
                <c:pt idx="3714">
                  <c:v>5.4</c:v>
                </c:pt>
                <c:pt idx="3715">
                  <c:v>5.4</c:v>
                </c:pt>
                <c:pt idx="3716">
                  <c:v>4.8</c:v>
                </c:pt>
                <c:pt idx="3717">
                  <c:v>5.4</c:v>
                </c:pt>
                <c:pt idx="3718">
                  <c:v>4.8</c:v>
                </c:pt>
                <c:pt idx="3719">
                  <c:v>3.61</c:v>
                </c:pt>
                <c:pt idx="3720">
                  <c:v>5.4</c:v>
                </c:pt>
                <c:pt idx="3721">
                  <c:v>3.61</c:v>
                </c:pt>
                <c:pt idx="3722">
                  <c:v>4.8</c:v>
                </c:pt>
                <c:pt idx="3723">
                  <c:v>5.4</c:v>
                </c:pt>
                <c:pt idx="3724">
                  <c:v>6.01</c:v>
                </c:pt>
                <c:pt idx="3725">
                  <c:v>5.4</c:v>
                </c:pt>
                <c:pt idx="3726">
                  <c:v>3.61</c:v>
                </c:pt>
                <c:pt idx="3727">
                  <c:v>6.01</c:v>
                </c:pt>
                <c:pt idx="3728">
                  <c:v>6.01</c:v>
                </c:pt>
                <c:pt idx="3729">
                  <c:v>5.4</c:v>
                </c:pt>
                <c:pt idx="3730">
                  <c:v>4.8</c:v>
                </c:pt>
                <c:pt idx="3731">
                  <c:v>3.01</c:v>
                </c:pt>
                <c:pt idx="3732">
                  <c:v>6.61</c:v>
                </c:pt>
                <c:pt idx="3733">
                  <c:v>4.21</c:v>
                </c:pt>
                <c:pt idx="3734">
                  <c:v>3.61</c:v>
                </c:pt>
                <c:pt idx="3735">
                  <c:v>4.8</c:v>
                </c:pt>
                <c:pt idx="3736">
                  <c:v>4.21</c:v>
                </c:pt>
                <c:pt idx="3737">
                  <c:v>3.61</c:v>
                </c:pt>
                <c:pt idx="3738">
                  <c:v>6.01</c:v>
                </c:pt>
                <c:pt idx="3739">
                  <c:v>3.61</c:v>
                </c:pt>
                <c:pt idx="3740">
                  <c:v>4.8</c:v>
                </c:pt>
                <c:pt idx="3741">
                  <c:v>4.8</c:v>
                </c:pt>
                <c:pt idx="3742">
                  <c:v>3.61</c:v>
                </c:pt>
                <c:pt idx="3743">
                  <c:v>6.01</c:v>
                </c:pt>
                <c:pt idx="3744">
                  <c:v>3.01</c:v>
                </c:pt>
                <c:pt idx="3745">
                  <c:v>3.61</c:v>
                </c:pt>
                <c:pt idx="3746">
                  <c:v>6.61</c:v>
                </c:pt>
                <c:pt idx="3747">
                  <c:v>4.8</c:v>
                </c:pt>
                <c:pt idx="3748">
                  <c:v>4.21</c:v>
                </c:pt>
                <c:pt idx="3749">
                  <c:v>4.8</c:v>
                </c:pt>
                <c:pt idx="3750">
                  <c:v>4.21</c:v>
                </c:pt>
                <c:pt idx="3751">
                  <c:v>4.21</c:v>
                </c:pt>
                <c:pt idx="3752">
                  <c:v>2.4</c:v>
                </c:pt>
                <c:pt idx="3753">
                  <c:v>6.01</c:v>
                </c:pt>
                <c:pt idx="3754">
                  <c:v>3.61</c:v>
                </c:pt>
                <c:pt idx="3755">
                  <c:v>4.8</c:v>
                </c:pt>
                <c:pt idx="3756">
                  <c:v>4.21</c:v>
                </c:pt>
                <c:pt idx="3757">
                  <c:v>3.61</c:v>
                </c:pt>
                <c:pt idx="3758">
                  <c:v>5.4</c:v>
                </c:pt>
                <c:pt idx="3759">
                  <c:v>6.01</c:v>
                </c:pt>
                <c:pt idx="3760">
                  <c:v>6.01</c:v>
                </c:pt>
                <c:pt idx="3761">
                  <c:v>3.61</c:v>
                </c:pt>
                <c:pt idx="3762">
                  <c:v>4.21</c:v>
                </c:pt>
                <c:pt idx="3763">
                  <c:v>4.21</c:v>
                </c:pt>
                <c:pt idx="3764">
                  <c:v>5.4</c:v>
                </c:pt>
                <c:pt idx="3765">
                  <c:v>4.21</c:v>
                </c:pt>
                <c:pt idx="3766">
                  <c:v>4.8</c:v>
                </c:pt>
                <c:pt idx="3767">
                  <c:v>6.61</c:v>
                </c:pt>
                <c:pt idx="3768">
                  <c:v>4.8</c:v>
                </c:pt>
                <c:pt idx="3769">
                  <c:v>4.21</c:v>
                </c:pt>
                <c:pt idx="3770">
                  <c:v>3.61</c:v>
                </c:pt>
                <c:pt idx="3771">
                  <c:v>4.8</c:v>
                </c:pt>
                <c:pt idx="3772">
                  <c:v>6.01</c:v>
                </c:pt>
                <c:pt idx="3773">
                  <c:v>4.8</c:v>
                </c:pt>
                <c:pt idx="3774">
                  <c:v>4.8</c:v>
                </c:pt>
                <c:pt idx="3775">
                  <c:v>5.4</c:v>
                </c:pt>
                <c:pt idx="3776">
                  <c:v>4.8</c:v>
                </c:pt>
                <c:pt idx="3777">
                  <c:v>4.21</c:v>
                </c:pt>
                <c:pt idx="3778">
                  <c:v>3.61</c:v>
                </c:pt>
                <c:pt idx="3779">
                  <c:v>4.8</c:v>
                </c:pt>
                <c:pt idx="3780">
                  <c:v>3.61</c:v>
                </c:pt>
                <c:pt idx="3781">
                  <c:v>4.8</c:v>
                </c:pt>
                <c:pt idx="3782">
                  <c:v>3.61</c:v>
                </c:pt>
                <c:pt idx="3783">
                  <c:v>3.61</c:v>
                </c:pt>
                <c:pt idx="3784">
                  <c:v>4.8</c:v>
                </c:pt>
                <c:pt idx="3785">
                  <c:v>5.4</c:v>
                </c:pt>
                <c:pt idx="3786">
                  <c:v>6.01</c:v>
                </c:pt>
                <c:pt idx="3787">
                  <c:v>4.8</c:v>
                </c:pt>
                <c:pt idx="3788">
                  <c:v>3.01</c:v>
                </c:pt>
                <c:pt idx="3789">
                  <c:v>2.4</c:v>
                </c:pt>
                <c:pt idx="3790">
                  <c:v>4.8</c:v>
                </c:pt>
                <c:pt idx="3791">
                  <c:v>6.61</c:v>
                </c:pt>
                <c:pt idx="3792">
                  <c:v>4.8</c:v>
                </c:pt>
                <c:pt idx="3793">
                  <c:v>3.61</c:v>
                </c:pt>
                <c:pt idx="3794">
                  <c:v>4.8</c:v>
                </c:pt>
                <c:pt idx="3795">
                  <c:v>3.61</c:v>
                </c:pt>
                <c:pt idx="3796">
                  <c:v>3.01</c:v>
                </c:pt>
                <c:pt idx="3797">
                  <c:v>5.4</c:v>
                </c:pt>
                <c:pt idx="3798">
                  <c:v>6.01</c:v>
                </c:pt>
                <c:pt idx="3799">
                  <c:v>4.8</c:v>
                </c:pt>
                <c:pt idx="3800">
                  <c:v>4.8</c:v>
                </c:pt>
                <c:pt idx="3801">
                  <c:v>4.8</c:v>
                </c:pt>
                <c:pt idx="3802">
                  <c:v>4.21</c:v>
                </c:pt>
                <c:pt idx="3803">
                  <c:v>3.01</c:v>
                </c:pt>
                <c:pt idx="3804">
                  <c:v>5.4</c:v>
                </c:pt>
                <c:pt idx="3805">
                  <c:v>4.8</c:v>
                </c:pt>
                <c:pt idx="3806">
                  <c:v>1.8</c:v>
                </c:pt>
                <c:pt idx="3807">
                  <c:v>4.21</c:v>
                </c:pt>
                <c:pt idx="3808">
                  <c:v>3.01</c:v>
                </c:pt>
                <c:pt idx="3809">
                  <c:v>4.8</c:v>
                </c:pt>
                <c:pt idx="3810">
                  <c:v>5.4</c:v>
                </c:pt>
                <c:pt idx="3811">
                  <c:v>4.21</c:v>
                </c:pt>
                <c:pt idx="3812">
                  <c:v>4.8</c:v>
                </c:pt>
                <c:pt idx="3813">
                  <c:v>6.01</c:v>
                </c:pt>
                <c:pt idx="3814">
                  <c:v>6.61</c:v>
                </c:pt>
                <c:pt idx="3815">
                  <c:v>3.61</c:v>
                </c:pt>
                <c:pt idx="3816">
                  <c:v>2.4</c:v>
                </c:pt>
                <c:pt idx="3817">
                  <c:v>4.8</c:v>
                </c:pt>
                <c:pt idx="3818">
                  <c:v>6.01</c:v>
                </c:pt>
                <c:pt idx="3819">
                  <c:v>5.4</c:v>
                </c:pt>
                <c:pt idx="3820">
                  <c:v>3.01</c:v>
                </c:pt>
                <c:pt idx="3821">
                  <c:v>3.01</c:v>
                </c:pt>
                <c:pt idx="3822">
                  <c:v>4.21</c:v>
                </c:pt>
                <c:pt idx="3823">
                  <c:v>2.4</c:v>
                </c:pt>
                <c:pt idx="3824">
                  <c:v>4.21</c:v>
                </c:pt>
                <c:pt idx="3825">
                  <c:v>3.01</c:v>
                </c:pt>
                <c:pt idx="3826">
                  <c:v>5.4</c:v>
                </c:pt>
                <c:pt idx="3827">
                  <c:v>4.8</c:v>
                </c:pt>
                <c:pt idx="3828">
                  <c:v>3.61</c:v>
                </c:pt>
                <c:pt idx="3829">
                  <c:v>4.8</c:v>
                </c:pt>
                <c:pt idx="3830">
                  <c:v>3.01</c:v>
                </c:pt>
                <c:pt idx="3831">
                  <c:v>5.4</c:v>
                </c:pt>
                <c:pt idx="3832">
                  <c:v>2.4</c:v>
                </c:pt>
                <c:pt idx="3833">
                  <c:v>3.01</c:v>
                </c:pt>
                <c:pt idx="3834">
                  <c:v>6.61</c:v>
                </c:pt>
                <c:pt idx="3835">
                  <c:v>4.21</c:v>
                </c:pt>
                <c:pt idx="3836">
                  <c:v>6.01</c:v>
                </c:pt>
                <c:pt idx="3837">
                  <c:v>6.61</c:v>
                </c:pt>
                <c:pt idx="3838">
                  <c:v>4.21</c:v>
                </c:pt>
                <c:pt idx="3839">
                  <c:v>5.4</c:v>
                </c:pt>
                <c:pt idx="3840">
                  <c:v>1.8</c:v>
                </c:pt>
                <c:pt idx="3841">
                  <c:v>4.8</c:v>
                </c:pt>
                <c:pt idx="3842">
                  <c:v>5.4</c:v>
                </c:pt>
                <c:pt idx="3843">
                  <c:v>4.8</c:v>
                </c:pt>
                <c:pt idx="3844">
                  <c:v>4.8</c:v>
                </c:pt>
                <c:pt idx="3845">
                  <c:v>3.01</c:v>
                </c:pt>
                <c:pt idx="3846">
                  <c:v>3.61</c:v>
                </c:pt>
                <c:pt idx="3847">
                  <c:v>4.8</c:v>
                </c:pt>
                <c:pt idx="3848">
                  <c:v>4.21</c:v>
                </c:pt>
                <c:pt idx="3849">
                  <c:v>5.4</c:v>
                </c:pt>
                <c:pt idx="3850">
                  <c:v>3.01</c:v>
                </c:pt>
                <c:pt idx="3851">
                  <c:v>3.61</c:v>
                </c:pt>
                <c:pt idx="3852">
                  <c:v>5.4</c:v>
                </c:pt>
                <c:pt idx="3853">
                  <c:v>5.4</c:v>
                </c:pt>
                <c:pt idx="3854">
                  <c:v>6.61</c:v>
                </c:pt>
                <c:pt idx="3855">
                  <c:v>5.4</c:v>
                </c:pt>
                <c:pt idx="3856">
                  <c:v>4.8</c:v>
                </c:pt>
                <c:pt idx="3857">
                  <c:v>5.4</c:v>
                </c:pt>
                <c:pt idx="3858">
                  <c:v>5.4</c:v>
                </c:pt>
                <c:pt idx="3859">
                  <c:v>3.01</c:v>
                </c:pt>
                <c:pt idx="3860">
                  <c:v>4.8</c:v>
                </c:pt>
                <c:pt idx="3861">
                  <c:v>6.01</c:v>
                </c:pt>
                <c:pt idx="3862">
                  <c:v>3.61</c:v>
                </c:pt>
                <c:pt idx="3863">
                  <c:v>1.8</c:v>
                </c:pt>
                <c:pt idx="3864">
                  <c:v>6.01</c:v>
                </c:pt>
                <c:pt idx="3865">
                  <c:v>6.01</c:v>
                </c:pt>
                <c:pt idx="3866">
                  <c:v>6.61</c:v>
                </c:pt>
                <c:pt idx="3867">
                  <c:v>4.21</c:v>
                </c:pt>
                <c:pt idx="3868">
                  <c:v>4.8</c:v>
                </c:pt>
                <c:pt idx="3869">
                  <c:v>5.4</c:v>
                </c:pt>
                <c:pt idx="3870">
                  <c:v>4.21</c:v>
                </c:pt>
                <c:pt idx="3871">
                  <c:v>3.61</c:v>
                </c:pt>
                <c:pt idx="3872">
                  <c:v>3.61</c:v>
                </c:pt>
                <c:pt idx="3873">
                  <c:v>7.21</c:v>
                </c:pt>
                <c:pt idx="3874">
                  <c:v>3.01</c:v>
                </c:pt>
                <c:pt idx="3875">
                  <c:v>4.8</c:v>
                </c:pt>
                <c:pt idx="3876">
                  <c:v>5.4</c:v>
                </c:pt>
                <c:pt idx="3877">
                  <c:v>4.8</c:v>
                </c:pt>
                <c:pt idx="3878">
                  <c:v>3.61</c:v>
                </c:pt>
                <c:pt idx="3879">
                  <c:v>6.01</c:v>
                </c:pt>
                <c:pt idx="3880">
                  <c:v>2.4</c:v>
                </c:pt>
                <c:pt idx="3881">
                  <c:v>5.4</c:v>
                </c:pt>
                <c:pt idx="3882">
                  <c:v>4.8</c:v>
                </c:pt>
                <c:pt idx="3883">
                  <c:v>3.01</c:v>
                </c:pt>
                <c:pt idx="3884">
                  <c:v>4.8</c:v>
                </c:pt>
                <c:pt idx="3885">
                  <c:v>6.61</c:v>
                </c:pt>
                <c:pt idx="3886">
                  <c:v>2.4</c:v>
                </c:pt>
                <c:pt idx="3887">
                  <c:v>4.21</c:v>
                </c:pt>
                <c:pt idx="3888">
                  <c:v>3.01</c:v>
                </c:pt>
                <c:pt idx="3889">
                  <c:v>3.61</c:v>
                </c:pt>
                <c:pt idx="3890">
                  <c:v>2.4</c:v>
                </c:pt>
                <c:pt idx="3891">
                  <c:v>6.61</c:v>
                </c:pt>
                <c:pt idx="3892">
                  <c:v>4.21</c:v>
                </c:pt>
                <c:pt idx="3893">
                  <c:v>3.61</c:v>
                </c:pt>
                <c:pt idx="3894">
                  <c:v>6.01</c:v>
                </c:pt>
                <c:pt idx="3895">
                  <c:v>4.8</c:v>
                </c:pt>
                <c:pt idx="3896">
                  <c:v>4.21</c:v>
                </c:pt>
                <c:pt idx="3897">
                  <c:v>3.01</c:v>
                </c:pt>
                <c:pt idx="3898">
                  <c:v>5.4</c:v>
                </c:pt>
                <c:pt idx="3899">
                  <c:v>4.8</c:v>
                </c:pt>
                <c:pt idx="3900">
                  <c:v>6.01</c:v>
                </c:pt>
                <c:pt idx="3901">
                  <c:v>4.8</c:v>
                </c:pt>
                <c:pt idx="3902">
                  <c:v>4.21</c:v>
                </c:pt>
                <c:pt idx="3903">
                  <c:v>4.21</c:v>
                </c:pt>
                <c:pt idx="3904">
                  <c:v>4.8</c:v>
                </c:pt>
                <c:pt idx="3905">
                  <c:v>3.61</c:v>
                </c:pt>
                <c:pt idx="3906">
                  <c:v>6.01</c:v>
                </c:pt>
                <c:pt idx="3907">
                  <c:v>4.21</c:v>
                </c:pt>
                <c:pt idx="3908">
                  <c:v>3.01</c:v>
                </c:pt>
                <c:pt idx="3909">
                  <c:v>3.01</c:v>
                </c:pt>
                <c:pt idx="3910">
                  <c:v>4.8</c:v>
                </c:pt>
                <c:pt idx="3911">
                  <c:v>3.61</c:v>
                </c:pt>
                <c:pt idx="3912">
                  <c:v>3.01</c:v>
                </c:pt>
                <c:pt idx="3913">
                  <c:v>4.8</c:v>
                </c:pt>
                <c:pt idx="3914">
                  <c:v>2.4</c:v>
                </c:pt>
                <c:pt idx="3915">
                  <c:v>4.21</c:v>
                </c:pt>
                <c:pt idx="3916">
                  <c:v>6.01</c:v>
                </c:pt>
                <c:pt idx="3917">
                  <c:v>4.21</c:v>
                </c:pt>
                <c:pt idx="3918">
                  <c:v>3.01</c:v>
                </c:pt>
                <c:pt idx="3919">
                  <c:v>4.21</c:v>
                </c:pt>
                <c:pt idx="3920">
                  <c:v>6.01</c:v>
                </c:pt>
                <c:pt idx="3921">
                  <c:v>4.8</c:v>
                </c:pt>
                <c:pt idx="3922">
                  <c:v>3.61</c:v>
                </c:pt>
                <c:pt idx="3923">
                  <c:v>3.61</c:v>
                </c:pt>
                <c:pt idx="3924">
                  <c:v>5.4</c:v>
                </c:pt>
                <c:pt idx="3925">
                  <c:v>5.4</c:v>
                </c:pt>
                <c:pt idx="3926">
                  <c:v>3.61</c:v>
                </c:pt>
                <c:pt idx="3927">
                  <c:v>3.01</c:v>
                </c:pt>
                <c:pt idx="3928">
                  <c:v>4.8</c:v>
                </c:pt>
                <c:pt idx="3929">
                  <c:v>4.21</c:v>
                </c:pt>
                <c:pt idx="3930">
                  <c:v>3.01</c:v>
                </c:pt>
                <c:pt idx="3931">
                  <c:v>2.4</c:v>
                </c:pt>
                <c:pt idx="3932">
                  <c:v>3.01</c:v>
                </c:pt>
                <c:pt idx="3933">
                  <c:v>4.8</c:v>
                </c:pt>
                <c:pt idx="3934">
                  <c:v>3.61</c:v>
                </c:pt>
                <c:pt idx="3935">
                  <c:v>3.61</c:v>
                </c:pt>
                <c:pt idx="3936">
                  <c:v>3.01</c:v>
                </c:pt>
                <c:pt idx="3937">
                  <c:v>3.01</c:v>
                </c:pt>
                <c:pt idx="3938">
                  <c:v>3.61</c:v>
                </c:pt>
                <c:pt idx="3939">
                  <c:v>3.61</c:v>
                </c:pt>
                <c:pt idx="3940">
                  <c:v>5.4</c:v>
                </c:pt>
                <c:pt idx="3941">
                  <c:v>4.21</c:v>
                </c:pt>
                <c:pt idx="3942">
                  <c:v>4.8</c:v>
                </c:pt>
                <c:pt idx="3943">
                  <c:v>2.4</c:v>
                </c:pt>
                <c:pt idx="3944">
                  <c:v>3.61</c:v>
                </c:pt>
                <c:pt idx="3945">
                  <c:v>6.01</c:v>
                </c:pt>
                <c:pt idx="3946">
                  <c:v>6.61</c:v>
                </c:pt>
                <c:pt idx="3947">
                  <c:v>4.21</c:v>
                </c:pt>
                <c:pt idx="3948">
                  <c:v>2.4</c:v>
                </c:pt>
                <c:pt idx="3949">
                  <c:v>4.21</c:v>
                </c:pt>
                <c:pt idx="3950">
                  <c:v>4.8</c:v>
                </c:pt>
                <c:pt idx="3951">
                  <c:v>6.61</c:v>
                </c:pt>
                <c:pt idx="3952">
                  <c:v>4.8</c:v>
                </c:pt>
                <c:pt idx="3953">
                  <c:v>3.61</c:v>
                </c:pt>
                <c:pt idx="3954">
                  <c:v>4.21</c:v>
                </c:pt>
                <c:pt idx="3955">
                  <c:v>4.8</c:v>
                </c:pt>
                <c:pt idx="3956">
                  <c:v>6.01</c:v>
                </c:pt>
                <c:pt idx="3957">
                  <c:v>4.21</c:v>
                </c:pt>
                <c:pt idx="3958">
                  <c:v>6.61</c:v>
                </c:pt>
                <c:pt idx="3959">
                  <c:v>3.01</c:v>
                </c:pt>
                <c:pt idx="3960">
                  <c:v>3.01</c:v>
                </c:pt>
                <c:pt idx="3961">
                  <c:v>5.4</c:v>
                </c:pt>
                <c:pt idx="3962">
                  <c:v>4.8</c:v>
                </c:pt>
                <c:pt idx="3963">
                  <c:v>7.21</c:v>
                </c:pt>
                <c:pt idx="3964">
                  <c:v>7.8</c:v>
                </c:pt>
                <c:pt idx="3965">
                  <c:v>4.21</c:v>
                </c:pt>
                <c:pt idx="3966">
                  <c:v>3.01</c:v>
                </c:pt>
                <c:pt idx="3967">
                  <c:v>4.21</c:v>
                </c:pt>
                <c:pt idx="3968">
                  <c:v>4.21</c:v>
                </c:pt>
                <c:pt idx="3969">
                  <c:v>4.8</c:v>
                </c:pt>
                <c:pt idx="3970">
                  <c:v>4.8</c:v>
                </c:pt>
                <c:pt idx="3971">
                  <c:v>6.01</c:v>
                </c:pt>
                <c:pt idx="3972">
                  <c:v>4.8</c:v>
                </c:pt>
                <c:pt idx="3973">
                  <c:v>6.01</c:v>
                </c:pt>
                <c:pt idx="3974">
                  <c:v>7.21</c:v>
                </c:pt>
                <c:pt idx="3975">
                  <c:v>4.21</c:v>
                </c:pt>
                <c:pt idx="3976">
                  <c:v>5.4</c:v>
                </c:pt>
                <c:pt idx="3977">
                  <c:v>4.21</c:v>
                </c:pt>
                <c:pt idx="3978">
                  <c:v>6.61</c:v>
                </c:pt>
                <c:pt idx="3979">
                  <c:v>3.61</c:v>
                </c:pt>
                <c:pt idx="3980">
                  <c:v>7.21</c:v>
                </c:pt>
                <c:pt idx="3981">
                  <c:v>4.8</c:v>
                </c:pt>
                <c:pt idx="3982">
                  <c:v>5.4</c:v>
                </c:pt>
                <c:pt idx="3983">
                  <c:v>6.01</c:v>
                </c:pt>
                <c:pt idx="3984">
                  <c:v>3.61</c:v>
                </c:pt>
                <c:pt idx="3985">
                  <c:v>5.4</c:v>
                </c:pt>
                <c:pt idx="3986">
                  <c:v>5.4</c:v>
                </c:pt>
                <c:pt idx="3987">
                  <c:v>7.21</c:v>
                </c:pt>
                <c:pt idx="3988">
                  <c:v>6.01</c:v>
                </c:pt>
                <c:pt idx="3989">
                  <c:v>4.8</c:v>
                </c:pt>
                <c:pt idx="3990">
                  <c:v>3.61</c:v>
                </c:pt>
                <c:pt idx="3991">
                  <c:v>3.61</c:v>
                </c:pt>
                <c:pt idx="3992">
                  <c:v>2.4</c:v>
                </c:pt>
                <c:pt idx="3993">
                  <c:v>6.01</c:v>
                </c:pt>
                <c:pt idx="3994">
                  <c:v>4.21</c:v>
                </c:pt>
                <c:pt idx="3995">
                  <c:v>4.8</c:v>
                </c:pt>
                <c:pt idx="3996">
                  <c:v>4.21</c:v>
                </c:pt>
                <c:pt idx="3997">
                  <c:v>7.21</c:v>
                </c:pt>
                <c:pt idx="3998">
                  <c:v>6.01</c:v>
                </c:pt>
                <c:pt idx="3999">
                  <c:v>4.8</c:v>
                </c:pt>
                <c:pt idx="4000">
                  <c:v>6.61</c:v>
                </c:pt>
                <c:pt idx="4001">
                  <c:v>3.61</c:v>
                </c:pt>
                <c:pt idx="4002">
                  <c:v>3.61</c:v>
                </c:pt>
                <c:pt idx="4003">
                  <c:v>6.61</c:v>
                </c:pt>
                <c:pt idx="4004">
                  <c:v>5.4</c:v>
                </c:pt>
                <c:pt idx="4005">
                  <c:v>7.21</c:v>
                </c:pt>
                <c:pt idx="4006">
                  <c:v>6.01</c:v>
                </c:pt>
                <c:pt idx="4007">
                  <c:v>4.8</c:v>
                </c:pt>
                <c:pt idx="4008">
                  <c:v>3.61</c:v>
                </c:pt>
                <c:pt idx="4009">
                  <c:v>4.8</c:v>
                </c:pt>
                <c:pt idx="4010">
                  <c:v>4.21</c:v>
                </c:pt>
                <c:pt idx="4011">
                  <c:v>4.21</c:v>
                </c:pt>
                <c:pt idx="4012">
                  <c:v>3.01</c:v>
                </c:pt>
                <c:pt idx="4013">
                  <c:v>3.01</c:v>
                </c:pt>
                <c:pt idx="4014">
                  <c:v>3.61</c:v>
                </c:pt>
                <c:pt idx="4015">
                  <c:v>4.21</c:v>
                </c:pt>
                <c:pt idx="4016">
                  <c:v>5.4</c:v>
                </c:pt>
                <c:pt idx="4017">
                  <c:v>5.4</c:v>
                </c:pt>
                <c:pt idx="4018">
                  <c:v>6.01</c:v>
                </c:pt>
                <c:pt idx="4019">
                  <c:v>2.4</c:v>
                </c:pt>
                <c:pt idx="4020">
                  <c:v>4.8</c:v>
                </c:pt>
                <c:pt idx="4021">
                  <c:v>4.8</c:v>
                </c:pt>
                <c:pt idx="4022">
                  <c:v>5.4</c:v>
                </c:pt>
                <c:pt idx="4023">
                  <c:v>4.8</c:v>
                </c:pt>
                <c:pt idx="4024">
                  <c:v>4.8</c:v>
                </c:pt>
                <c:pt idx="4025">
                  <c:v>4.8</c:v>
                </c:pt>
                <c:pt idx="4026">
                  <c:v>4.8</c:v>
                </c:pt>
                <c:pt idx="4027">
                  <c:v>4.8</c:v>
                </c:pt>
                <c:pt idx="4028">
                  <c:v>4.8</c:v>
                </c:pt>
                <c:pt idx="4029">
                  <c:v>4.21</c:v>
                </c:pt>
                <c:pt idx="4030">
                  <c:v>4.8</c:v>
                </c:pt>
                <c:pt idx="4031">
                  <c:v>3.61</c:v>
                </c:pt>
                <c:pt idx="4032">
                  <c:v>4.8</c:v>
                </c:pt>
                <c:pt idx="4033">
                  <c:v>4.21</c:v>
                </c:pt>
                <c:pt idx="4034">
                  <c:v>3.01</c:v>
                </c:pt>
                <c:pt idx="4035">
                  <c:v>4.8</c:v>
                </c:pt>
                <c:pt idx="4036">
                  <c:v>4.8</c:v>
                </c:pt>
                <c:pt idx="4037">
                  <c:v>4.21</c:v>
                </c:pt>
                <c:pt idx="4038">
                  <c:v>5.4</c:v>
                </c:pt>
                <c:pt idx="4039">
                  <c:v>6.01</c:v>
                </c:pt>
                <c:pt idx="4040">
                  <c:v>3.01</c:v>
                </c:pt>
                <c:pt idx="4041">
                  <c:v>5.4</c:v>
                </c:pt>
                <c:pt idx="4042">
                  <c:v>4.8</c:v>
                </c:pt>
                <c:pt idx="4043">
                  <c:v>5.4</c:v>
                </c:pt>
                <c:pt idx="4044">
                  <c:v>2.4</c:v>
                </c:pt>
                <c:pt idx="4045">
                  <c:v>4.8</c:v>
                </c:pt>
                <c:pt idx="4046">
                  <c:v>4.8</c:v>
                </c:pt>
                <c:pt idx="4047">
                  <c:v>5.4</c:v>
                </c:pt>
                <c:pt idx="4048">
                  <c:v>3.61</c:v>
                </c:pt>
                <c:pt idx="4049">
                  <c:v>3.61</c:v>
                </c:pt>
                <c:pt idx="4050">
                  <c:v>3.61</c:v>
                </c:pt>
                <c:pt idx="4051">
                  <c:v>3.01</c:v>
                </c:pt>
                <c:pt idx="4052">
                  <c:v>5.4</c:v>
                </c:pt>
                <c:pt idx="4053">
                  <c:v>5.4</c:v>
                </c:pt>
                <c:pt idx="4054">
                  <c:v>6.01</c:v>
                </c:pt>
                <c:pt idx="4055">
                  <c:v>4.8</c:v>
                </c:pt>
                <c:pt idx="4056">
                  <c:v>5.4</c:v>
                </c:pt>
                <c:pt idx="4057">
                  <c:v>6.61</c:v>
                </c:pt>
                <c:pt idx="4058">
                  <c:v>4.21</c:v>
                </c:pt>
                <c:pt idx="4059">
                  <c:v>4.21</c:v>
                </c:pt>
                <c:pt idx="4060">
                  <c:v>3.61</c:v>
                </c:pt>
                <c:pt idx="4061">
                  <c:v>6.01</c:v>
                </c:pt>
                <c:pt idx="4062">
                  <c:v>5.4</c:v>
                </c:pt>
                <c:pt idx="4063">
                  <c:v>1.8</c:v>
                </c:pt>
                <c:pt idx="4064">
                  <c:v>2.4</c:v>
                </c:pt>
                <c:pt idx="4065">
                  <c:v>4.8</c:v>
                </c:pt>
                <c:pt idx="4066">
                  <c:v>4.21</c:v>
                </c:pt>
                <c:pt idx="4067">
                  <c:v>3.61</c:v>
                </c:pt>
                <c:pt idx="4068">
                  <c:v>4.8</c:v>
                </c:pt>
                <c:pt idx="4069">
                  <c:v>4.21</c:v>
                </c:pt>
                <c:pt idx="4070">
                  <c:v>4.8</c:v>
                </c:pt>
                <c:pt idx="4071">
                  <c:v>4.21</c:v>
                </c:pt>
                <c:pt idx="4072">
                  <c:v>3.01</c:v>
                </c:pt>
                <c:pt idx="4073">
                  <c:v>4.8</c:v>
                </c:pt>
                <c:pt idx="4074">
                  <c:v>4.21</c:v>
                </c:pt>
                <c:pt idx="4075">
                  <c:v>4.21</c:v>
                </c:pt>
                <c:pt idx="4076">
                  <c:v>3.61</c:v>
                </c:pt>
                <c:pt idx="4077">
                  <c:v>3.61</c:v>
                </c:pt>
                <c:pt idx="4078">
                  <c:v>4.21</c:v>
                </c:pt>
                <c:pt idx="4079">
                  <c:v>2.4</c:v>
                </c:pt>
                <c:pt idx="4080">
                  <c:v>4.8</c:v>
                </c:pt>
                <c:pt idx="4081">
                  <c:v>5.4</c:v>
                </c:pt>
                <c:pt idx="4082">
                  <c:v>4.21</c:v>
                </c:pt>
                <c:pt idx="4083">
                  <c:v>4.21</c:v>
                </c:pt>
                <c:pt idx="4084">
                  <c:v>3.61</c:v>
                </c:pt>
                <c:pt idx="4085">
                  <c:v>4.21</c:v>
                </c:pt>
                <c:pt idx="4086">
                  <c:v>3.61</c:v>
                </c:pt>
                <c:pt idx="4087">
                  <c:v>4.8</c:v>
                </c:pt>
                <c:pt idx="4088">
                  <c:v>4.8</c:v>
                </c:pt>
                <c:pt idx="4089">
                  <c:v>3.61</c:v>
                </c:pt>
                <c:pt idx="4090">
                  <c:v>4.21</c:v>
                </c:pt>
                <c:pt idx="4091">
                  <c:v>3.61</c:v>
                </c:pt>
                <c:pt idx="4092">
                  <c:v>4.21</c:v>
                </c:pt>
                <c:pt idx="4093">
                  <c:v>4.8</c:v>
                </c:pt>
                <c:pt idx="4094">
                  <c:v>4.8</c:v>
                </c:pt>
                <c:pt idx="4095">
                  <c:v>4.21</c:v>
                </c:pt>
                <c:pt idx="4096">
                  <c:v>3.61</c:v>
                </c:pt>
                <c:pt idx="4097">
                  <c:v>3.01</c:v>
                </c:pt>
                <c:pt idx="4098">
                  <c:v>4.8</c:v>
                </c:pt>
                <c:pt idx="4099">
                  <c:v>3.61</c:v>
                </c:pt>
                <c:pt idx="4100">
                  <c:v>7.8</c:v>
                </c:pt>
                <c:pt idx="4101">
                  <c:v>4.21</c:v>
                </c:pt>
                <c:pt idx="4102">
                  <c:v>3.61</c:v>
                </c:pt>
                <c:pt idx="4103">
                  <c:v>4.8</c:v>
                </c:pt>
                <c:pt idx="4104">
                  <c:v>3.61</c:v>
                </c:pt>
                <c:pt idx="4105">
                  <c:v>3.01</c:v>
                </c:pt>
                <c:pt idx="4106">
                  <c:v>4.21</c:v>
                </c:pt>
                <c:pt idx="4107">
                  <c:v>4.8</c:v>
                </c:pt>
                <c:pt idx="4108">
                  <c:v>4.21</c:v>
                </c:pt>
                <c:pt idx="4109">
                  <c:v>1.8</c:v>
                </c:pt>
                <c:pt idx="4110">
                  <c:v>4.8</c:v>
                </c:pt>
                <c:pt idx="4111">
                  <c:v>4.21</c:v>
                </c:pt>
                <c:pt idx="4112">
                  <c:v>3.61</c:v>
                </c:pt>
                <c:pt idx="4113">
                  <c:v>3.61</c:v>
                </c:pt>
                <c:pt idx="4114">
                  <c:v>4.8</c:v>
                </c:pt>
                <c:pt idx="4115">
                  <c:v>5.4</c:v>
                </c:pt>
                <c:pt idx="4116">
                  <c:v>4.21</c:v>
                </c:pt>
                <c:pt idx="4117">
                  <c:v>5.4</c:v>
                </c:pt>
                <c:pt idx="4118">
                  <c:v>3.01</c:v>
                </c:pt>
                <c:pt idx="4119">
                  <c:v>4.21</c:v>
                </c:pt>
                <c:pt idx="4120">
                  <c:v>6.01</c:v>
                </c:pt>
                <c:pt idx="4121">
                  <c:v>3.61</c:v>
                </c:pt>
                <c:pt idx="4122">
                  <c:v>2.4</c:v>
                </c:pt>
                <c:pt idx="4123">
                  <c:v>3.61</c:v>
                </c:pt>
                <c:pt idx="4124">
                  <c:v>4.21</c:v>
                </c:pt>
                <c:pt idx="4125">
                  <c:v>3.61</c:v>
                </c:pt>
                <c:pt idx="4126">
                  <c:v>6.01</c:v>
                </c:pt>
                <c:pt idx="4127">
                  <c:v>6.61</c:v>
                </c:pt>
                <c:pt idx="4128">
                  <c:v>4.8</c:v>
                </c:pt>
                <c:pt idx="4129">
                  <c:v>5.4</c:v>
                </c:pt>
                <c:pt idx="4130">
                  <c:v>4.8</c:v>
                </c:pt>
                <c:pt idx="4131">
                  <c:v>4.21</c:v>
                </c:pt>
                <c:pt idx="4132">
                  <c:v>6.01</c:v>
                </c:pt>
                <c:pt idx="4133">
                  <c:v>4.8</c:v>
                </c:pt>
                <c:pt idx="4134">
                  <c:v>4.8</c:v>
                </c:pt>
                <c:pt idx="4135">
                  <c:v>5.4</c:v>
                </c:pt>
                <c:pt idx="4136">
                  <c:v>4.21</c:v>
                </c:pt>
                <c:pt idx="4137">
                  <c:v>5.4</c:v>
                </c:pt>
                <c:pt idx="4138">
                  <c:v>5.4</c:v>
                </c:pt>
                <c:pt idx="4139">
                  <c:v>4.8</c:v>
                </c:pt>
                <c:pt idx="4140">
                  <c:v>4.21</c:v>
                </c:pt>
                <c:pt idx="4141">
                  <c:v>4.21</c:v>
                </c:pt>
                <c:pt idx="4142">
                  <c:v>4.8</c:v>
                </c:pt>
                <c:pt idx="4143">
                  <c:v>4.8</c:v>
                </c:pt>
                <c:pt idx="4144">
                  <c:v>3.61</c:v>
                </c:pt>
                <c:pt idx="4145">
                  <c:v>4.21</c:v>
                </c:pt>
                <c:pt idx="4146">
                  <c:v>4.8</c:v>
                </c:pt>
                <c:pt idx="4147">
                  <c:v>5.4</c:v>
                </c:pt>
                <c:pt idx="4148">
                  <c:v>4.8</c:v>
                </c:pt>
                <c:pt idx="4149">
                  <c:v>4.21</c:v>
                </c:pt>
                <c:pt idx="4150">
                  <c:v>3.01</c:v>
                </c:pt>
                <c:pt idx="4151">
                  <c:v>4.8</c:v>
                </c:pt>
                <c:pt idx="4152">
                  <c:v>4.8</c:v>
                </c:pt>
                <c:pt idx="4153">
                  <c:v>3.01</c:v>
                </c:pt>
                <c:pt idx="4154">
                  <c:v>5.4</c:v>
                </c:pt>
                <c:pt idx="4155">
                  <c:v>6.61</c:v>
                </c:pt>
                <c:pt idx="4156">
                  <c:v>3.01</c:v>
                </c:pt>
                <c:pt idx="4157">
                  <c:v>6.01</c:v>
                </c:pt>
                <c:pt idx="4158">
                  <c:v>3.61</c:v>
                </c:pt>
                <c:pt idx="4159">
                  <c:v>1.21</c:v>
                </c:pt>
                <c:pt idx="4160">
                  <c:v>5.4</c:v>
                </c:pt>
                <c:pt idx="4161">
                  <c:v>6.01</c:v>
                </c:pt>
                <c:pt idx="4162">
                  <c:v>6.01</c:v>
                </c:pt>
                <c:pt idx="4163">
                  <c:v>6.01</c:v>
                </c:pt>
                <c:pt idx="4164">
                  <c:v>4.8</c:v>
                </c:pt>
                <c:pt idx="4165">
                  <c:v>7.21</c:v>
                </c:pt>
                <c:pt idx="4166">
                  <c:v>6.01</c:v>
                </c:pt>
                <c:pt idx="4167">
                  <c:v>6.01</c:v>
                </c:pt>
                <c:pt idx="4168">
                  <c:v>4.21</c:v>
                </c:pt>
                <c:pt idx="4169">
                  <c:v>5.4</c:v>
                </c:pt>
                <c:pt idx="4170">
                  <c:v>3.61</c:v>
                </c:pt>
                <c:pt idx="4171">
                  <c:v>4.21</c:v>
                </c:pt>
                <c:pt idx="4172">
                  <c:v>4.8</c:v>
                </c:pt>
                <c:pt idx="4173">
                  <c:v>4.8</c:v>
                </c:pt>
                <c:pt idx="4174">
                  <c:v>3.61</c:v>
                </c:pt>
                <c:pt idx="4175">
                  <c:v>3.61</c:v>
                </c:pt>
                <c:pt idx="4176">
                  <c:v>6.01</c:v>
                </c:pt>
                <c:pt idx="4177">
                  <c:v>5.4</c:v>
                </c:pt>
                <c:pt idx="4178">
                  <c:v>3.61</c:v>
                </c:pt>
                <c:pt idx="4179">
                  <c:v>4.8</c:v>
                </c:pt>
                <c:pt idx="4180">
                  <c:v>4.21</c:v>
                </c:pt>
                <c:pt idx="4181">
                  <c:v>6.01</c:v>
                </c:pt>
                <c:pt idx="4182">
                  <c:v>5.4</c:v>
                </c:pt>
                <c:pt idx="4183">
                  <c:v>3.61</c:v>
                </c:pt>
                <c:pt idx="4184">
                  <c:v>4.21</c:v>
                </c:pt>
                <c:pt idx="4185">
                  <c:v>5.4</c:v>
                </c:pt>
                <c:pt idx="4186">
                  <c:v>3.01</c:v>
                </c:pt>
                <c:pt idx="4187">
                  <c:v>4.8</c:v>
                </c:pt>
                <c:pt idx="4188">
                  <c:v>3.61</c:v>
                </c:pt>
                <c:pt idx="4189">
                  <c:v>4.21</c:v>
                </c:pt>
                <c:pt idx="4190">
                  <c:v>5.4</c:v>
                </c:pt>
                <c:pt idx="4191">
                  <c:v>3.61</c:v>
                </c:pt>
                <c:pt idx="4192">
                  <c:v>4.21</c:v>
                </c:pt>
                <c:pt idx="4193">
                  <c:v>4.21</c:v>
                </c:pt>
                <c:pt idx="4194">
                  <c:v>3.61</c:v>
                </c:pt>
                <c:pt idx="4195">
                  <c:v>4.21</c:v>
                </c:pt>
                <c:pt idx="4196">
                  <c:v>4.8</c:v>
                </c:pt>
                <c:pt idx="4197">
                  <c:v>6.61</c:v>
                </c:pt>
                <c:pt idx="4198">
                  <c:v>5.4</c:v>
                </c:pt>
                <c:pt idx="4199">
                  <c:v>4.8</c:v>
                </c:pt>
                <c:pt idx="4200">
                  <c:v>4.21</c:v>
                </c:pt>
                <c:pt idx="4201">
                  <c:v>4.8</c:v>
                </c:pt>
                <c:pt idx="4202">
                  <c:v>7.21</c:v>
                </c:pt>
                <c:pt idx="4203">
                  <c:v>5.4</c:v>
                </c:pt>
                <c:pt idx="4204">
                  <c:v>3.61</c:v>
                </c:pt>
                <c:pt idx="4205">
                  <c:v>5.4</c:v>
                </c:pt>
                <c:pt idx="4206">
                  <c:v>6.61</c:v>
                </c:pt>
                <c:pt idx="4207">
                  <c:v>4.21</c:v>
                </c:pt>
                <c:pt idx="4208">
                  <c:v>5.4</c:v>
                </c:pt>
                <c:pt idx="4209">
                  <c:v>6.01</c:v>
                </c:pt>
                <c:pt idx="4210">
                  <c:v>5.4</c:v>
                </c:pt>
                <c:pt idx="4211">
                  <c:v>4.8</c:v>
                </c:pt>
                <c:pt idx="4212">
                  <c:v>2.4</c:v>
                </c:pt>
                <c:pt idx="4213">
                  <c:v>3.61</c:v>
                </c:pt>
                <c:pt idx="4214">
                  <c:v>4.8</c:v>
                </c:pt>
                <c:pt idx="4215">
                  <c:v>4.21</c:v>
                </c:pt>
                <c:pt idx="4216">
                  <c:v>4.21</c:v>
                </c:pt>
                <c:pt idx="4217">
                  <c:v>5.4</c:v>
                </c:pt>
                <c:pt idx="4218">
                  <c:v>4.8</c:v>
                </c:pt>
                <c:pt idx="4219">
                  <c:v>4.8</c:v>
                </c:pt>
                <c:pt idx="4220">
                  <c:v>4.8</c:v>
                </c:pt>
                <c:pt idx="4221">
                  <c:v>4.21</c:v>
                </c:pt>
                <c:pt idx="4222">
                  <c:v>4.8</c:v>
                </c:pt>
                <c:pt idx="4223">
                  <c:v>7.21</c:v>
                </c:pt>
                <c:pt idx="4224">
                  <c:v>3.61</c:v>
                </c:pt>
                <c:pt idx="4225">
                  <c:v>3.01</c:v>
                </c:pt>
                <c:pt idx="4226">
                  <c:v>3.61</c:v>
                </c:pt>
                <c:pt idx="4227">
                  <c:v>3.61</c:v>
                </c:pt>
                <c:pt idx="4228">
                  <c:v>5.4</c:v>
                </c:pt>
                <c:pt idx="4229">
                  <c:v>4.8</c:v>
                </c:pt>
                <c:pt idx="4230">
                  <c:v>4.21</c:v>
                </c:pt>
                <c:pt idx="4231">
                  <c:v>4.8</c:v>
                </c:pt>
                <c:pt idx="4232">
                  <c:v>5.4</c:v>
                </c:pt>
                <c:pt idx="4233">
                  <c:v>3.61</c:v>
                </c:pt>
                <c:pt idx="4234">
                  <c:v>4.21</c:v>
                </c:pt>
                <c:pt idx="4235">
                  <c:v>7.21</c:v>
                </c:pt>
                <c:pt idx="4236">
                  <c:v>4.21</c:v>
                </c:pt>
                <c:pt idx="4237">
                  <c:v>3.61</c:v>
                </c:pt>
                <c:pt idx="4238">
                  <c:v>5.4</c:v>
                </c:pt>
                <c:pt idx="4239">
                  <c:v>6.01</c:v>
                </c:pt>
                <c:pt idx="4240">
                  <c:v>4.21</c:v>
                </c:pt>
                <c:pt idx="4241">
                  <c:v>4.8</c:v>
                </c:pt>
                <c:pt idx="4242">
                  <c:v>4.8</c:v>
                </c:pt>
                <c:pt idx="4243">
                  <c:v>4.21</c:v>
                </c:pt>
                <c:pt idx="4244">
                  <c:v>4.8</c:v>
                </c:pt>
                <c:pt idx="4245">
                  <c:v>4.8</c:v>
                </c:pt>
                <c:pt idx="4246">
                  <c:v>3.01</c:v>
                </c:pt>
                <c:pt idx="4247">
                  <c:v>4.21</c:v>
                </c:pt>
                <c:pt idx="4248">
                  <c:v>5.4</c:v>
                </c:pt>
                <c:pt idx="4249">
                  <c:v>6.61</c:v>
                </c:pt>
                <c:pt idx="4250">
                  <c:v>2.4</c:v>
                </c:pt>
                <c:pt idx="4251">
                  <c:v>4.21</c:v>
                </c:pt>
                <c:pt idx="4252">
                  <c:v>4.21</c:v>
                </c:pt>
                <c:pt idx="4253">
                  <c:v>3.61</c:v>
                </c:pt>
                <c:pt idx="4254">
                  <c:v>5.4</c:v>
                </c:pt>
                <c:pt idx="4255">
                  <c:v>4.21</c:v>
                </c:pt>
                <c:pt idx="4256">
                  <c:v>6.01</c:v>
                </c:pt>
                <c:pt idx="4257">
                  <c:v>4.8</c:v>
                </c:pt>
                <c:pt idx="4258">
                  <c:v>4.21</c:v>
                </c:pt>
                <c:pt idx="4259">
                  <c:v>5.4</c:v>
                </c:pt>
                <c:pt idx="4260">
                  <c:v>6.01</c:v>
                </c:pt>
                <c:pt idx="4261">
                  <c:v>4.8</c:v>
                </c:pt>
                <c:pt idx="4262">
                  <c:v>4.21</c:v>
                </c:pt>
                <c:pt idx="4263">
                  <c:v>6.61</c:v>
                </c:pt>
                <c:pt idx="4264">
                  <c:v>5.4</c:v>
                </c:pt>
                <c:pt idx="4265">
                  <c:v>5.4</c:v>
                </c:pt>
                <c:pt idx="4266">
                  <c:v>5.4</c:v>
                </c:pt>
                <c:pt idx="4267">
                  <c:v>6.01</c:v>
                </c:pt>
                <c:pt idx="4268">
                  <c:v>3.61</c:v>
                </c:pt>
                <c:pt idx="4269">
                  <c:v>3.61</c:v>
                </c:pt>
                <c:pt idx="4270">
                  <c:v>4.21</c:v>
                </c:pt>
                <c:pt idx="4271">
                  <c:v>3.61</c:v>
                </c:pt>
                <c:pt idx="4272">
                  <c:v>6.61</c:v>
                </c:pt>
                <c:pt idx="4273">
                  <c:v>4.21</c:v>
                </c:pt>
                <c:pt idx="4274">
                  <c:v>3.01</c:v>
                </c:pt>
                <c:pt idx="4275">
                  <c:v>3.61</c:v>
                </c:pt>
                <c:pt idx="4276">
                  <c:v>4.8</c:v>
                </c:pt>
                <c:pt idx="4277">
                  <c:v>6.01</c:v>
                </c:pt>
                <c:pt idx="4278">
                  <c:v>4.21</c:v>
                </c:pt>
                <c:pt idx="4279">
                  <c:v>5.4</c:v>
                </c:pt>
                <c:pt idx="4280">
                  <c:v>2.4</c:v>
                </c:pt>
                <c:pt idx="4281">
                  <c:v>5.4</c:v>
                </c:pt>
                <c:pt idx="4282">
                  <c:v>4.8</c:v>
                </c:pt>
                <c:pt idx="4283">
                  <c:v>3.01</c:v>
                </c:pt>
                <c:pt idx="4284">
                  <c:v>2.4</c:v>
                </c:pt>
                <c:pt idx="4285">
                  <c:v>4.8</c:v>
                </c:pt>
                <c:pt idx="4286">
                  <c:v>5.4</c:v>
                </c:pt>
                <c:pt idx="4287">
                  <c:v>4.8</c:v>
                </c:pt>
                <c:pt idx="4288">
                  <c:v>4.8</c:v>
                </c:pt>
                <c:pt idx="4289">
                  <c:v>5.4</c:v>
                </c:pt>
                <c:pt idx="4290">
                  <c:v>7.21</c:v>
                </c:pt>
                <c:pt idx="4291">
                  <c:v>5.4</c:v>
                </c:pt>
                <c:pt idx="4292">
                  <c:v>5.4</c:v>
                </c:pt>
                <c:pt idx="4293">
                  <c:v>7.21</c:v>
                </c:pt>
                <c:pt idx="4294">
                  <c:v>4.21</c:v>
                </c:pt>
                <c:pt idx="4295">
                  <c:v>4.8</c:v>
                </c:pt>
                <c:pt idx="4296">
                  <c:v>3.61</c:v>
                </c:pt>
                <c:pt idx="4297">
                  <c:v>4.8</c:v>
                </c:pt>
                <c:pt idx="4298">
                  <c:v>5.4</c:v>
                </c:pt>
                <c:pt idx="4299">
                  <c:v>6.01</c:v>
                </c:pt>
                <c:pt idx="4300">
                  <c:v>4.21</c:v>
                </c:pt>
                <c:pt idx="4301">
                  <c:v>3.01</c:v>
                </c:pt>
                <c:pt idx="4302">
                  <c:v>3.61</c:v>
                </c:pt>
                <c:pt idx="4303">
                  <c:v>3.61</c:v>
                </c:pt>
                <c:pt idx="4304">
                  <c:v>5.4</c:v>
                </c:pt>
                <c:pt idx="4305">
                  <c:v>3.61</c:v>
                </c:pt>
                <c:pt idx="4306">
                  <c:v>4.21</c:v>
                </c:pt>
                <c:pt idx="4307">
                  <c:v>5.4</c:v>
                </c:pt>
                <c:pt idx="4308">
                  <c:v>5.4</c:v>
                </c:pt>
                <c:pt idx="4309">
                  <c:v>2.4</c:v>
                </c:pt>
                <c:pt idx="4310">
                  <c:v>4.21</c:v>
                </c:pt>
                <c:pt idx="4311">
                  <c:v>3.01</c:v>
                </c:pt>
                <c:pt idx="4312">
                  <c:v>4.21</c:v>
                </c:pt>
                <c:pt idx="4313">
                  <c:v>6.01</c:v>
                </c:pt>
                <c:pt idx="4314">
                  <c:v>6.61</c:v>
                </c:pt>
                <c:pt idx="4315">
                  <c:v>3.61</c:v>
                </c:pt>
                <c:pt idx="4316">
                  <c:v>4.8</c:v>
                </c:pt>
                <c:pt idx="4317">
                  <c:v>5.4</c:v>
                </c:pt>
                <c:pt idx="4318">
                  <c:v>2.4</c:v>
                </c:pt>
                <c:pt idx="4319">
                  <c:v>2.4</c:v>
                </c:pt>
                <c:pt idx="4320">
                  <c:v>3.61</c:v>
                </c:pt>
                <c:pt idx="4321">
                  <c:v>4.21</c:v>
                </c:pt>
                <c:pt idx="4322">
                  <c:v>3.61</c:v>
                </c:pt>
                <c:pt idx="4323">
                  <c:v>3.61</c:v>
                </c:pt>
                <c:pt idx="4324">
                  <c:v>3.61</c:v>
                </c:pt>
                <c:pt idx="4325">
                  <c:v>3.61</c:v>
                </c:pt>
                <c:pt idx="4326">
                  <c:v>4.8</c:v>
                </c:pt>
                <c:pt idx="4327">
                  <c:v>4.21</c:v>
                </c:pt>
                <c:pt idx="4328">
                  <c:v>3.61</c:v>
                </c:pt>
                <c:pt idx="4329">
                  <c:v>3.61</c:v>
                </c:pt>
                <c:pt idx="4330">
                  <c:v>6.01</c:v>
                </c:pt>
                <c:pt idx="4331">
                  <c:v>4.21</c:v>
                </c:pt>
                <c:pt idx="4332">
                  <c:v>6.01</c:v>
                </c:pt>
                <c:pt idx="4333">
                  <c:v>4.8</c:v>
                </c:pt>
                <c:pt idx="4334">
                  <c:v>5.4</c:v>
                </c:pt>
                <c:pt idx="4335">
                  <c:v>4.8</c:v>
                </c:pt>
                <c:pt idx="4336">
                  <c:v>3.01</c:v>
                </c:pt>
                <c:pt idx="4337">
                  <c:v>3.61</c:v>
                </c:pt>
                <c:pt idx="4338">
                  <c:v>6.61</c:v>
                </c:pt>
                <c:pt idx="4339">
                  <c:v>3.01</c:v>
                </c:pt>
                <c:pt idx="4340">
                  <c:v>5.4</c:v>
                </c:pt>
                <c:pt idx="4341">
                  <c:v>4.21</c:v>
                </c:pt>
                <c:pt idx="4342">
                  <c:v>3.61</c:v>
                </c:pt>
                <c:pt idx="4343">
                  <c:v>5.4</c:v>
                </c:pt>
                <c:pt idx="4344">
                  <c:v>4.8</c:v>
                </c:pt>
                <c:pt idx="4345">
                  <c:v>4.21</c:v>
                </c:pt>
                <c:pt idx="4346">
                  <c:v>6.01</c:v>
                </c:pt>
                <c:pt idx="4347">
                  <c:v>3.61</c:v>
                </c:pt>
                <c:pt idx="4348">
                  <c:v>3.61</c:v>
                </c:pt>
                <c:pt idx="4349">
                  <c:v>4.8</c:v>
                </c:pt>
                <c:pt idx="4350">
                  <c:v>4.21</c:v>
                </c:pt>
                <c:pt idx="4351">
                  <c:v>3.61</c:v>
                </c:pt>
                <c:pt idx="4352">
                  <c:v>4.21</c:v>
                </c:pt>
                <c:pt idx="4353">
                  <c:v>6.01</c:v>
                </c:pt>
                <c:pt idx="4354">
                  <c:v>4.21</c:v>
                </c:pt>
                <c:pt idx="4355">
                  <c:v>6.01</c:v>
                </c:pt>
                <c:pt idx="4356">
                  <c:v>4.21</c:v>
                </c:pt>
                <c:pt idx="4357">
                  <c:v>6.01</c:v>
                </c:pt>
                <c:pt idx="4358">
                  <c:v>4.8</c:v>
                </c:pt>
                <c:pt idx="4359">
                  <c:v>5.4</c:v>
                </c:pt>
                <c:pt idx="4360">
                  <c:v>4.8</c:v>
                </c:pt>
                <c:pt idx="4361">
                  <c:v>1.8</c:v>
                </c:pt>
                <c:pt idx="4362">
                  <c:v>6.01</c:v>
                </c:pt>
                <c:pt idx="4363">
                  <c:v>4.21</c:v>
                </c:pt>
                <c:pt idx="4364">
                  <c:v>4.21</c:v>
                </c:pt>
                <c:pt idx="4365">
                  <c:v>4.21</c:v>
                </c:pt>
                <c:pt idx="4366">
                  <c:v>4.8</c:v>
                </c:pt>
                <c:pt idx="4367">
                  <c:v>5.4</c:v>
                </c:pt>
                <c:pt idx="4368">
                  <c:v>3.61</c:v>
                </c:pt>
                <c:pt idx="4369">
                  <c:v>5.4</c:v>
                </c:pt>
                <c:pt idx="4370">
                  <c:v>4.8</c:v>
                </c:pt>
                <c:pt idx="4371">
                  <c:v>4.8</c:v>
                </c:pt>
                <c:pt idx="4372">
                  <c:v>4.8</c:v>
                </c:pt>
                <c:pt idx="4373">
                  <c:v>2.4</c:v>
                </c:pt>
                <c:pt idx="4374">
                  <c:v>4.8</c:v>
                </c:pt>
                <c:pt idx="4375">
                  <c:v>4.21</c:v>
                </c:pt>
                <c:pt idx="4376">
                  <c:v>3.61</c:v>
                </c:pt>
                <c:pt idx="4377">
                  <c:v>3.61</c:v>
                </c:pt>
                <c:pt idx="4378">
                  <c:v>5.4</c:v>
                </c:pt>
                <c:pt idx="4379">
                  <c:v>4.21</c:v>
                </c:pt>
                <c:pt idx="4380">
                  <c:v>6.01</c:v>
                </c:pt>
                <c:pt idx="4381">
                  <c:v>3.01</c:v>
                </c:pt>
                <c:pt idx="4382">
                  <c:v>4.21</c:v>
                </c:pt>
                <c:pt idx="4383">
                  <c:v>6.61</c:v>
                </c:pt>
                <c:pt idx="4384">
                  <c:v>3.61</c:v>
                </c:pt>
                <c:pt idx="4385">
                  <c:v>6.01</c:v>
                </c:pt>
                <c:pt idx="4386">
                  <c:v>4.21</c:v>
                </c:pt>
                <c:pt idx="4387">
                  <c:v>6.01</c:v>
                </c:pt>
                <c:pt idx="4388">
                  <c:v>6.01</c:v>
                </c:pt>
                <c:pt idx="4389">
                  <c:v>4.21</c:v>
                </c:pt>
                <c:pt idx="4390">
                  <c:v>2.4</c:v>
                </c:pt>
                <c:pt idx="4391">
                  <c:v>6.01</c:v>
                </c:pt>
                <c:pt idx="4392">
                  <c:v>6.01</c:v>
                </c:pt>
                <c:pt idx="4393">
                  <c:v>7.21</c:v>
                </c:pt>
                <c:pt idx="4394">
                  <c:v>4.8</c:v>
                </c:pt>
                <c:pt idx="4395">
                  <c:v>5.4</c:v>
                </c:pt>
                <c:pt idx="4396">
                  <c:v>5.4</c:v>
                </c:pt>
                <c:pt idx="4397">
                  <c:v>5.4</c:v>
                </c:pt>
                <c:pt idx="4398">
                  <c:v>5.4</c:v>
                </c:pt>
                <c:pt idx="4399">
                  <c:v>6.01</c:v>
                </c:pt>
                <c:pt idx="4400">
                  <c:v>6.01</c:v>
                </c:pt>
                <c:pt idx="4401">
                  <c:v>4.8</c:v>
                </c:pt>
                <c:pt idx="4402">
                  <c:v>4.8</c:v>
                </c:pt>
                <c:pt idx="4403">
                  <c:v>3.61</c:v>
                </c:pt>
                <c:pt idx="4404">
                  <c:v>5.4</c:v>
                </c:pt>
                <c:pt idx="4405">
                  <c:v>6.01</c:v>
                </c:pt>
                <c:pt idx="4406">
                  <c:v>4.8</c:v>
                </c:pt>
                <c:pt idx="4407">
                  <c:v>6.01</c:v>
                </c:pt>
                <c:pt idx="4408">
                  <c:v>4.8</c:v>
                </c:pt>
                <c:pt idx="4409">
                  <c:v>4.8</c:v>
                </c:pt>
                <c:pt idx="4410">
                  <c:v>6.61</c:v>
                </c:pt>
                <c:pt idx="4411">
                  <c:v>4.8</c:v>
                </c:pt>
                <c:pt idx="4412">
                  <c:v>4.8</c:v>
                </c:pt>
                <c:pt idx="4413">
                  <c:v>6.61</c:v>
                </c:pt>
                <c:pt idx="4414">
                  <c:v>5.4</c:v>
                </c:pt>
                <c:pt idx="4415">
                  <c:v>4.8</c:v>
                </c:pt>
                <c:pt idx="4416">
                  <c:v>3.61</c:v>
                </c:pt>
                <c:pt idx="4417">
                  <c:v>4.8</c:v>
                </c:pt>
                <c:pt idx="4418">
                  <c:v>6.61</c:v>
                </c:pt>
                <c:pt idx="4419">
                  <c:v>3.61</c:v>
                </c:pt>
                <c:pt idx="4420">
                  <c:v>6.01</c:v>
                </c:pt>
                <c:pt idx="4421">
                  <c:v>5.4</c:v>
                </c:pt>
                <c:pt idx="4422">
                  <c:v>2.4</c:v>
                </c:pt>
                <c:pt idx="4423">
                  <c:v>6.01</c:v>
                </c:pt>
                <c:pt idx="4424">
                  <c:v>5.4</c:v>
                </c:pt>
                <c:pt idx="4425">
                  <c:v>5.4</c:v>
                </c:pt>
                <c:pt idx="4426">
                  <c:v>3.01</c:v>
                </c:pt>
                <c:pt idx="4427">
                  <c:v>4.8</c:v>
                </c:pt>
                <c:pt idx="4428">
                  <c:v>4.21</c:v>
                </c:pt>
                <c:pt idx="4429">
                  <c:v>4.8</c:v>
                </c:pt>
                <c:pt idx="4430">
                  <c:v>6.61</c:v>
                </c:pt>
                <c:pt idx="4431">
                  <c:v>4.8</c:v>
                </c:pt>
                <c:pt idx="4432">
                  <c:v>5.4</c:v>
                </c:pt>
                <c:pt idx="4433">
                  <c:v>6.01</c:v>
                </c:pt>
                <c:pt idx="4434">
                  <c:v>5.4</c:v>
                </c:pt>
                <c:pt idx="4435">
                  <c:v>4.8</c:v>
                </c:pt>
                <c:pt idx="4436">
                  <c:v>2.4</c:v>
                </c:pt>
                <c:pt idx="4437">
                  <c:v>4.8</c:v>
                </c:pt>
                <c:pt idx="4438">
                  <c:v>4.21</c:v>
                </c:pt>
                <c:pt idx="4439">
                  <c:v>4.8</c:v>
                </c:pt>
                <c:pt idx="4440">
                  <c:v>6.61</c:v>
                </c:pt>
                <c:pt idx="4441">
                  <c:v>4.21</c:v>
                </c:pt>
                <c:pt idx="4442">
                  <c:v>3.61</c:v>
                </c:pt>
                <c:pt idx="4443">
                  <c:v>5.4</c:v>
                </c:pt>
                <c:pt idx="4444">
                  <c:v>3.01</c:v>
                </c:pt>
                <c:pt idx="4445">
                  <c:v>3.61</c:v>
                </c:pt>
                <c:pt idx="4446">
                  <c:v>4.21</c:v>
                </c:pt>
                <c:pt idx="4447">
                  <c:v>5.4</c:v>
                </c:pt>
                <c:pt idx="4448">
                  <c:v>2.4</c:v>
                </c:pt>
                <c:pt idx="4449">
                  <c:v>4.21</c:v>
                </c:pt>
                <c:pt idx="4450">
                  <c:v>6.01</c:v>
                </c:pt>
                <c:pt idx="4451">
                  <c:v>4.21</c:v>
                </c:pt>
                <c:pt idx="4452">
                  <c:v>4.21</c:v>
                </c:pt>
                <c:pt idx="4453">
                  <c:v>5.4</c:v>
                </c:pt>
                <c:pt idx="4454">
                  <c:v>6.01</c:v>
                </c:pt>
                <c:pt idx="4455">
                  <c:v>5.4</c:v>
                </c:pt>
                <c:pt idx="4456">
                  <c:v>4.8</c:v>
                </c:pt>
                <c:pt idx="4457">
                  <c:v>4.8</c:v>
                </c:pt>
                <c:pt idx="4458">
                  <c:v>4.21</c:v>
                </c:pt>
                <c:pt idx="4459">
                  <c:v>4.8</c:v>
                </c:pt>
                <c:pt idx="4460">
                  <c:v>6.01</c:v>
                </c:pt>
                <c:pt idx="4461">
                  <c:v>4.21</c:v>
                </c:pt>
                <c:pt idx="4462">
                  <c:v>4.21</c:v>
                </c:pt>
                <c:pt idx="4463">
                  <c:v>3.01</c:v>
                </c:pt>
                <c:pt idx="4464">
                  <c:v>4.8</c:v>
                </c:pt>
                <c:pt idx="4465">
                  <c:v>4.21</c:v>
                </c:pt>
                <c:pt idx="4466">
                  <c:v>4.21</c:v>
                </c:pt>
                <c:pt idx="4467">
                  <c:v>6.01</c:v>
                </c:pt>
                <c:pt idx="4468">
                  <c:v>3.01</c:v>
                </c:pt>
                <c:pt idx="4469">
                  <c:v>3.61</c:v>
                </c:pt>
                <c:pt idx="4470">
                  <c:v>4.8</c:v>
                </c:pt>
                <c:pt idx="4471">
                  <c:v>3.01</c:v>
                </c:pt>
                <c:pt idx="4472">
                  <c:v>4.8</c:v>
                </c:pt>
                <c:pt idx="4473">
                  <c:v>2.4</c:v>
                </c:pt>
                <c:pt idx="4474">
                  <c:v>5.4</c:v>
                </c:pt>
                <c:pt idx="4475">
                  <c:v>4.21</c:v>
                </c:pt>
                <c:pt idx="4476">
                  <c:v>3.61</c:v>
                </c:pt>
                <c:pt idx="4477">
                  <c:v>4.21</c:v>
                </c:pt>
                <c:pt idx="4478">
                  <c:v>5.4</c:v>
                </c:pt>
                <c:pt idx="4479">
                  <c:v>4.8</c:v>
                </c:pt>
                <c:pt idx="4480">
                  <c:v>5.4</c:v>
                </c:pt>
                <c:pt idx="4481">
                  <c:v>4.21</c:v>
                </c:pt>
                <c:pt idx="4482">
                  <c:v>2.4</c:v>
                </c:pt>
                <c:pt idx="4483">
                  <c:v>5.4</c:v>
                </c:pt>
                <c:pt idx="4484">
                  <c:v>4.8</c:v>
                </c:pt>
                <c:pt idx="4485">
                  <c:v>4.8</c:v>
                </c:pt>
                <c:pt idx="4486">
                  <c:v>4.8</c:v>
                </c:pt>
                <c:pt idx="4487">
                  <c:v>6.61</c:v>
                </c:pt>
                <c:pt idx="4488">
                  <c:v>7.21</c:v>
                </c:pt>
                <c:pt idx="4489">
                  <c:v>3.01</c:v>
                </c:pt>
                <c:pt idx="4490">
                  <c:v>5.4</c:v>
                </c:pt>
                <c:pt idx="4491">
                  <c:v>6.01</c:v>
                </c:pt>
                <c:pt idx="4492">
                  <c:v>8.4</c:v>
                </c:pt>
                <c:pt idx="4493">
                  <c:v>5.4</c:v>
                </c:pt>
                <c:pt idx="4494">
                  <c:v>6.01</c:v>
                </c:pt>
                <c:pt idx="4495">
                  <c:v>5.4</c:v>
                </c:pt>
                <c:pt idx="4496">
                  <c:v>5.4</c:v>
                </c:pt>
                <c:pt idx="4497">
                  <c:v>4.8</c:v>
                </c:pt>
                <c:pt idx="4498">
                  <c:v>3.61</c:v>
                </c:pt>
                <c:pt idx="4499">
                  <c:v>7.8</c:v>
                </c:pt>
                <c:pt idx="4500">
                  <c:v>6.61</c:v>
                </c:pt>
                <c:pt idx="4501">
                  <c:v>4.21</c:v>
                </c:pt>
                <c:pt idx="4502">
                  <c:v>4.21</c:v>
                </c:pt>
                <c:pt idx="4503">
                  <c:v>6.61</c:v>
                </c:pt>
                <c:pt idx="4504">
                  <c:v>4.21</c:v>
                </c:pt>
                <c:pt idx="4505">
                  <c:v>6.01</c:v>
                </c:pt>
                <c:pt idx="4506">
                  <c:v>2.4</c:v>
                </c:pt>
                <c:pt idx="4507">
                  <c:v>5.4</c:v>
                </c:pt>
                <c:pt idx="4508">
                  <c:v>6.01</c:v>
                </c:pt>
                <c:pt idx="4509">
                  <c:v>4.21</c:v>
                </c:pt>
                <c:pt idx="4510">
                  <c:v>4.21</c:v>
                </c:pt>
                <c:pt idx="4511">
                  <c:v>4.8</c:v>
                </c:pt>
                <c:pt idx="4512">
                  <c:v>4.8</c:v>
                </c:pt>
                <c:pt idx="4513">
                  <c:v>6.61</c:v>
                </c:pt>
                <c:pt idx="4514">
                  <c:v>4.21</c:v>
                </c:pt>
                <c:pt idx="4515">
                  <c:v>7.8</c:v>
                </c:pt>
                <c:pt idx="4516">
                  <c:v>5.4</c:v>
                </c:pt>
                <c:pt idx="4517">
                  <c:v>3.61</c:v>
                </c:pt>
                <c:pt idx="4518">
                  <c:v>6.01</c:v>
                </c:pt>
                <c:pt idx="4519">
                  <c:v>3.61</c:v>
                </c:pt>
                <c:pt idx="4520">
                  <c:v>4.8</c:v>
                </c:pt>
                <c:pt idx="4521">
                  <c:v>3.61</c:v>
                </c:pt>
                <c:pt idx="4522">
                  <c:v>5.4</c:v>
                </c:pt>
                <c:pt idx="4523">
                  <c:v>1.8</c:v>
                </c:pt>
                <c:pt idx="4524">
                  <c:v>3.01</c:v>
                </c:pt>
                <c:pt idx="4525">
                  <c:v>4.21</c:v>
                </c:pt>
                <c:pt idx="4526">
                  <c:v>4.21</c:v>
                </c:pt>
                <c:pt idx="4527">
                  <c:v>4.21</c:v>
                </c:pt>
                <c:pt idx="4528">
                  <c:v>4.8</c:v>
                </c:pt>
                <c:pt idx="4529">
                  <c:v>4.8</c:v>
                </c:pt>
                <c:pt idx="4530">
                  <c:v>5.4</c:v>
                </c:pt>
                <c:pt idx="4531">
                  <c:v>3.61</c:v>
                </c:pt>
                <c:pt idx="4532">
                  <c:v>4.8</c:v>
                </c:pt>
                <c:pt idx="4533">
                  <c:v>6.01</c:v>
                </c:pt>
                <c:pt idx="4534">
                  <c:v>4.21</c:v>
                </c:pt>
                <c:pt idx="4535">
                  <c:v>4.8</c:v>
                </c:pt>
                <c:pt idx="4536">
                  <c:v>3.01</c:v>
                </c:pt>
                <c:pt idx="4537">
                  <c:v>3.61</c:v>
                </c:pt>
                <c:pt idx="4538">
                  <c:v>4.21</c:v>
                </c:pt>
                <c:pt idx="4539">
                  <c:v>4.8</c:v>
                </c:pt>
                <c:pt idx="4540">
                  <c:v>4.21</c:v>
                </c:pt>
                <c:pt idx="4541">
                  <c:v>6.01</c:v>
                </c:pt>
                <c:pt idx="4542">
                  <c:v>5.4</c:v>
                </c:pt>
                <c:pt idx="4543">
                  <c:v>5.4</c:v>
                </c:pt>
                <c:pt idx="4544">
                  <c:v>4.21</c:v>
                </c:pt>
                <c:pt idx="4545">
                  <c:v>4.21</c:v>
                </c:pt>
                <c:pt idx="4546">
                  <c:v>5.4</c:v>
                </c:pt>
                <c:pt idx="4547">
                  <c:v>3.61</c:v>
                </c:pt>
                <c:pt idx="4548">
                  <c:v>7.21</c:v>
                </c:pt>
                <c:pt idx="4549">
                  <c:v>3.61</c:v>
                </c:pt>
                <c:pt idx="4550">
                  <c:v>4.8</c:v>
                </c:pt>
                <c:pt idx="4551">
                  <c:v>5.4</c:v>
                </c:pt>
                <c:pt idx="4552">
                  <c:v>4.21</c:v>
                </c:pt>
                <c:pt idx="4553">
                  <c:v>5.4</c:v>
                </c:pt>
                <c:pt idx="4554">
                  <c:v>4.21</c:v>
                </c:pt>
                <c:pt idx="4555">
                  <c:v>4.21</c:v>
                </c:pt>
                <c:pt idx="4556">
                  <c:v>6.01</c:v>
                </c:pt>
                <c:pt idx="4557">
                  <c:v>4.21</c:v>
                </c:pt>
                <c:pt idx="4558">
                  <c:v>4.8</c:v>
                </c:pt>
                <c:pt idx="4559">
                  <c:v>3.61</c:v>
                </c:pt>
                <c:pt idx="4560">
                  <c:v>7.21</c:v>
                </c:pt>
                <c:pt idx="4561">
                  <c:v>4.8</c:v>
                </c:pt>
                <c:pt idx="4562">
                  <c:v>4.21</c:v>
                </c:pt>
                <c:pt idx="4563">
                  <c:v>6.01</c:v>
                </c:pt>
                <c:pt idx="4564">
                  <c:v>1.8</c:v>
                </c:pt>
                <c:pt idx="4565">
                  <c:v>4.8</c:v>
                </c:pt>
                <c:pt idx="4566">
                  <c:v>2.4</c:v>
                </c:pt>
                <c:pt idx="4567">
                  <c:v>6.01</c:v>
                </c:pt>
                <c:pt idx="4568">
                  <c:v>6.01</c:v>
                </c:pt>
                <c:pt idx="4569">
                  <c:v>6.61</c:v>
                </c:pt>
                <c:pt idx="4570">
                  <c:v>6.61</c:v>
                </c:pt>
                <c:pt idx="4571">
                  <c:v>4.21</c:v>
                </c:pt>
                <c:pt idx="4572">
                  <c:v>4.21</c:v>
                </c:pt>
                <c:pt idx="4573">
                  <c:v>5.4</c:v>
                </c:pt>
                <c:pt idx="4574">
                  <c:v>5.4</c:v>
                </c:pt>
                <c:pt idx="4575">
                  <c:v>4.8</c:v>
                </c:pt>
                <c:pt idx="4576">
                  <c:v>4.21</c:v>
                </c:pt>
                <c:pt idx="4577">
                  <c:v>6.01</c:v>
                </c:pt>
                <c:pt idx="4578">
                  <c:v>4.21</c:v>
                </c:pt>
                <c:pt idx="4579">
                  <c:v>4.8</c:v>
                </c:pt>
                <c:pt idx="4580">
                  <c:v>6.61</c:v>
                </c:pt>
                <c:pt idx="4581">
                  <c:v>4.8</c:v>
                </c:pt>
                <c:pt idx="4582">
                  <c:v>4.8</c:v>
                </c:pt>
                <c:pt idx="4583">
                  <c:v>4.8</c:v>
                </c:pt>
                <c:pt idx="4584">
                  <c:v>2.4</c:v>
                </c:pt>
                <c:pt idx="4585">
                  <c:v>5.4</c:v>
                </c:pt>
                <c:pt idx="4586">
                  <c:v>7.21</c:v>
                </c:pt>
                <c:pt idx="4587">
                  <c:v>4.8</c:v>
                </c:pt>
                <c:pt idx="4588">
                  <c:v>4.21</c:v>
                </c:pt>
                <c:pt idx="4589">
                  <c:v>4.21</c:v>
                </c:pt>
                <c:pt idx="4590">
                  <c:v>4.21</c:v>
                </c:pt>
                <c:pt idx="4591">
                  <c:v>4.8</c:v>
                </c:pt>
                <c:pt idx="4592">
                  <c:v>2.4</c:v>
                </c:pt>
                <c:pt idx="4593">
                  <c:v>4.8</c:v>
                </c:pt>
                <c:pt idx="4594">
                  <c:v>3.01</c:v>
                </c:pt>
                <c:pt idx="4595">
                  <c:v>4.21</c:v>
                </c:pt>
                <c:pt idx="4596">
                  <c:v>4.8</c:v>
                </c:pt>
                <c:pt idx="4597">
                  <c:v>8.4</c:v>
                </c:pt>
                <c:pt idx="4598">
                  <c:v>5.4</c:v>
                </c:pt>
                <c:pt idx="4599">
                  <c:v>5.4</c:v>
                </c:pt>
                <c:pt idx="4600">
                  <c:v>7.8</c:v>
                </c:pt>
                <c:pt idx="4601">
                  <c:v>6.61</c:v>
                </c:pt>
                <c:pt idx="4602">
                  <c:v>3.61</c:v>
                </c:pt>
                <c:pt idx="4603">
                  <c:v>5.4</c:v>
                </c:pt>
                <c:pt idx="4604">
                  <c:v>5.4</c:v>
                </c:pt>
                <c:pt idx="4605">
                  <c:v>4.8</c:v>
                </c:pt>
                <c:pt idx="4606">
                  <c:v>5.4</c:v>
                </c:pt>
                <c:pt idx="4607">
                  <c:v>4.21</c:v>
                </c:pt>
                <c:pt idx="4608">
                  <c:v>1.8</c:v>
                </c:pt>
                <c:pt idx="4609">
                  <c:v>6.61</c:v>
                </c:pt>
                <c:pt idx="4610">
                  <c:v>3.61</c:v>
                </c:pt>
                <c:pt idx="4611">
                  <c:v>3.01</c:v>
                </c:pt>
                <c:pt idx="4612">
                  <c:v>4.21</c:v>
                </c:pt>
                <c:pt idx="4613">
                  <c:v>7.21</c:v>
                </c:pt>
                <c:pt idx="4614">
                  <c:v>4.8</c:v>
                </c:pt>
                <c:pt idx="4615">
                  <c:v>6.01</c:v>
                </c:pt>
                <c:pt idx="4616">
                  <c:v>4.8</c:v>
                </c:pt>
                <c:pt idx="4617">
                  <c:v>3.61</c:v>
                </c:pt>
                <c:pt idx="4618">
                  <c:v>1.21</c:v>
                </c:pt>
                <c:pt idx="4619">
                  <c:v>3.61</c:v>
                </c:pt>
                <c:pt idx="4620">
                  <c:v>4.8</c:v>
                </c:pt>
                <c:pt idx="4621">
                  <c:v>4.21</c:v>
                </c:pt>
                <c:pt idx="4622">
                  <c:v>4.21</c:v>
                </c:pt>
                <c:pt idx="4623">
                  <c:v>3.61</c:v>
                </c:pt>
                <c:pt idx="4624">
                  <c:v>4.8</c:v>
                </c:pt>
                <c:pt idx="4625">
                  <c:v>5.4</c:v>
                </c:pt>
                <c:pt idx="4626">
                  <c:v>4.21</c:v>
                </c:pt>
                <c:pt idx="4627">
                  <c:v>5.4</c:v>
                </c:pt>
                <c:pt idx="4628">
                  <c:v>6.01</c:v>
                </c:pt>
                <c:pt idx="4629">
                  <c:v>6.01</c:v>
                </c:pt>
                <c:pt idx="4630">
                  <c:v>5.4</c:v>
                </c:pt>
                <c:pt idx="4631">
                  <c:v>5.4</c:v>
                </c:pt>
                <c:pt idx="4632">
                  <c:v>4.21</c:v>
                </c:pt>
                <c:pt idx="4633">
                  <c:v>4.21</c:v>
                </c:pt>
                <c:pt idx="4634">
                  <c:v>5.4</c:v>
                </c:pt>
                <c:pt idx="4635">
                  <c:v>6.01</c:v>
                </c:pt>
                <c:pt idx="4636">
                  <c:v>5.4</c:v>
                </c:pt>
                <c:pt idx="4637">
                  <c:v>4.21</c:v>
                </c:pt>
                <c:pt idx="4638">
                  <c:v>2.4</c:v>
                </c:pt>
                <c:pt idx="4639">
                  <c:v>4.8</c:v>
                </c:pt>
                <c:pt idx="4640">
                  <c:v>3.61</c:v>
                </c:pt>
                <c:pt idx="4641">
                  <c:v>4.21</c:v>
                </c:pt>
                <c:pt idx="4642">
                  <c:v>4.21</c:v>
                </c:pt>
                <c:pt idx="4643">
                  <c:v>4.8</c:v>
                </c:pt>
                <c:pt idx="4644">
                  <c:v>6.01</c:v>
                </c:pt>
                <c:pt idx="4645">
                  <c:v>3.61</c:v>
                </c:pt>
                <c:pt idx="4646">
                  <c:v>4.21</c:v>
                </c:pt>
                <c:pt idx="4647">
                  <c:v>7.21</c:v>
                </c:pt>
                <c:pt idx="4648">
                  <c:v>3.61</c:v>
                </c:pt>
                <c:pt idx="4649">
                  <c:v>6.01</c:v>
                </c:pt>
                <c:pt idx="4650">
                  <c:v>3.01</c:v>
                </c:pt>
                <c:pt idx="4651">
                  <c:v>3.01</c:v>
                </c:pt>
                <c:pt idx="4652">
                  <c:v>4.21</c:v>
                </c:pt>
                <c:pt idx="4653">
                  <c:v>5.4</c:v>
                </c:pt>
                <c:pt idx="4654">
                  <c:v>3.61</c:v>
                </c:pt>
                <c:pt idx="4655">
                  <c:v>3.61</c:v>
                </c:pt>
                <c:pt idx="4656">
                  <c:v>4.21</c:v>
                </c:pt>
                <c:pt idx="4657">
                  <c:v>4.8</c:v>
                </c:pt>
                <c:pt idx="4658">
                  <c:v>3.61</c:v>
                </c:pt>
                <c:pt idx="4659">
                  <c:v>3.01</c:v>
                </c:pt>
                <c:pt idx="4660">
                  <c:v>5.4</c:v>
                </c:pt>
                <c:pt idx="4661">
                  <c:v>5.4</c:v>
                </c:pt>
                <c:pt idx="4662">
                  <c:v>6.61</c:v>
                </c:pt>
                <c:pt idx="4663">
                  <c:v>4.8</c:v>
                </c:pt>
                <c:pt idx="4664">
                  <c:v>7.21</c:v>
                </c:pt>
                <c:pt idx="4665">
                  <c:v>3.01</c:v>
                </c:pt>
                <c:pt idx="4666">
                  <c:v>2.4</c:v>
                </c:pt>
                <c:pt idx="4667">
                  <c:v>7.21</c:v>
                </c:pt>
                <c:pt idx="4668">
                  <c:v>6.01</c:v>
                </c:pt>
                <c:pt idx="4669">
                  <c:v>4.21</c:v>
                </c:pt>
                <c:pt idx="4670">
                  <c:v>4.8</c:v>
                </c:pt>
                <c:pt idx="4671">
                  <c:v>4.21</c:v>
                </c:pt>
                <c:pt idx="4672">
                  <c:v>4.21</c:v>
                </c:pt>
                <c:pt idx="4673">
                  <c:v>6.61</c:v>
                </c:pt>
                <c:pt idx="4674">
                  <c:v>2.4</c:v>
                </c:pt>
                <c:pt idx="4675">
                  <c:v>4.8</c:v>
                </c:pt>
                <c:pt idx="4676">
                  <c:v>4.8</c:v>
                </c:pt>
                <c:pt idx="4677">
                  <c:v>6.61</c:v>
                </c:pt>
                <c:pt idx="4678">
                  <c:v>4.21</c:v>
                </c:pt>
                <c:pt idx="4679">
                  <c:v>6.01</c:v>
                </c:pt>
                <c:pt idx="4680">
                  <c:v>4.21</c:v>
                </c:pt>
                <c:pt idx="4681">
                  <c:v>7.21</c:v>
                </c:pt>
                <c:pt idx="4682">
                  <c:v>4.8</c:v>
                </c:pt>
                <c:pt idx="4683">
                  <c:v>4.21</c:v>
                </c:pt>
                <c:pt idx="4684">
                  <c:v>5.4</c:v>
                </c:pt>
                <c:pt idx="4685">
                  <c:v>4.21</c:v>
                </c:pt>
                <c:pt idx="4686">
                  <c:v>3.61</c:v>
                </c:pt>
                <c:pt idx="4687">
                  <c:v>6.01</c:v>
                </c:pt>
                <c:pt idx="4688">
                  <c:v>4.21</c:v>
                </c:pt>
                <c:pt idx="4689">
                  <c:v>6.01</c:v>
                </c:pt>
                <c:pt idx="4690">
                  <c:v>4.21</c:v>
                </c:pt>
                <c:pt idx="4691">
                  <c:v>4.21</c:v>
                </c:pt>
                <c:pt idx="4692">
                  <c:v>4.21</c:v>
                </c:pt>
                <c:pt idx="4693">
                  <c:v>6.01</c:v>
                </c:pt>
                <c:pt idx="4694">
                  <c:v>7.21</c:v>
                </c:pt>
                <c:pt idx="4695">
                  <c:v>4.8</c:v>
                </c:pt>
                <c:pt idx="4696">
                  <c:v>3.61</c:v>
                </c:pt>
                <c:pt idx="4697">
                  <c:v>3.61</c:v>
                </c:pt>
                <c:pt idx="4698">
                  <c:v>4.21</c:v>
                </c:pt>
                <c:pt idx="4699">
                  <c:v>4.21</c:v>
                </c:pt>
                <c:pt idx="4700">
                  <c:v>1.8</c:v>
                </c:pt>
                <c:pt idx="4701">
                  <c:v>5.4</c:v>
                </c:pt>
                <c:pt idx="4702">
                  <c:v>5.4</c:v>
                </c:pt>
                <c:pt idx="4703">
                  <c:v>5.4</c:v>
                </c:pt>
                <c:pt idx="4704">
                  <c:v>3.61</c:v>
                </c:pt>
                <c:pt idx="4705">
                  <c:v>4.8</c:v>
                </c:pt>
                <c:pt idx="4706">
                  <c:v>1.21</c:v>
                </c:pt>
                <c:pt idx="4707">
                  <c:v>4.8</c:v>
                </c:pt>
                <c:pt idx="4708">
                  <c:v>5.4</c:v>
                </c:pt>
                <c:pt idx="4709">
                  <c:v>6.01</c:v>
                </c:pt>
                <c:pt idx="4710">
                  <c:v>6.61</c:v>
                </c:pt>
                <c:pt idx="4711">
                  <c:v>4.21</c:v>
                </c:pt>
                <c:pt idx="4712">
                  <c:v>3.61</c:v>
                </c:pt>
                <c:pt idx="4713">
                  <c:v>5.4</c:v>
                </c:pt>
                <c:pt idx="4714">
                  <c:v>4.21</c:v>
                </c:pt>
                <c:pt idx="4715">
                  <c:v>4.21</c:v>
                </c:pt>
                <c:pt idx="4716">
                  <c:v>5.4</c:v>
                </c:pt>
                <c:pt idx="4717">
                  <c:v>3.61</c:v>
                </c:pt>
                <c:pt idx="4718">
                  <c:v>3.61</c:v>
                </c:pt>
                <c:pt idx="4719">
                  <c:v>2.4</c:v>
                </c:pt>
                <c:pt idx="4720">
                  <c:v>8.4</c:v>
                </c:pt>
                <c:pt idx="4721">
                  <c:v>3.01</c:v>
                </c:pt>
                <c:pt idx="4722">
                  <c:v>4.21</c:v>
                </c:pt>
                <c:pt idx="4723">
                  <c:v>4.21</c:v>
                </c:pt>
                <c:pt idx="4724">
                  <c:v>6.01</c:v>
                </c:pt>
                <c:pt idx="4725">
                  <c:v>4.21</c:v>
                </c:pt>
                <c:pt idx="4726">
                  <c:v>4.21</c:v>
                </c:pt>
                <c:pt idx="4727">
                  <c:v>5.4</c:v>
                </c:pt>
                <c:pt idx="4728">
                  <c:v>5.4</c:v>
                </c:pt>
                <c:pt idx="4729">
                  <c:v>5.4</c:v>
                </c:pt>
                <c:pt idx="4730">
                  <c:v>8.4</c:v>
                </c:pt>
                <c:pt idx="4731">
                  <c:v>6.01</c:v>
                </c:pt>
                <c:pt idx="4732">
                  <c:v>5.4</c:v>
                </c:pt>
                <c:pt idx="4733">
                  <c:v>4.21</c:v>
                </c:pt>
                <c:pt idx="4734">
                  <c:v>3.61</c:v>
                </c:pt>
                <c:pt idx="4735">
                  <c:v>3.61</c:v>
                </c:pt>
                <c:pt idx="4736">
                  <c:v>5.4</c:v>
                </c:pt>
                <c:pt idx="4737">
                  <c:v>5.4</c:v>
                </c:pt>
                <c:pt idx="4738">
                  <c:v>7.21</c:v>
                </c:pt>
                <c:pt idx="4739">
                  <c:v>5.4</c:v>
                </c:pt>
                <c:pt idx="4740">
                  <c:v>4.8</c:v>
                </c:pt>
                <c:pt idx="4741">
                  <c:v>3.01</c:v>
                </c:pt>
                <c:pt idx="4742">
                  <c:v>3.01</c:v>
                </c:pt>
                <c:pt idx="4743">
                  <c:v>4.21</c:v>
                </c:pt>
                <c:pt idx="4744">
                  <c:v>6.61</c:v>
                </c:pt>
                <c:pt idx="4745">
                  <c:v>4.8</c:v>
                </c:pt>
                <c:pt idx="4746">
                  <c:v>6.61</c:v>
                </c:pt>
                <c:pt idx="4747">
                  <c:v>6.01</c:v>
                </c:pt>
                <c:pt idx="4748">
                  <c:v>6.01</c:v>
                </c:pt>
                <c:pt idx="4749">
                  <c:v>5.4</c:v>
                </c:pt>
                <c:pt idx="4750">
                  <c:v>5.4</c:v>
                </c:pt>
                <c:pt idx="4751">
                  <c:v>6.01</c:v>
                </c:pt>
                <c:pt idx="4752">
                  <c:v>3.61</c:v>
                </c:pt>
                <c:pt idx="4753">
                  <c:v>4.8</c:v>
                </c:pt>
                <c:pt idx="4754">
                  <c:v>3.01</c:v>
                </c:pt>
                <c:pt idx="4755">
                  <c:v>4.21</c:v>
                </c:pt>
                <c:pt idx="4756">
                  <c:v>6.01</c:v>
                </c:pt>
                <c:pt idx="4757">
                  <c:v>5.4</c:v>
                </c:pt>
                <c:pt idx="4758">
                  <c:v>4.21</c:v>
                </c:pt>
                <c:pt idx="4759">
                  <c:v>6.01</c:v>
                </c:pt>
                <c:pt idx="4760">
                  <c:v>3.61</c:v>
                </c:pt>
                <c:pt idx="4761">
                  <c:v>4.21</c:v>
                </c:pt>
                <c:pt idx="4762">
                  <c:v>6.61</c:v>
                </c:pt>
                <c:pt idx="4763">
                  <c:v>4.21</c:v>
                </c:pt>
                <c:pt idx="4764">
                  <c:v>4.8</c:v>
                </c:pt>
                <c:pt idx="4765">
                  <c:v>4.8</c:v>
                </c:pt>
                <c:pt idx="4766">
                  <c:v>5.4</c:v>
                </c:pt>
                <c:pt idx="4767">
                  <c:v>5.4</c:v>
                </c:pt>
                <c:pt idx="4768">
                  <c:v>6.01</c:v>
                </c:pt>
                <c:pt idx="4769">
                  <c:v>5.4</c:v>
                </c:pt>
                <c:pt idx="4770">
                  <c:v>6.01</c:v>
                </c:pt>
                <c:pt idx="4771">
                  <c:v>4.21</c:v>
                </c:pt>
                <c:pt idx="4772">
                  <c:v>3.61</c:v>
                </c:pt>
                <c:pt idx="4773">
                  <c:v>3.61</c:v>
                </c:pt>
                <c:pt idx="4774">
                  <c:v>4.21</c:v>
                </c:pt>
                <c:pt idx="4775">
                  <c:v>3.01</c:v>
                </c:pt>
                <c:pt idx="4776">
                  <c:v>4.8</c:v>
                </c:pt>
                <c:pt idx="4777">
                  <c:v>6.01</c:v>
                </c:pt>
                <c:pt idx="4778">
                  <c:v>4.21</c:v>
                </c:pt>
                <c:pt idx="4779">
                  <c:v>4.8</c:v>
                </c:pt>
                <c:pt idx="4780">
                  <c:v>2.4</c:v>
                </c:pt>
                <c:pt idx="4781">
                  <c:v>4.8</c:v>
                </c:pt>
                <c:pt idx="4782">
                  <c:v>5.4</c:v>
                </c:pt>
                <c:pt idx="4783">
                  <c:v>6.01</c:v>
                </c:pt>
                <c:pt idx="4784">
                  <c:v>4.21</c:v>
                </c:pt>
                <c:pt idx="4785">
                  <c:v>6.01</c:v>
                </c:pt>
                <c:pt idx="4786">
                  <c:v>5.4</c:v>
                </c:pt>
                <c:pt idx="4787">
                  <c:v>6.01</c:v>
                </c:pt>
                <c:pt idx="4788">
                  <c:v>5.4</c:v>
                </c:pt>
                <c:pt idx="4789">
                  <c:v>2.4</c:v>
                </c:pt>
                <c:pt idx="4790">
                  <c:v>5.4</c:v>
                </c:pt>
                <c:pt idx="4791">
                  <c:v>6.01</c:v>
                </c:pt>
                <c:pt idx="4792">
                  <c:v>2.4</c:v>
                </c:pt>
                <c:pt idx="4793">
                  <c:v>4.21</c:v>
                </c:pt>
                <c:pt idx="4794">
                  <c:v>5.4</c:v>
                </c:pt>
                <c:pt idx="4795">
                  <c:v>4.21</c:v>
                </c:pt>
                <c:pt idx="4796">
                  <c:v>6.01</c:v>
                </c:pt>
                <c:pt idx="4797">
                  <c:v>3.01</c:v>
                </c:pt>
                <c:pt idx="4798">
                  <c:v>4.8</c:v>
                </c:pt>
                <c:pt idx="4799">
                  <c:v>3.61</c:v>
                </c:pt>
                <c:pt idx="4800">
                  <c:v>3.01</c:v>
                </c:pt>
                <c:pt idx="4801">
                  <c:v>4.8</c:v>
                </c:pt>
                <c:pt idx="4802">
                  <c:v>3.01</c:v>
                </c:pt>
                <c:pt idx="4803">
                  <c:v>4.21</c:v>
                </c:pt>
                <c:pt idx="4804">
                  <c:v>3.01</c:v>
                </c:pt>
                <c:pt idx="4805">
                  <c:v>4.21</c:v>
                </c:pt>
                <c:pt idx="4806">
                  <c:v>7.8</c:v>
                </c:pt>
                <c:pt idx="4807">
                  <c:v>5.4</c:v>
                </c:pt>
                <c:pt idx="4808">
                  <c:v>4.8</c:v>
                </c:pt>
                <c:pt idx="4809">
                  <c:v>6.61</c:v>
                </c:pt>
                <c:pt idx="4810">
                  <c:v>4.21</c:v>
                </c:pt>
                <c:pt idx="4811">
                  <c:v>5.4</c:v>
                </c:pt>
                <c:pt idx="4812">
                  <c:v>3.61</c:v>
                </c:pt>
                <c:pt idx="4813">
                  <c:v>4.8</c:v>
                </c:pt>
                <c:pt idx="4814">
                  <c:v>6.01</c:v>
                </c:pt>
                <c:pt idx="4815">
                  <c:v>6.61</c:v>
                </c:pt>
                <c:pt idx="4816">
                  <c:v>5.4</c:v>
                </c:pt>
                <c:pt idx="4817">
                  <c:v>4.8</c:v>
                </c:pt>
                <c:pt idx="4818">
                  <c:v>4.21</c:v>
                </c:pt>
                <c:pt idx="4819">
                  <c:v>4.21</c:v>
                </c:pt>
                <c:pt idx="4820">
                  <c:v>4.8</c:v>
                </c:pt>
                <c:pt idx="4821">
                  <c:v>6.01</c:v>
                </c:pt>
                <c:pt idx="4822">
                  <c:v>5.4</c:v>
                </c:pt>
                <c:pt idx="4823">
                  <c:v>3.61</c:v>
                </c:pt>
                <c:pt idx="4824">
                  <c:v>4.21</c:v>
                </c:pt>
                <c:pt idx="4825">
                  <c:v>4.21</c:v>
                </c:pt>
                <c:pt idx="4826">
                  <c:v>4.21</c:v>
                </c:pt>
                <c:pt idx="4827">
                  <c:v>4.8</c:v>
                </c:pt>
                <c:pt idx="4828">
                  <c:v>3.01</c:v>
                </c:pt>
                <c:pt idx="4829">
                  <c:v>4.8</c:v>
                </c:pt>
                <c:pt idx="4830">
                  <c:v>6.01</c:v>
                </c:pt>
                <c:pt idx="4831">
                  <c:v>4.21</c:v>
                </c:pt>
                <c:pt idx="4832">
                  <c:v>2.4</c:v>
                </c:pt>
                <c:pt idx="4833">
                  <c:v>3.01</c:v>
                </c:pt>
                <c:pt idx="4834">
                  <c:v>6.01</c:v>
                </c:pt>
                <c:pt idx="4835">
                  <c:v>4.8</c:v>
                </c:pt>
                <c:pt idx="4836">
                  <c:v>5.4</c:v>
                </c:pt>
                <c:pt idx="4837">
                  <c:v>5.4</c:v>
                </c:pt>
                <c:pt idx="4838">
                  <c:v>6.01</c:v>
                </c:pt>
                <c:pt idx="4839">
                  <c:v>3.61</c:v>
                </c:pt>
                <c:pt idx="4840">
                  <c:v>1.21</c:v>
                </c:pt>
                <c:pt idx="4841">
                  <c:v>5.4</c:v>
                </c:pt>
                <c:pt idx="4842">
                  <c:v>5.4</c:v>
                </c:pt>
                <c:pt idx="4843">
                  <c:v>4.8</c:v>
                </c:pt>
                <c:pt idx="4844">
                  <c:v>6.01</c:v>
                </c:pt>
                <c:pt idx="4845">
                  <c:v>5.4</c:v>
                </c:pt>
                <c:pt idx="4846">
                  <c:v>5.4</c:v>
                </c:pt>
                <c:pt idx="4847">
                  <c:v>4.8</c:v>
                </c:pt>
                <c:pt idx="4848">
                  <c:v>6.61</c:v>
                </c:pt>
                <c:pt idx="4849">
                  <c:v>3.61</c:v>
                </c:pt>
                <c:pt idx="4850">
                  <c:v>5.4</c:v>
                </c:pt>
                <c:pt idx="4851">
                  <c:v>6.61</c:v>
                </c:pt>
                <c:pt idx="4852">
                  <c:v>3.01</c:v>
                </c:pt>
                <c:pt idx="4853">
                  <c:v>4.8</c:v>
                </c:pt>
                <c:pt idx="4854">
                  <c:v>6.01</c:v>
                </c:pt>
                <c:pt idx="4855">
                  <c:v>3.61</c:v>
                </c:pt>
                <c:pt idx="4856">
                  <c:v>6.01</c:v>
                </c:pt>
                <c:pt idx="4857">
                  <c:v>5.4</c:v>
                </c:pt>
                <c:pt idx="4858">
                  <c:v>5.4</c:v>
                </c:pt>
                <c:pt idx="4859">
                  <c:v>4.21</c:v>
                </c:pt>
                <c:pt idx="4860">
                  <c:v>4.8</c:v>
                </c:pt>
                <c:pt idx="4861">
                  <c:v>6.01</c:v>
                </c:pt>
                <c:pt idx="4862">
                  <c:v>5.4</c:v>
                </c:pt>
                <c:pt idx="4863">
                  <c:v>5.4</c:v>
                </c:pt>
                <c:pt idx="4864">
                  <c:v>5.4</c:v>
                </c:pt>
                <c:pt idx="4865">
                  <c:v>4.8</c:v>
                </c:pt>
                <c:pt idx="4866">
                  <c:v>3.61</c:v>
                </c:pt>
                <c:pt idx="4867">
                  <c:v>3.61</c:v>
                </c:pt>
                <c:pt idx="4868">
                  <c:v>4.21</c:v>
                </c:pt>
                <c:pt idx="4869">
                  <c:v>6.01</c:v>
                </c:pt>
                <c:pt idx="4870">
                  <c:v>6.01</c:v>
                </c:pt>
                <c:pt idx="4871">
                  <c:v>6.01</c:v>
                </c:pt>
                <c:pt idx="4872">
                  <c:v>6.01</c:v>
                </c:pt>
                <c:pt idx="4873">
                  <c:v>4.8</c:v>
                </c:pt>
                <c:pt idx="4874">
                  <c:v>4.21</c:v>
                </c:pt>
                <c:pt idx="4875">
                  <c:v>6.01</c:v>
                </c:pt>
                <c:pt idx="4876">
                  <c:v>5.4</c:v>
                </c:pt>
                <c:pt idx="4877">
                  <c:v>6.01</c:v>
                </c:pt>
                <c:pt idx="4878">
                  <c:v>6.01</c:v>
                </c:pt>
                <c:pt idx="4879">
                  <c:v>3.61</c:v>
                </c:pt>
                <c:pt idx="4880">
                  <c:v>5.4</c:v>
                </c:pt>
                <c:pt idx="4881">
                  <c:v>6.01</c:v>
                </c:pt>
                <c:pt idx="4882">
                  <c:v>3.01</c:v>
                </c:pt>
                <c:pt idx="4883">
                  <c:v>4.8</c:v>
                </c:pt>
                <c:pt idx="4884">
                  <c:v>3.01</c:v>
                </c:pt>
                <c:pt idx="4885">
                  <c:v>5.4</c:v>
                </c:pt>
                <c:pt idx="4886">
                  <c:v>6.61</c:v>
                </c:pt>
                <c:pt idx="4887">
                  <c:v>5.4</c:v>
                </c:pt>
                <c:pt idx="4888">
                  <c:v>0.61</c:v>
                </c:pt>
                <c:pt idx="4889">
                  <c:v>3.01</c:v>
                </c:pt>
                <c:pt idx="4890">
                  <c:v>3.61</c:v>
                </c:pt>
                <c:pt idx="4891">
                  <c:v>4.21</c:v>
                </c:pt>
                <c:pt idx="4892">
                  <c:v>4.8</c:v>
                </c:pt>
                <c:pt idx="4893">
                  <c:v>6.01</c:v>
                </c:pt>
                <c:pt idx="4894">
                  <c:v>6.01</c:v>
                </c:pt>
                <c:pt idx="4895">
                  <c:v>5.4</c:v>
                </c:pt>
                <c:pt idx="4896">
                  <c:v>5.4</c:v>
                </c:pt>
                <c:pt idx="4897">
                  <c:v>5.4</c:v>
                </c:pt>
                <c:pt idx="4898">
                  <c:v>7.21</c:v>
                </c:pt>
                <c:pt idx="4899">
                  <c:v>4.8</c:v>
                </c:pt>
                <c:pt idx="4900">
                  <c:v>5.4</c:v>
                </c:pt>
                <c:pt idx="4901">
                  <c:v>4.8</c:v>
                </c:pt>
                <c:pt idx="4902">
                  <c:v>4.21</c:v>
                </c:pt>
                <c:pt idx="4903">
                  <c:v>4.8</c:v>
                </c:pt>
                <c:pt idx="4904">
                  <c:v>7.21</c:v>
                </c:pt>
                <c:pt idx="4905">
                  <c:v>4.21</c:v>
                </c:pt>
                <c:pt idx="4906">
                  <c:v>3.61</c:v>
                </c:pt>
                <c:pt idx="4907">
                  <c:v>7.21</c:v>
                </c:pt>
                <c:pt idx="4908">
                  <c:v>4.8</c:v>
                </c:pt>
                <c:pt idx="4909">
                  <c:v>6.01</c:v>
                </c:pt>
                <c:pt idx="4910">
                  <c:v>6.01</c:v>
                </c:pt>
                <c:pt idx="4911">
                  <c:v>4.8</c:v>
                </c:pt>
                <c:pt idx="4912">
                  <c:v>4.8</c:v>
                </c:pt>
                <c:pt idx="4913">
                  <c:v>3.01</c:v>
                </c:pt>
                <c:pt idx="4914">
                  <c:v>4.21</c:v>
                </c:pt>
                <c:pt idx="4915">
                  <c:v>6.01</c:v>
                </c:pt>
                <c:pt idx="4916">
                  <c:v>3.61</c:v>
                </c:pt>
                <c:pt idx="4917">
                  <c:v>3.61</c:v>
                </c:pt>
                <c:pt idx="4918">
                  <c:v>4.21</c:v>
                </c:pt>
                <c:pt idx="4919">
                  <c:v>6.01</c:v>
                </c:pt>
                <c:pt idx="4920">
                  <c:v>3.61</c:v>
                </c:pt>
                <c:pt idx="4921">
                  <c:v>6.01</c:v>
                </c:pt>
                <c:pt idx="4922">
                  <c:v>3.61</c:v>
                </c:pt>
                <c:pt idx="4923">
                  <c:v>3.61</c:v>
                </c:pt>
                <c:pt idx="4924">
                  <c:v>5.4</c:v>
                </c:pt>
                <c:pt idx="4925">
                  <c:v>7.8</c:v>
                </c:pt>
                <c:pt idx="4926">
                  <c:v>4.8</c:v>
                </c:pt>
                <c:pt idx="4927">
                  <c:v>4.8</c:v>
                </c:pt>
                <c:pt idx="4928">
                  <c:v>6.61</c:v>
                </c:pt>
                <c:pt idx="4929">
                  <c:v>3.61</c:v>
                </c:pt>
                <c:pt idx="4930">
                  <c:v>4.8</c:v>
                </c:pt>
                <c:pt idx="4931">
                  <c:v>4.21</c:v>
                </c:pt>
                <c:pt idx="4932">
                  <c:v>4.8</c:v>
                </c:pt>
                <c:pt idx="4933">
                  <c:v>6.01</c:v>
                </c:pt>
                <c:pt idx="4934">
                  <c:v>3.61</c:v>
                </c:pt>
                <c:pt idx="4935">
                  <c:v>4.8</c:v>
                </c:pt>
                <c:pt idx="4936">
                  <c:v>3.61</c:v>
                </c:pt>
                <c:pt idx="4937">
                  <c:v>6.61</c:v>
                </c:pt>
                <c:pt idx="4938">
                  <c:v>4.21</c:v>
                </c:pt>
                <c:pt idx="4939">
                  <c:v>4.8</c:v>
                </c:pt>
                <c:pt idx="4940">
                  <c:v>4.21</c:v>
                </c:pt>
                <c:pt idx="4941">
                  <c:v>7.21</c:v>
                </c:pt>
                <c:pt idx="4942">
                  <c:v>4.8</c:v>
                </c:pt>
                <c:pt idx="4943">
                  <c:v>4.8</c:v>
                </c:pt>
                <c:pt idx="4944">
                  <c:v>5.4</c:v>
                </c:pt>
                <c:pt idx="4945">
                  <c:v>6.01</c:v>
                </c:pt>
                <c:pt idx="4946">
                  <c:v>4.8</c:v>
                </c:pt>
                <c:pt idx="4947">
                  <c:v>5.4</c:v>
                </c:pt>
                <c:pt idx="4948">
                  <c:v>3.01</c:v>
                </c:pt>
                <c:pt idx="4949">
                  <c:v>4.8</c:v>
                </c:pt>
                <c:pt idx="4950">
                  <c:v>3.61</c:v>
                </c:pt>
                <c:pt idx="4951">
                  <c:v>6.61</c:v>
                </c:pt>
                <c:pt idx="4952">
                  <c:v>4.8</c:v>
                </c:pt>
                <c:pt idx="4953">
                  <c:v>1.8</c:v>
                </c:pt>
                <c:pt idx="4954">
                  <c:v>3.01</c:v>
                </c:pt>
                <c:pt idx="4955">
                  <c:v>4.8</c:v>
                </c:pt>
                <c:pt idx="4956">
                  <c:v>7.21</c:v>
                </c:pt>
                <c:pt idx="4957">
                  <c:v>5.4</c:v>
                </c:pt>
                <c:pt idx="4958">
                  <c:v>3.61</c:v>
                </c:pt>
                <c:pt idx="4959">
                  <c:v>5.4</c:v>
                </c:pt>
                <c:pt idx="4960">
                  <c:v>4.8</c:v>
                </c:pt>
                <c:pt idx="4961">
                  <c:v>7.21</c:v>
                </c:pt>
                <c:pt idx="4962">
                  <c:v>3.61</c:v>
                </c:pt>
                <c:pt idx="4963">
                  <c:v>4.8</c:v>
                </c:pt>
                <c:pt idx="4964">
                  <c:v>3.61</c:v>
                </c:pt>
                <c:pt idx="4965">
                  <c:v>5.4</c:v>
                </c:pt>
                <c:pt idx="4966">
                  <c:v>6.61</c:v>
                </c:pt>
                <c:pt idx="4967">
                  <c:v>4.8</c:v>
                </c:pt>
                <c:pt idx="4968">
                  <c:v>6.61</c:v>
                </c:pt>
                <c:pt idx="4969">
                  <c:v>6.61</c:v>
                </c:pt>
                <c:pt idx="4970">
                  <c:v>3.01</c:v>
                </c:pt>
                <c:pt idx="4971">
                  <c:v>4.21</c:v>
                </c:pt>
                <c:pt idx="4972">
                  <c:v>5.4</c:v>
                </c:pt>
                <c:pt idx="4973">
                  <c:v>6.01</c:v>
                </c:pt>
                <c:pt idx="4974">
                  <c:v>3.61</c:v>
                </c:pt>
                <c:pt idx="4975">
                  <c:v>3.61</c:v>
                </c:pt>
                <c:pt idx="4976">
                  <c:v>6.01</c:v>
                </c:pt>
                <c:pt idx="4977">
                  <c:v>3.01</c:v>
                </c:pt>
                <c:pt idx="4978">
                  <c:v>3.61</c:v>
                </c:pt>
                <c:pt idx="4979">
                  <c:v>2.4</c:v>
                </c:pt>
                <c:pt idx="4980">
                  <c:v>3.61</c:v>
                </c:pt>
                <c:pt idx="4981">
                  <c:v>6.01</c:v>
                </c:pt>
                <c:pt idx="4982">
                  <c:v>3.61</c:v>
                </c:pt>
                <c:pt idx="4983">
                  <c:v>4.21</c:v>
                </c:pt>
                <c:pt idx="4984">
                  <c:v>4.21</c:v>
                </c:pt>
                <c:pt idx="4985">
                  <c:v>7.21</c:v>
                </c:pt>
                <c:pt idx="4986">
                  <c:v>3.01</c:v>
                </c:pt>
                <c:pt idx="4987">
                  <c:v>4.21</c:v>
                </c:pt>
                <c:pt idx="4988">
                  <c:v>3.61</c:v>
                </c:pt>
                <c:pt idx="4989">
                  <c:v>3.61</c:v>
                </c:pt>
                <c:pt idx="4990">
                  <c:v>4.8</c:v>
                </c:pt>
                <c:pt idx="4991">
                  <c:v>7.21</c:v>
                </c:pt>
                <c:pt idx="4992">
                  <c:v>3.01</c:v>
                </c:pt>
                <c:pt idx="4993">
                  <c:v>4.21</c:v>
                </c:pt>
                <c:pt idx="4994">
                  <c:v>6.61</c:v>
                </c:pt>
                <c:pt idx="4995">
                  <c:v>4.21</c:v>
                </c:pt>
                <c:pt idx="4996">
                  <c:v>3.01</c:v>
                </c:pt>
                <c:pt idx="4997">
                  <c:v>4.21</c:v>
                </c:pt>
                <c:pt idx="4998">
                  <c:v>4.8</c:v>
                </c:pt>
                <c:pt idx="4999">
                  <c:v>4.21</c:v>
                </c:pt>
              </c:numCache>
            </c:numRef>
          </c:yVal>
          <c:smooth val="1"/>
          <c:extLst>
            <c:ext xmlns:c16="http://schemas.microsoft.com/office/drawing/2014/chart" uri="{C3380CC4-5D6E-409C-BE32-E72D297353CC}">
              <c16:uniqueId val="{00000001-ADAB-43DA-B4FD-9B2CD11B1D63}"/>
            </c:ext>
          </c:extLst>
        </c:ser>
        <c:dLbls>
          <c:showLegendKey val="0"/>
          <c:showVal val="0"/>
          <c:showCatName val="0"/>
          <c:showSerName val="0"/>
          <c:showPercent val="0"/>
          <c:showBubbleSize val="0"/>
        </c:dLbls>
        <c:axId val="77991136"/>
        <c:axId val="263764016"/>
      </c:scatterChart>
      <c:scatterChart>
        <c:scatterStyle val="smoothMarker"/>
        <c:varyColors val="0"/>
        <c:ser>
          <c:idx val="2"/>
          <c:order val="2"/>
          <c:tx>
            <c:strRef>
              <c:f>'4-Pin vs 3-Pin waveform'!$O$2</c:f>
              <c:strCache>
                <c:ptCount val="1"/>
                <c:pt idx="0">
                  <c:v>IKW40N120CH7 - I [A]</c:v>
                </c:pt>
              </c:strCache>
            </c:strRef>
          </c:tx>
          <c:spPr>
            <a:ln w="19050" cap="rnd">
              <a:solidFill>
                <a:schemeClr val="accent3"/>
              </a:solidFill>
              <a:prstDash val="sysDash"/>
              <a:round/>
            </a:ln>
            <a:effectLst/>
          </c:spPr>
          <c:marker>
            <c:symbol val="none"/>
          </c:marker>
          <c:xVal>
            <c:numRef>
              <c:f>'4-Pin vs 3-Pin waveform'!$A$3:$A$5002</c:f>
              <c:numCache>
                <c:formatCode>General</c:formatCode>
                <c:ptCount val="5000"/>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8.9999999999999993E-3</c:v>
                </c:pt>
                <c:pt idx="10">
                  <c:v>0.01</c:v>
                </c:pt>
                <c:pt idx="11">
                  <c:v>1.0999999999999999E-2</c:v>
                </c:pt>
                <c:pt idx="12">
                  <c:v>1.2E-2</c:v>
                </c:pt>
                <c:pt idx="13">
                  <c:v>1.2999999999999999E-2</c:v>
                </c:pt>
                <c:pt idx="14">
                  <c:v>1.4E-2</c:v>
                </c:pt>
                <c:pt idx="15">
                  <c:v>1.4999999999999999E-2</c:v>
                </c:pt>
                <c:pt idx="16">
                  <c:v>1.6E-2</c:v>
                </c:pt>
                <c:pt idx="17">
                  <c:v>1.7000000000000001E-2</c:v>
                </c:pt>
                <c:pt idx="18">
                  <c:v>1.7999999999999999E-2</c:v>
                </c:pt>
                <c:pt idx="19">
                  <c:v>1.9E-2</c:v>
                </c:pt>
                <c:pt idx="20">
                  <c:v>0.02</c:v>
                </c:pt>
                <c:pt idx="21">
                  <c:v>2.1000000000000001E-2</c:v>
                </c:pt>
                <c:pt idx="22">
                  <c:v>2.1999999999999999E-2</c:v>
                </c:pt>
                <c:pt idx="23">
                  <c:v>2.3E-2</c:v>
                </c:pt>
                <c:pt idx="24">
                  <c:v>2.4E-2</c:v>
                </c:pt>
                <c:pt idx="25">
                  <c:v>2.5000000000000001E-2</c:v>
                </c:pt>
                <c:pt idx="26">
                  <c:v>2.5999999999999999E-2</c:v>
                </c:pt>
                <c:pt idx="27">
                  <c:v>2.7E-2</c:v>
                </c:pt>
                <c:pt idx="28">
                  <c:v>2.8000000000000001E-2</c:v>
                </c:pt>
                <c:pt idx="29">
                  <c:v>2.9000000000000001E-2</c:v>
                </c:pt>
                <c:pt idx="30">
                  <c:v>0.03</c:v>
                </c:pt>
                <c:pt idx="31">
                  <c:v>3.1E-2</c:v>
                </c:pt>
                <c:pt idx="32">
                  <c:v>3.2000000000000001E-2</c:v>
                </c:pt>
                <c:pt idx="33">
                  <c:v>3.3000000000000002E-2</c:v>
                </c:pt>
                <c:pt idx="34">
                  <c:v>3.4000000000000002E-2</c:v>
                </c:pt>
                <c:pt idx="35">
                  <c:v>3.5000000000000003E-2</c:v>
                </c:pt>
                <c:pt idx="36">
                  <c:v>3.5999999999999997E-2</c:v>
                </c:pt>
                <c:pt idx="37">
                  <c:v>3.6999999999999998E-2</c:v>
                </c:pt>
                <c:pt idx="38">
                  <c:v>3.7999999999999999E-2</c:v>
                </c:pt>
                <c:pt idx="39">
                  <c:v>3.9E-2</c:v>
                </c:pt>
                <c:pt idx="40">
                  <c:v>0.04</c:v>
                </c:pt>
                <c:pt idx="41">
                  <c:v>4.1000000000000002E-2</c:v>
                </c:pt>
                <c:pt idx="42">
                  <c:v>4.2000000000000003E-2</c:v>
                </c:pt>
                <c:pt idx="43">
                  <c:v>4.2999999999999997E-2</c:v>
                </c:pt>
                <c:pt idx="44">
                  <c:v>4.3999999999999997E-2</c:v>
                </c:pt>
                <c:pt idx="45">
                  <c:v>4.4999999999999998E-2</c:v>
                </c:pt>
                <c:pt idx="46">
                  <c:v>4.5999999999999999E-2</c:v>
                </c:pt>
                <c:pt idx="47">
                  <c:v>4.7E-2</c:v>
                </c:pt>
                <c:pt idx="48">
                  <c:v>4.8000000000000001E-2</c:v>
                </c:pt>
                <c:pt idx="49">
                  <c:v>4.9000000000000002E-2</c:v>
                </c:pt>
                <c:pt idx="50">
                  <c:v>0.05</c:v>
                </c:pt>
                <c:pt idx="51">
                  <c:v>5.0999999999999997E-2</c:v>
                </c:pt>
                <c:pt idx="52">
                  <c:v>5.1999999999999998E-2</c:v>
                </c:pt>
                <c:pt idx="53">
                  <c:v>5.2999999999999999E-2</c:v>
                </c:pt>
                <c:pt idx="54">
                  <c:v>5.3999999999999999E-2</c:v>
                </c:pt>
                <c:pt idx="55">
                  <c:v>5.5E-2</c:v>
                </c:pt>
                <c:pt idx="56">
                  <c:v>5.6000000000000001E-2</c:v>
                </c:pt>
                <c:pt idx="57">
                  <c:v>5.7000000000000002E-2</c:v>
                </c:pt>
                <c:pt idx="58">
                  <c:v>5.8000000000000003E-2</c:v>
                </c:pt>
                <c:pt idx="59">
                  <c:v>5.8999999999999997E-2</c:v>
                </c:pt>
                <c:pt idx="60">
                  <c:v>0.06</c:v>
                </c:pt>
                <c:pt idx="61">
                  <c:v>6.0999999999999999E-2</c:v>
                </c:pt>
                <c:pt idx="62">
                  <c:v>6.2E-2</c:v>
                </c:pt>
                <c:pt idx="63">
                  <c:v>6.3E-2</c:v>
                </c:pt>
                <c:pt idx="64">
                  <c:v>6.4000000000000001E-2</c:v>
                </c:pt>
                <c:pt idx="65">
                  <c:v>6.5000000000000002E-2</c:v>
                </c:pt>
                <c:pt idx="66">
                  <c:v>6.6000000000000003E-2</c:v>
                </c:pt>
                <c:pt idx="67">
                  <c:v>6.7000000000000004E-2</c:v>
                </c:pt>
                <c:pt idx="68">
                  <c:v>6.8000000000000005E-2</c:v>
                </c:pt>
                <c:pt idx="69">
                  <c:v>6.9000000000000006E-2</c:v>
                </c:pt>
                <c:pt idx="70">
                  <c:v>7.0000000000000007E-2</c:v>
                </c:pt>
                <c:pt idx="71">
                  <c:v>7.0999999999999994E-2</c:v>
                </c:pt>
                <c:pt idx="72">
                  <c:v>7.1999999999999995E-2</c:v>
                </c:pt>
                <c:pt idx="73">
                  <c:v>7.2999999999999995E-2</c:v>
                </c:pt>
                <c:pt idx="74">
                  <c:v>7.3999999999999996E-2</c:v>
                </c:pt>
                <c:pt idx="75">
                  <c:v>7.4999999999999997E-2</c:v>
                </c:pt>
                <c:pt idx="76">
                  <c:v>7.5999999999999998E-2</c:v>
                </c:pt>
                <c:pt idx="77">
                  <c:v>7.6999999999999999E-2</c:v>
                </c:pt>
                <c:pt idx="78">
                  <c:v>7.8E-2</c:v>
                </c:pt>
                <c:pt idx="79">
                  <c:v>7.9000000000000001E-2</c:v>
                </c:pt>
                <c:pt idx="80">
                  <c:v>0.08</c:v>
                </c:pt>
                <c:pt idx="81">
                  <c:v>8.1000000000000003E-2</c:v>
                </c:pt>
                <c:pt idx="82">
                  <c:v>8.2000000000000003E-2</c:v>
                </c:pt>
                <c:pt idx="83">
                  <c:v>8.3000000000000004E-2</c:v>
                </c:pt>
                <c:pt idx="84">
                  <c:v>8.4000000000000005E-2</c:v>
                </c:pt>
                <c:pt idx="85">
                  <c:v>8.5000000000000006E-2</c:v>
                </c:pt>
                <c:pt idx="86">
                  <c:v>8.5999999999999993E-2</c:v>
                </c:pt>
                <c:pt idx="87">
                  <c:v>8.6999999999999994E-2</c:v>
                </c:pt>
                <c:pt idx="88">
                  <c:v>8.7999999999999995E-2</c:v>
                </c:pt>
                <c:pt idx="89">
                  <c:v>8.8999999999999996E-2</c:v>
                </c:pt>
                <c:pt idx="90">
                  <c:v>0.09</c:v>
                </c:pt>
                <c:pt idx="91">
                  <c:v>9.0999999999999998E-2</c:v>
                </c:pt>
                <c:pt idx="92">
                  <c:v>9.1999999999999998E-2</c:v>
                </c:pt>
                <c:pt idx="93">
                  <c:v>9.2999999999999999E-2</c:v>
                </c:pt>
                <c:pt idx="94">
                  <c:v>9.4E-2</c:v>
                </c:pt>
                <c:pt idx="95">
                  <c:v>9.5000000000000001E-2</c:v>
                </c:pt>
                <c:pt idx="96">
                  <c:v>9.6000000000000002E-2</c:v>
                </c:pt>
                <c:pt idx="97">
                  <c:v>9.7000000000000003E-2</c:v>
                </c:pt>
                <c:pt idx="98">
                  <c:v>9.8000000000000004E-2</c:v>
                </c:pt>
                <c:pt idx="99">
                  <c:v>9.9000000000000005E-2</c:v>
                </c:pt>
                <c:pt idx="100">
                  <c:v>0.1</c:v>
                </c:pt>
                <c:pt idx="101">
                  <c:v>0.10100000000000001</c:v>
                </c:pt>
                <c:pt idx="102">
                  <c:v>0.10199999999999999</c:v>
                </c:pt>
                <c:pt idx="103">
                  <c:v>0.10299999999999999</c:v>
                </c:pt>
                <c:pt idx="104">
                  <c:v>0.104</c:v>
                </c:pt>
                <c:pt idx="105">
                  <c:v>0.105</c:v>
                </c:pt>
                <c:pt idx="106">
                  <c:v>0.106</c:v>
                </c:pt>
                <c:pt idx="107">
                  <c:v>0.107</c:v>
                </c:pt>
                <c:pt idx="108">
                  <c:v>0.108</c:v>
                </c:pt>
                <c:pt idx="109">
                  <c:v>0.109</c:v>
                </c:pt>
                <c:pt idx="110">
                  <c:v>0.11</c:v>
                </c:pt>
                <c:pt idx="111">
                  <c:v>0.111</c:v>
                </c:pt>
                <c:pt idx="112">
                  <c:v>0.112</c:v>
                </c:pt>
                <c:pt idx="113">
                  <c:v>0.113</c:v>
                </c:pt>
                <c:pt idx="114">
                  <c:v>0.114</c:v>
                </c:pt>
                <c:pt idx="115">
                  <c:v>0.115</c:v>
                </c:pt>
                <c:pt idx="116">
                  <c:v>0.11600000000000001</c:v>
                </c:pt>
                <c:pt idx="117">
                  <c:v>0.11700000000000001</c:v>
                </c:pt>
                <c:pt idx="118">
                  <c:v>0.11799999999999999</c:v>
                </c:pt>
                <c:pt idx="119">
                  <c:v>0.11899999999999999</c:v>
                </c:pt>
                <c:pt idx="120">
                  <c:v>0.12</c:v>
                </c:pt>
                <c:pt idx="121">
                  <c:v>0.121</c:v>
                </c:pt>
                <c:pt idx="122">
                  <c:v>0.122</c:v>
                </c:pt>
                <c:pt idx="123">
                  <c:v>0.123</c:v>
                </c:pt>
                <c:pt idx="124">
                  <c:v>0.124</c:v>
                </c:pt>
                <c:pt idx="125">
                  <c:v>0.125</c:v>
                </c:pt>
                <c:pt idx="126">
                  <c:v>0.126</c:v>
                </c:pt>
                <c:pt idx="127">
                  <c:v>0.127</c:v>
                </c:pt>
                <c:pt idx="128">
                  <c:v>0.128</c:v>
                </c:pt>
                <c:pt idx="129">
                  <c:v>0.129</c:v>
                </c:pt>
                <c:pt idx="130">
                  <c:v>0.13</c:v>
                </c:pt>
                <c:pt idx="131">
                  <c:v>0.13100000000000001</c:v>
                </c:pt>
                <c:pt idx="132">
                  <c:v>0.13200000000000001</c:v>
                </c:pt>
                <c:pt idx="133">
                  <c:v>0.13300000000000001</c:v>
                </c:pt>
                <c:pt idx="134">
                  <c:v>0.13400000000000001</c:v>
                </c:pt>
                <c:pt idx="135">
                  <c:v>0.13500000000000001</c:v>
                </c:pt>
                <c:pt idx="136">
                  <c:v>0.13600000000000001</c:v>
                </c:pt>
                <c:pt idx="137">
                  <c:v>0.13700000000000001</c:v>
                </c:pt>
                <c:pt idx="138">
                  <c:v>0.13800000000000001</c:v>
                </c:pt>
                <c:pt idx="139">
                  <c:v>0.13900000000000001</c:v>
                </c:pt>
                <c:pt idx="140">
                  <c:v>0.14000000000000001</c:v>
                </c:pt>
                <c:pt idx="141">
                  <c:v>0.14099999999999999</c:v>
                </c:pt>
                <c:pt idx="142">
                  <c:v>0.14199999999999999</c:v>
                </c:pt>
                <c:pt idx="143">
                  <c:v>0.14299999999999999</c:v>
                </c:pt>
                <c:pt idx="144">
                  <c:v>0.14399999999999999</c:v>
                </c:pt>
                <c:pt idx="145">
                  <c:v>0.14499999999999999</c:v>
                </c:pt>
                <c:pt idx="146">
                  <c:v>0.14599999999999999</c:v>
                </c:pt>
                <c:pt idx="147">
                  <c:v>0.14699999999999999</c:v>
                </c:pt>
                <c:pt idx="148">
                  <c:v>0.14799999999999999</c:v>
                </c:pt>
                <c:pt idx="149">
                  <c:v>0.14899999999999999</c:v>
                </c:pt>
                <c:pt idx="150">
                  <c:v>0.15</c:v>
                </c:pt>
                <c:pt idx="151">
                  <c:v>0.151</c:v>
                </c:pt>
                <c:pt idx="152">
                  <c:v>0.152</c:v>
                </c:pt>
                <c:pt idx="153">
                  <c:v>0.153</c:v>
                </c:pt>
                <c:pt idx="154">
                  <c:v>0.154</c:v>
                </c:pt>
                <c:pt idx="155">
                  <c:v>0.155</c:v>
                </c:pt>
                <c:pt idx="156">
                  <c:v>0.156</c:v>
                </c:pt>
                <c:pt idx="157">
                  <c:v>0.157</c:v>
                </c:pt>
                <c:pt idx="158">
                  <c:v>0.158</c:v>
                </c:pt>
                <c:pt idx="159">
                  <c:v>0.159</c:v>
                </c:pt>
                <c:pt idx="160">
                  <c:v>0.16</c:v>
                </c:pt>
                <c:pt idx="161">
                  <c:v>0.161</c:v>
                </c:pt>
                <c:pt idx="162">
                  <c:v>0.16200000000000001</c:v>
                </c:pt>
                <c:pt idx="163">
                  <c:v>0.16300000000000001</c:v>
                </c:pt>
                <c:pt idx="164">
                  <c:v>0.16400000000000001</c:v>
                </c:pt>
                <c:pt idx="165">
                  <c:v>0.16500000000000001</c:v>
                </c:pt>
                <c:pt idx="166">
                  <c:v>0.16600000000000001</c:v>
                </c:pt>
                <c:pt idx="167">
                  <c:v>0.16700000000000001</c:v>
                </c:pt>
                <c:pt idx="168">
                  <c:v>0.16800000000000001</c:v>
                </c:pt>
                <c:pt idx="169">
                  <c:v>0.16900000000000001</c:v>
                </c:pt>
                <c:pt idx="170">
                  <c:v>0.17</c:v>
                </c:pt>
                <c:pt idx="171">
                  <c:v>0.17100000000000001</c:v>
                </c:pt>
                <c:pt idx="172">
                  <c:v>0.17199999999999999</c:v>
                </c:pt>
                <c:pt idx="173">
                  <c:v>0.17299999999999999</c:v>
                </c:pt>
                <c:pt idx="174">
                  <c:v>0.17399999999999999</c:v>
                </c:pt>
                <c:pt idx="175">
                  <c:v>0.17499999999999999</c:v>
                </c:pt>
                <c:pt idx="176">
                  <c:v>0.17599999999999999</c:v>
                </c:pt>
                <c:pt idx="177">
                  <c:v>0.17699999999999999</c:v>
                </c:pt>
                <c:pt idx="178">
                  <c:v>0.17799999999999999</c:v>
                </c:pt>
                <c:pt idx="179">
                  <c:v>0.17899999999999999</c:v>
                </c:pt>
                <c:pt idx="180">
                  <c:v>0.18</c:v>
                </c:pt>
                <c:pt idx="181">
                  <c:v>0.18099999999999999</c:v>
                </c:pt>
                <c:pt idx="182">
                  <c:v>0.182</c:v>
                </c:pt>
                <c:pt idx="183">
                  <c:v>0.183</c:v>
                </c:pt>
                <c:pt idx="184">
                  <c:v>0.184</c:v>
                </c:pt>
                <c:pt idx="185">
                  <c:v>0.185</c:v>
                </c:pt>
                <c:pt idx="186">
                  <c:v>0.186</c:v>
                </c:pt>
                <c:pt idx="187">
                  <c:v>0.187</c:v>
                </c:pt>
                <c:pt idx="188">
                  <c:v>0.188</c:v>
                </c:pt>
                <c:pt idx="189">
                  <c:v>0.189</c:v>
                </c:pt>
                <c:pt idx="190">
                  <c:v>0.19</c:v>
                </c:pt>
                <c:pt idx="191">
                  <c:v>0.191</c:v>
                </c:pt>
                <c:pt idx="192">
                  <c:v>0.192</c:v>
                </c:pt>
                <c:pt idx="193">
                  <c:v>0.193</c:v>
                </c:pt>
                <c:pt idx="194">
                  <c:v>0.19400000000000001</c:v>
                </c:pt>
                <c:pt idx="195">
                  <c:v>0.19500000000000001</c:v>
                </c:pt>
                <c:pt idx="196">
                  <c:v>0.19600000000000001</c:v>
                </c:pt>
                <c:pt idx="197">
                  <c:v>0.19700000000000001</c:v>
                </c:pt>
                <c:pt idx="198">
                  <c:v>0.19800000000000001</c:v>
                </c:pt>
                <c:pt idx="199">
                  <c:v>0.19900000000000001</c:v>
                </c:pt>
                <c:pt idx="200">
                  <c:v>0.2</c:v>
                </c:pt>
                <c:pt idx="201">
                  <c:v>0.20100000000000001</c:v>
                </c:pt>
                <c:pt idx="202">
                  <c:v>0.20200000000000001</c:v>
                </c:pt>
                <c:pt idx="203">
                  <c:v>0.20300000000000001</c:v>
                </c:pt>
                <c:pt idx="204">
                  <c:v>0.20399999999999999</c:v>
                </c:pt>
                <c:pt idx="205">
                  <c:v>0.20499999999999999</c:v>
                </c:pt>
                <c:pt idx="206">
                  <c:v>0.20599999999999999</c:v>
                </c:pt>
                <c:pt idx="207">
                  <c:v>0.20699999999999999</c:v>
                </c:pt>
                <c:pt idx="208">
                  <c:v>0.20799999999999999</c:v>
                </c:pt>
                <c:pt idx="209">
                  <c:v>0.20899999999999999</c:v>
                </c:pt>
                <c:pt idx="210">
                  <c:v>0.21</c:v>
                </c:pt>
                <c:pt idx="211">
                  <c:v>0.21099999999999999</c:v>
                </c:pt>
                <c:pt idx="212">
                  <c:v>0.21199999999999999</c:v>
                </c:pt>
                <c:pt idx="213">
                  <c:v>0.21299999999999999</c:v>
                </c:pt>
                <c:pt idx="214">
                  <c:v>0.214</c:v>
                </c:pt>
                <c:pt idx="215">
                  <c:v>0.215</c:v>
                </c:pt>
                <c:pt idx="216">
                  <c:v>0.216</c:v>
                </c:pt>
                <c:pt idx="217">
                  <c:v>0.217</c:v>
                </c:pt>
                <c:pt idx="218">
                  <c:v>0.218</c:v>
                </c:pt>
                <c:pt idx="219">
                  <c:v>0.219</c:v>
                </c:pt>
                <c:pt idx="220">
                  <c:v>0.22</c:v>
                </c:pt>
                <c:pt idx="221">
                  <c:v>0.221</c:v>
                </c:pt>
                <c:pt idx="222">
                  <c:v>0.222</c:v>
                </c:pt>
                <c:pt idx="223">
                  <c:v>0.223</c:v>
                </c:pt>
                <c:pt idx="224">
                  <c:v>0.224</c:v>
                </c:pt>
                <c:pt idx="225">
                  <c:v>0.22500000000000001</c:v>
                </c:pt>
                <c:pt idx="226">
                  <c:v>0.22600000000000001</c:v>
                </c:pt>
                <c:pt idx="227">
                  <c:v>0.22700000000000001</c:v>
                </c:pt>
                <c:pt idx="228">
                  <c:v>0.22800000000000001</c:v>
                </c:pt>
                <c:pt idx="229">
                  <c:v>0.22900000000000001</c:v>
                </c:pt>
                <c:pt idx="230">
                  <c:v>0.23</c:v>
                </c:pt>
                <c:pt idx="231">
                  <c:v>0.23100000000000001</c:v>
                </c:pt>
                <c:pt idx="232">
                  <c:v>0.23200000000000001</c:v>
                </c:pt>
                <c:pt idx="233">
                  <c:v>0.23300000000000001</c:v>
                </c:pt>
                <c:pt idx="234">
                  <c:v>0.23400000000000001</c:v>
                </c:pt>
                <c:pt idx="235">
                  <c:v>0.23499999999999999</c:v>
                </c:pt>
                <c:pt idx="236">
                  <c:v>0.23599999999999999</c:v>
                </c:pt>
                <c:pt idx="237">
                  <c:v>0.23699999999999999</c:v>
                </c:pt>
                <c:pt idx="238">
                  <c:v>0.23799999999999999</c:v>
                </c:pt>
                <c:pt idx="239">
                  <c:v>0.23899999999999999</c:v>
                </c:pt>
                <c:pt idx="240">
                  <c:v>0.24</c:v>
                </c:pt>
                <c:pt idx="241">
                  <c:v>0.24099999999999999</c:v>
                </c:pt>
                <c:pt idx="242">
                  <c:v>0.24199999999999999</c:v>
                </c:pt>
                <c:pt idx="243">
                  <c:v>0.24299999999999999</c:v>
                </c:pt>
                <c:pt idx="244">
                  <c:v>0.24399999999999999</c:v>
                </c:pt>
                <c:pt idx="245">
                  <c:v>0.245</c:v>
                </c:pt>
                <c:pt idx="246">
                  <c:v>0.246</c:v>
                </c:pt>
                <c:pt idx="247">
                  <c:v>0.247</c:v>
                </c:pt>
                <c:pt idx="248">
                  <c:v>0.248</c:v>
                </c:pt>
                <c:pt idx="249">
                  <c:v>0.249</c:v>
                </c:pt>
                <c:pt idx="250">
                  <c:v>0.25</c:v>
                </c:pt>
                <c:pt idx="251">
                  <c:v>0.251</c:v>
                </c:pt>
                <c:pt idx="252">
                  <c:v>0.252</c:v>
                </c:pt>
                <c:pt idx="253">
                  <c:v>0.253</c:v>
                </c:pt>
                <c:pt idx="254">
                  <c:v>0.254</c:v>
                </c:pt>
                <c:pt idx="255">
                  <c:v>0.255</c:v>
                </c:pt>
                <c:pt idx="256">
                  <c:v>0.25600000000000001</c:v>
                </c:pt>
                <c:pt idx="257">
                  <c:v>0.25700000000000001</c:v>
                </c:pt>
                <c:pt idx="258">
                  <c:v>0.25800000000000001</c:v>
                </c:pt>
                <c:pt idx="259">
                  <c:v>0.25900000000000001</c:v>
                </c:pt>
                <c:pt idx="260">
                  <c:v>0.26</c:v>
                </c:pt>
                <c:pt idx="261">
                  <c:v>0.26100000000000001</c:v>
                </c:pt>
                <c:pt idx="262">
                  <c:v>0.26200000000000001</c:v>
                </c:pt>
                <c:pt idx="263">
                  <c:v>0.26300000000000001</c:v>
                </c:pt>
                <c:pt idx="264">
                  <c:v>0.26400000000000001</c:v>
                </c:pt>
                <c:pt idx="265">
                  <c:v>0.26500000000000001</c:v>
                </c:pt>
                <c:pt idx="266">
                  <c:v>0.26600000000000001</c:v>
                </c:pt>
                <c:pt idx="267">
                  <c:v>0.26700000000000002</c:v>
                </c:pt>
                <c:pt idx="268">
                  <c:v>0.26800000000000002</c:v>
                </c:pt>
                <c:pt idx="269">
                  <c:v>0.26900000000000002</c:v>
                </c:pt>
                <c:pt idx="270">
                  <c:v>0.27</c:v>
                </c:pt>
                <c:pt idx="271">
                  <c:v>0.27100000000000002</c:v>
                </c:pt>
                <c:pt idx="272">
                  <c:v>0.27200000000000002</c:v>
                </c:pt>
                <c:pt idx="273">
                  <c:v>0.27300000000000002</c:v>
                </c:pt>
                <c:pt idx="274">
                  <c:v>0.27400000000000002</c:v>
                </c:pt>
                <c:pt idx="275">
                  <c:v>0.27500000000000002</c:v>
                </c:pt>
                <c:pt idx="276">
                  <c:v>0.27600000000000002</c:v>
                </c:pt>
                <c:pt idx="277">
                  <c:v>0.27700000000000002</c:v>
                </c:pt>
                <c:pt idx="278">
                  <c:v>0.27800000000000002</c:v>
                </c:pt>
                <c:pt idx="279">
                  <c:v>0.27900000000000003</c:v>
                </c:pt>
                <c:pt idx="280">
                  <c:v>0.28000000000000003</c:v>
                </c:pt>
                <c:pt idx="281">
                  <c:v>0.28100000000000003</c:v>
                </c:pt>
                <c:pt idx="282">
                  <c:v>0.28199999999999997</c:v>
                </c:pt>
                <c:pt idx="283">
                  <c:v>0.28299999999999997</c:v>
                </c:pt>
                <c:pt idx="284">
                  <c:v>0.28399999999999997</c:v>
                </c:pt>
                <c:pt idx="285">
                  <c:v>0.28499999999999998</c:v>
                </c:pt>
                <c:pt idx="286">
                  <c:v>0.28599999999999998</c:v>
                </c:pt>
                <c:pt idx="287">
                  <c:v>0.28699999999999998</c:v>
                </c:pt>
                <c:pt idx="288">
                  <c:v>0.28799999999999998</c:v>
                </c:pt>
                <c:pt idx="289">
                  <c:v>0.28899999999999998</c:v>
                </c:pt>
                <c:pt idx="290">
                  <c:v>0.28999999999999998</c:v>
                </c:pt>
                <c:pt idx="291">
                  <c:v>0.29099999999999998</c:v>
                </c:pt>
                <c:pt idx="292">
                  <c:v>0.29199999999999998</c:v>
                </c:pt>
                <c:pt idx="293">
                  <c:v>0.29299999999999998</c:v>
                </c:pt>
                <c:pt idx="294">
                  <c:v>0.29399999999999998</c:v>
                </c:pt>
                <c:pt idx="295">
                  <c:v>0.29499999999999998</c:v>
                </c:pt>
                <c:pt idx="296">
                  <c:v>0.29599999999999999</c:v>
                </c:pt>
                <c:pt idx="297">
                  <c:v>0.29699999999999999</c:v>
                </c:pt>
                <c:pt idx="298">
                  <c:v>0.29799999999999999</c:v>
                </c:pt>
                <c:pt idx="299">
                  <c:v>0.29899999999999999</c:v>
                </c:pt>
                <c:pt idx="300">
                  <c:v>0.3</c:v>
                </c:pt>
                <c:pt idx="301">
                  <c:v>0.30099999999999999</c:v>
                </c:pt>
                <c:pt idx="302">
                  <c:v>0.30199999999999999</c:v>
                </c:pt>
                <c:pt idx="303">
                  <c:v>0.30299999999999999</c:v>
                </c:pt>
                <c:pt idx="304">
                  <c:v>0.30399999999999999</c:v>
                </c:pt>
                <c:pt idx="305">
                  <c:v>0.30499999999999999</c:v>
                </c:pt>
                <c:pt idx="306">
                  <c:v>0.30599999999999999</c:v>
                </c:pt>
                <c:pt idx="307">
                  <c:v>0.307</c:v>
                </c:pt>
                <c:pt idx="308">
                  <c:v>0.308</c:v>
                </c:pt>
                <c:pt idx="309">
                  <c:v>0.309</c:v>
                </c:pt>
                <c:pt idx="310">
                  <c:v>0.31</c:v>
                </c:pt>
                <c:pt idx="311">
                  <c:v>0.311</c:v>
                </c:pt>
                <c:pt idx="312">
                  <c:v>0.312</c:v>
                </c:pt>
                <c:pt idx="313">
                  <c:v>0.313</c:v>
                </c:pt>
                <c:pt idx="314">
                  <c:v>0.314</c:v>
                </c:pt>
                <c:pt idx="315">
                  <c:v>0.315</c:v>
                </c:pt>
                <c:pt idx="316">
                  <c:v>0.316</c:v>
                </c:pt>
                <c:pt idx="317">
                  <c:v>0.317</c:v>
                </c:pt>
                <c:pt idx="318">
                  <c:v>0.318</c:v>
                </c:pt>
                <c:pt idx="319">
                  <c:v>0.31900000000000001</c:v>
                </c:pt>
                <c:pt idx="320">
                  <c:v>0.32</c:v>
                </c:pt>
                <c:pt idx="321">
                  <c:v>0.32100000000000001</c:v>
                </c:pt>
                <c:pt idx="322">
                  <c:v>0.32200000000000001</c:v>
                </c:pt>
                <c:pt idx="323">
                  <c:v>0.32300000000000001</c:v>
                </c:pt>
                <c:pt idx="324">
                  <c:v>0.32400000000000001</c:v>
                </c:pt>
                <c:pt idx="325">
                  <c:v>0.32500000000000001</c:v>
                </c:pt>
                <c:pt idx="326">
                  <c:v>0.32600000000000001</c:v>
                </c:pt>
                <c:pt idx="327">
                  <c:v>0.32700000000000001</c:v>
                </c:pt>
                <c:pt idx="328">
                  <c:v>0.32800000000000001</c:v>
                </c:pt>
                <c:pt idx="329">
                  <c:v>0.32900000000000001</c:v>
                </c:pt>
                <c:pt idx="330">
                  <c:v>0.33</c:v>
                </c:pt>
                <c:pt idx="331">
                  <c:v>0.33100000000000002</c:v>
                </c:pt>
                <c:pt idx="332">
                  <c:v>0.33200000000000002</c:v>
                </c:pt>
                <c:pt idx="333">
                  <c:v>0.33300000000000002</c:v>
                </c:pt>
                <c:pt idx="334">
                  <c:v>0.33400000000000002</c:v>
                </c:pt>
                <c:pt idx="335">
                  <c:v>0.33500000000000002</c:v>
                </c:pt>
                <c:pt idx="336">
                  <c:v>0.33600000000000002</c:v>
                </c:pt>
                <c:pt idx="337">
                  <c:v>0.33700000000000002</c:v>
                </c:pt>
                <c:pt idx="338">
                  <c:v>0.33800000000000002</c:v>
                </c:pt>
                <c:pt idx="339">
                  <c:v>0.33900000000000002</c:v>
                </c:pt>
                <c:pt idx="340">
                  <c:v>0.34</c:v>
                </c:pt>
                <c:pt idx="341">
                  <c:v>0.34100000000000003</c:v>
                </c:pt>
                <c:pt idx="342">
                  <c:v>0.34200000000000003</c:v>
                </c:pt>
                <c:pt idx="343">
                  <c:v>0.34300000000000003</c:v>
                </c:pt>
                <c:pt idx="344">
                  <c:v>0.34399999999999997</c:v>
                </c:pt>
                <c:pt idx="345">
                  <c:v>0.34499999999999997</c:v>
                </c:pt>
                <c:pt idx="346">
                  <c:v>0.34599999999999997</c:v>
                </c:pt>
                <c:pt idx="347">
                  <c:v>0.34699999999999998</c:v>
                </c:pt>
                <c:pt idx="348">
                  <c:v>0.34799999999999998</c:v>
                </c:pt>
                <c:pt idx="349">
                  <c:v>0.34899999999999998</c:v>
                </c:pt>
                <c:pt idx="350">
                  <c:v>0.35</c:v>
                </c:pt>
                <c:pt idx="351">
                  <c:v>0.35099999999999998</c:v>
                </c:pt>
                <c:pt idx="352">
                  <c:v>0.35199999999999998</c:v>
                </c:pt>
                <c:pt idx="353">
                  <c:v>0.35299999999999998</c:v>
                </c:pt>
                <c:pt idx="354">
                  <c:v>0.35399999999999998</c:v>
                </c:pt>
                <c:pt idx="355">
                  <c:v>0.35499999999999998</c:v>
                </c:pt>
                <c:pt idx="356">
                  <c:v>0.35599999999999998</c:v>
                </c:pt>
                <c:pt idx="357">
                  <c:v>0.35699999999999998</c:v>
                </c:pt>
                <c:pt idx="358">
                  <c:v>0.35799999999999998</c:v>
                </c:pt>
                <c:pt idx="359">
                  <c:v>0.35899999999999999</c:v>
                </c:pt>
                <c:pt idx="360">
                  <c:v>0.36</c:v>
                </c:pt>
                <c:pt idx="361">
                  <c:v>0.36099999999999999</c:v>
                </c:pt>
                <c:pt idx="362">
                  <c:v>0.36199999999999999</c:v>
                </c:pt>
                <c:pt idx="363">
                  <c:v>0.36299999999999999</c:v>
                </c:pt>
                <c:pt idx="364">
                  <c:v>0.36399999999999999</c:v>
                </c:pt>
                <c:pt idx="365">
                  <c:v>0.36499999999999999</c:v>
                </c:pt>
                <c:pt idx="366">
                  <c:v>0.36599999999999999</c:v>
                </c:pt>
                <c:pt idx="367">
                  <c:v>0.36699999999999999</c:v>
                </c:pt>
                <c:pt idx="368">
                  <c:v>0.36799999999999999</c:v>
                </c:pt>
                <c:pt idx="369">
                  <c:v>0.36899999999999999</c:v>
                </c:pt>
                <c:pt idx="370">
                  <c:v>0.37</c:v>
                </c:pt>
                <c:pt idx="371">
                  <c:v>0.371</c:v>
                </c:pt>
                <c:pt idx="372">
                  <c:v>0.372</c:v>
                </c:pt>
                <c:pt idx="373">
                  <c:v>0.373</c:v>
                </c:pt>
                <c:pt idx="374">
                  <c:v>0.374</c:v>
                </c:pt>
                <c:pt idx="375">
                  <c:v>0.375</c:v>
                </c:pt>
                <c:pt idx="376">
                  <c:v>0.376</c:v>
                </c:pt>
                <c:pt idx="377">
                  <c:v>0.377</c:v>
                </c:pt>
                <c:pt idx="378">
                  <c:v>0.378</c:v>
                </c:pt>
                <c:pt idx="379">
                  <c:v>0.379</c:v>
                </c:pt>
                <c:pt idx="380">
                  <c:v>0.38</c:v>
                </c:pt>
                <c:pt idx="381">
                  <c:v>0.38100000000000001</c:v>
                </c:pt>
                <c:pt idx="382">
                  <c:v>0.38200000000000001</c:v>
                </c:pt>
                <c:pt idx="383">
                  <c:v>0.38300000000000001</c:v>
                </c:pt>
                <c:pt idx="384">
                  <c:v>0.38400000000000001</c:v>
                </c:pt>
                <c:pt idx="385">
                  <c:v>0.38500000000000001</c:v>
                </c:pt>
                <c:pt idx="386">
                  <c:v>0.38600000000000001</c:v>
                </c:pt>
                <c:pt idx="387">
                  <c:v>0.38700000000000001</c:v>
                </c:pt>
                <c:pt idx="388">
                  <c:v>0.38800000000000001</c:v>
                </c:pt>
                <c:pt idx="389">
                  <c:v>0.38900000000000001</c:v>
                </c:pt>
                <c:pt idx="390">
                  <c:v>0.39</c:v>
                </c:pt>
                <c:pt idx="391">
                  <c:v>0.39100000000000001</c:v>
                </c:pt>
                <c:pt idx="392">
                  <c:v>0.39200000000000002</c:v>
                </c:pt>
                <c:pt idx="393">
                  <c:v>0.39300000000000002</c:v>
                </c:pt>
                <c:pt idx="394">
                  <c:v>0.39400000000000002</c:v>
                </c:pt>
                <c:pt idx="395">
                  <c:v>0.39500000000000002</c:v>
                </c:pt>
                <c:pt idx="396">
                  <c:v>0.39600000000000002</c:v>
                </c:pt>
                <c:pt idx="397">
                  <c:v>0.39700000000000002</c:v>
                </c:pt>
                <c:pt idx="398">
                  <c:v>0.39800000000000002</c:v>
                </c:pt>
                <c:pt idx="399">
                  <c:v>0.39900000000000002</c:v>
                </c:pt>
                <c:pt idx="400">
                  <c:v>0.4</c:v>
                </c:pt>
                <c:pt idx="401">
                  <c:v>0.40100000000000002</c:v>
                </c:pt>
                <c:pt idx="402">
                  <c:v>0.40200000000000002</c:v>
                </c:pt>
                <c:pt idx="403">
                  <c:v>0.40300000000000002</c:v>
                </c:pt>
                <c:pt idx="404">
                  <c:v>0.40400000000000003</c:v>
                </c:pt>
                <c:pt idx="405">
                  <c:v>0.40500000000000003</c:v>
                </c:pt>
                <c:pt idx="406">
                  <c:v>0.40600000000000003</c:v>
                </c:pt>
                <c:pt idx="407">
                  <c:v>0.40699999999999997</c:v>
                </c:pt>
                <c:pt idx="408">
                  <c:v>0.40799999999999997</c:v>
                </c:pt>
                <c:pt idx="409">
                  <c:v>0.40899999999999997</c:v>
                </c:pt>
                <c:pt idx="410">
                  <c:v>0.41</c:v>
                </c:pt>
                <c:pt idx="411">
                  <c:v>0.41099999999999998</c:v>
                </c:pt>
                <c:pt idx="412">
                  <c:v>0.41199999999999998</c:v>
                </c:pt>
                <c:pt idx="413">
                  <c:v>0.41299999999999998</c:v>
                </c:pt>
                <c:pt idx="414">
                  <c:v>0.41399999999999998</c:v>
                </c:pt>
                <c:pt idx="415">
                  <c:v>0.41499999999999998</c:v>
                </c:pt>
                <c:pt idx="416">
                  <c:v>0.41599999999999998</c:v>
                </c:pt>
                <c:pt idx="417">
                  <c:v>0.41699999999999998</c:v>
                </c:pt>
                <c:pt idx="418">
                  <c:v>0.41799999999999998</c:v>
                </c:pt>
                <c:pt idx="419">
                  <c:v>0.41899999999999998</c:v>
                </c:pt>
                <c:pt idx="420">
                  <c:v>0.42</c:v>
                </c:pt>
                <c:pt idx="421">
                  <c:v>0.42099999999999999</c:v>
                </c:pt>
                <c:pt idx="422">
                  <c:v>0.42199999999999999</c:v>
                </c:pt>
                <c:pt idx="423">
                  <c:v>0.42299999999999999</c:v>
                </c:pt>
                <c:pt idx="424">
                  <c:v>0.42399999999999999</c:v>
                </c:pt>
                <c:pt idx="425">
                  <c:v>0.42499999999999999</c:v>
                </c:pt>
                <c:pt idx="426">
                  <c:v>0.42599999999999999</c:v>
                </c:pt>
                <c:pt idx="427">
                  <c:v>0.42699999999999999</c:v>
                </c:pt>
                <c:pt idx="428">
                  <c:v>0.42799999999999999</c:v>
                </c:pt>
                <c:pt idx="429">
                  <c:v>0.42899999999999999</c:v>
                </c:pt>
                <c:pt idx="430">
                  <c:v>0.43</c:v>
                </c:pt>
                <c:pt idx="431">
                  <c:v>0.43099999999999999</c:v>
                </c:pt>
                <c:pt idx="432">
                  <c:v>0.432</c:v>
                </c:pt>
                <c:pt idx="433">
                  <c:v>0.433</c:v>
                </c:pt>
                <c:pt idx="434">
                  <c:v>0.434</c:v>
                </c:pt>
                <c:pt idx="435">
                  <c:v>0.435</c:v>
                </c:pt>
                <c:pt idx="436">
                  <c:v>0.436</c:v>
                </c:pt>
                <c:pt idx="437">
                  <c:v>0.437</c:v>
                </c:pt>
                <c:pt idx="438">
                  <c:v>0.438</c:v>
                </c:pt>
                <c:pt idx="439">
                  <c:v>0.439</c:v>
                </c:pt>
                <c:pt idx="440">
                  <c:v>0.44</c:v>
                </c:pt>
                <c:pt idx="441">
                  <c:v>0.441</c:v>
                </c:pt>
                <c:pt idx="442">
                  <c:v>0.442</c:v>
                </c:pt>
                <c:pt idx="443">
                  <c:v>0.443</c:v>
                </c:pt>
                <c:pt idx="444">
                  <c:v>0.44400000000000001</c:v>
                </c:pt>
                <c:pt idx="445">
                  <c:v>0.44500000000000001</c:v>
                </c:pt>
                <c:pt idx="446">
                  <c:v>0.44600000000000001</c:v>
                </c:pt>
                <c:pt idx="447">
                  <c:v>0.44700000000000001</c:v>
                </c:pt>
                <c:pt idx="448">
                  <c:v>0.44800000000000001</c:v>
                </c:pt>
                <c:pt idx="449">
                  <c:v>0.44900000000000001</c:v>
                </c:pt>
                <c:pt idx="450">
                  <c:v>0.45</c:v>
                </c:pt>
                <c:pt idx="451">
                  <c:v>0.45100000000000001</c:v>
                </c:pt>
                <c:pt idx="452">
                  <c:v>0.45200000000000001</c:v>
                </c:pt>
                <c:pt idx="453">
                  <c:v>0.45300000000000001</c:v>
                </c:pt>
                <c:pt idx="454">
                  <c:v>0.45400000000000001</c:v>
                </c:pt>
                <c:pt idx="455">
                  <c:v>0.45500000000000002</c:v>
                </c:pt>
                <c:pt idx="456">
                  <c:v>0.45600000000000002</c:v>
                </c:pt>
                <c:pt idx="457">
                  <c:v>0.45700000000000002</c:v>
                </c:pt>
                <c:pt idx="458">
                  <c:v>0.45800000000000002</c:v>
                </c:pt>
                <c:pt idx="459">
                  <c:v>0.45900000000000002</c:v>
                </c:pt>
                <c:pt idx="460">
                  <c:v>0.46</c:v>
                </c:pt>
                <c:pt idx="461">
                  <c:v>0.46100000000000002</c:v>
                </c:pt>
                <c:pt idx="462">
                  <c:v>0.46200000000000002</c:v>
                </c:pt>
                <c:pt idx="463">
                  <c:v>0.46300000000000002</c:v>
                </c:pt>
                <c:pt idx="464">
                  <c:v>0.46400000000000002</c:v>
                </c:pt>
                <c:pt idx="465">
                  <c:v>0.46500000000000002</c:v>
                </c:pt>
                <c:pt idx="466">
                  <c:v>0.46600000000000003</c:v>
                </c:pt>
                <c:pt idx="467">
                  <c:v>0.46700000000000003</c:v>
                </c:pt>
                <c:pt idx="468">
                  <c:v>0.46800000000000003</c:v>
                </c:pt>
                <c:pt idx="469">
                  <c:v>0.46899999999999997</c:v>
                </c:pt>
                <c:pt idx="470">
                  <c:v>0.47</c:v>
                </c:pt>
                <c:pt idx="471">
                  <c:v>0.47099999999999997</c:v>
                </c:pt>
                <c:pt idx="472">
                  <c:v>0.47199999999999998</c:v>
                </c:pt>
                <c:pt idx="473">
                  <c:v>0.47299999999999998</c:v>
                </c:pt>
                <c:pt idx="474">
                  <c:v>0.47399999999999998</c:v>
                </c:pt>
                <c:pt idx="475">
                  <c:v>0.47499999999999998</c:v>
                </c:pt>
                <c:pt idx="476">
                  <c:v>0.47599999999999998</c:v>
                </c:pt>
                <c:pt idx="477">
                  <c:v>0.47699999999999998</c:v>
                </c:pt>
                <c:pt idx="478">
                  <c:v>0.47799999999999998</c:v>
                </c:pt>
                <c:pt idx="479">
                  <c:v>0.47899999999999998</c:v>
                </c:pt>
                <c:pt idx="480">
                  <c:v>0.48</c:v>
                </c:pt>
                <c:pt idx="481">
                  <c:v>0.48099999999999998</c:v>
                </c:pt>
                <c:pt idx="482">
                  <c:v>0.48199999999999998</c:v>
                </c:pt>
                <c:pt idx="483">
                  <c:v>0.48299999999999998</c:v>
                </c:pt>
                <c:pt idx="484">
                  <c:v>0.48399999999999999</c:v>
                </c:pt>
                <c:pt idx="485">
                  <c:v>0.48499999999999999</c:v>
                </c:pt>
                <c:pt idx="486">
                  <c:v>0.48599999999999999</c:v>
                </c:pt>
                <c:pt idx="487">
                  <c:v>0.48699999999999999</c:v>
                </c:pt>
                <c:pt idx="488">
                  <c:v>0.48799999999999999</c:v>
                </c:pt>
                <c:pt idx="489">
                  <c:v>0.48899999999999999</c:v>
                </c:pt>
                <c:pt idx="490">
                  <c:v>0.49</c:v>
                </c:pt>
                <c:pt idx="491">
                  <c:v>0.49099999999999999</c:v>
                </c:pt>
                <c:pt idx="492">
                  <c:v>0.49199999999999999</c:v>
                </c:pt>
                <c:pt idx="493">
                  <c:v>0.49299999999999999</c:v>
                </c:pt>
                <c:pt idx="494">
                  <c:v>0.49399999999999999</c:v>
                </c:pt>
                <c:pt idx="495">
                  <c:v>0.495</c:v>
                </c:pt>
                <c:pt idx="496">
                  <c:v>0.496</c:v>
                </c:pt>
                <c:pt idx="497">
                  <c:v>0.497</c:v>
                </c:pt>
                <c:pt idx="498">
                  <c:v>0.498</c:v>
                </c:pt>
                <c:pt idx="499">
                  <c:v>0.499</c:v>
                </c:pt>
                <c:pt idx="500">
                  <c:v>0.5</c:v>
                </c:pt>
                <c:pt idx="501">
                  <c:v>0.501</c:v>
                </c:pt>
                <c:pt idx="502">
                  <c:v>0.502</c:v>
                </c:pt>
                <c:pt idx="503">
                  <c:v>0.503</c:v>
                </c:pt>
                <c:pt idx="504">
                  <c:v>0.504</c:v>
                </c:pt>
                <c:pt idx="505">
                  <c:v>0.505</c:v>
                </c:pt>
                <c:pt idx="506">
                  <c:v>0.50600000000000001</c:v>
                </c:pt>
                <c:pt idx="507">
                  <c:v>0.50700000000000001</c:v>
                </c:pt>
                <c:pt idx="508">
                  <c:v>0.50800000000000001</c:v>
                </c:pt>
                <c:pt idx="509">
                  <c:v>0.50900000000000001</c:v>
                </c:pt>
                <c:pt idx="510">
                  <c:v>0.51</c:v>
                </c:pt>
                <c:pt idx="511">
                  <c:v>0.51100000000000001</c:v>
                </c:pt>
                <c:pt idx="512">
                  <c:v>0.51200000000000001</c:v>
                </c:pt>
                <c:pt idx="513">
                  <c:v>0.51300000000000001</c:v>
                </c:pt>
                <c:pt idx="514">
                  <c:v>0.51400000000000001</c:v>
                </c:pt>
                <c:pt idx="515">
                  <c:v>0.51500000000000001</c:v>
                </c:pt>
                <c:pt idx="516">
                  <c:v>0.51600000000000001</c:v>
                </c:pt>
                <c:pt idx="517">
                  <c:v>0.51700000000000002</c:v>
                </c:pt>
                <c:pt idx="518">
                  <c:v>0.51800000000000002</c:v>
                </c:pt>
                <c:pt idx="519">
                  <c:v>0.51900000000000002</c:v>
                </c:pt>
                <c:pt idx="520">
                  <c:v>0.52</c:v>
                </c:pt>
                <c:pt idx="521">
                  <c:v>0.52100000000000002</c:v>
                </c:pt>
                <c:pt idx="522">
                  <c:v>0.52200000000000002</c:v>
                </c:pt>
                <c:pt idx="523">
                  <c:v>0.52300000000000002</c:v>
                </c:pt>
                <c:pt idx="524">
                  <c:v>0.52400000000000002</c:v>
                </c:pt>
                <c:pt idx="525">
                  <c:v>0.52500000000000002</c:v>
                </c:pt>
                <c:pt idx="526">
                  <c:v>0.52600000000000002</c:v>
                </c:pt>
                <c:pt idx="527">
                  <c:v>0.52700000000000002</c:v>
                </c:pt>
                <c:pt idx="528">
                  <c:v>0.52800000000000002</c:v>
                </c:pt>
                <c:pt idx="529">
                  <c:v>0.52900000000000003</c:v>
                </c:pt>
                <c:pt idx="530">
                  <c:v>0.53</c:v>
                </c:pt>
                <c:pt idx="531">
                  <c:v>0.53100000000000003</c:v>
                </c:pt>
                <c:pt idx="532">
                  <c:v>0.53200000000000003</c:v>
                </c:pt>
                <c:pt idx="533">
                  <c:v>0.53300000000000003</c:v>
                </c:pt>
                <c:pt idx="534">
                  <c:v>0.53400000000000003</c:v>
                </c:pt>
                <c:pt idx="535">
                  <c:v>0.53500000000000003</c:v>
                </c:pt>
                <c:pt idx="536">
                  <c:v>0.53600000000000003</c:v>
                </c:pt>
                <c:pt idx="537">
                  <c:v>0.53700000000000003</c:v>
                </c:pt>
                <c:pt idx="538">
                  <c:v>0.53800000000000003</c:v>
                </c:pt>
                <c:pt idx="539">
                  <c:v>0.53900000000000003</c:v>
                </c:pt>
                <c:pt idx="540">
                  <c:v>0.54</c:v>
                </c:pt>
                <c:pt idx="541">
                  <c:v>0.54100000000000004</c:v>
                </c:pt>
                <c:pt idx="542">
                  <c:v>0.54200000000000004</c:v>
                </c:pt>
                <c:pt idx="543">
                  <c:v>0.54300000000000004</c:v>
                </c:pt>
                <c:pt idx="544">
                  <c:v>0.54400000000000004</c:v>
                </c:pt>
                <c:pt idx="545">
                  <c:v>0.54500000000000004</c:v>
                </c:pt>
                <c:pt idx="546">
                  <c:v>0.54600000000000004</c:v>
                </c:pt>
                <c:pt idx="547">
                  <c:v>0.54700000000000004</c:v>
                </c:pt>
                <c:pt idx="548">
                  <c:v>0.54800000000000004</c:v>
                </c:pt>
                <c:pt idx="549">
                  <c:v>0.54900000000000004</c:v>
                </c:pt>
                <c:pt idx="550">
                  <c:v>0.55000000000000004</c:v>
                </c:pt>
                <c:pt idx="551">
                  <c:v>0.55100000000000005</c:v>
                </c:pt>
                <c:pt idx="552">
                  <c:v>0.55200000000000005</c:v>
                </c:pt>
                <c:pt idx="553">
                  <c:v>0.55300000000000005</c:v>
                </c:pt>
                <c:pt idx="554">
                  <c:v>0.55400000000000005</c:v>
                </c:pt>
                <c:pt idx="555">
                  <c:v>0.55500000000000005</c:v>
                </c:pt>
                <c:pt idx="556">
                  <c:v>0.55600000000000005</c:v>
                </c:pt>
                <c:pt idx="557">
                  <c:v>0.55700000000000005</c:v>
                </c:pt>
                <c:pt idx="558">
                  <c:v>0.55800000000000005</c:v>
                </c:pt>
                <c:pt idx="559">
                  <c:v>0.55900000000000005</c:v>
                </c:pt>
                <c:pt idx="560">
                  <c:v>0.56000000000000005</c:v>
                </c:pt>
                <c:pt idx="561">
                  <c:v>0.56100000000000005</c:v>
                </c:pt>
                <c:pt idx="562">
                  <c:v>0.56200000000000006</c:v>
                </c:pt>
                <c:pt idx="563">
                  <c:v>0.56299999999999994</c:v>
                </c:pt>
                <c:pt idx="564">
                  <c:v>0.56399999999999995</c:v>
                </c:pt>
                <c:pt idx="565">
                  <c:v>0.56499999999999995</c:v>
                </c:pt>
                <c:pt idx="566">
                  <c:v>0.56599999999999995</c:v>
                </c:pt>
                <c:pt idx="567">
                  <c:v>0.56699999999999995</c:v>
                </c:pt>
                <c:pt idx="568">
                  <c:v>0.56799999999999995</c:v>
                </c:pt>
                <c:pt idx="569">
                  <c:v>0.56899999999999995</c:v>
                </c:pt>
                <c:pt idx="570">
                  <c:v>0.56999999999999995</c:v>
                </c:pt>
                <c:pt idx="571">
                  <c:v>0.57099999999999995</c:v>
                </c:pt>
                <c:pt idx="572">
                  <c:v>0.57199999999999995</c:v>
                </c:pt>
                <c:pt idx="573">
                  <c:v>0.57299999999999995</c:v>
                </c:pt>
                <c:pt idx="574">
                  <c:v>0.57399999999999995</c:v>
                </c:pt>
                <c:pt idx="575">
                  <c:v>0.57499999999999996</c:v>
                </c:pt>
                <c:pt idx="576">
                  <c:v>0.57599999999999996</c:v>
                </c:pt>
                <c:pt idx="577">
                  <c:v>0.57699999999999996</c:v>
                </c:pt>
                <c:pt idx="578">
                  <c:v>0.57799999999999996</c:v>
                </c:pt>
                <c:pt idx="579">
                  <c:v>0.57899999999999996</c:v>
                </c:pt>
                <c:pt idx="580">
                  <c:v>0.57999999999999996</c:v>
                </c:pt>
                <c:pt idx="581">
                  <c:v>0.58099999999999996</c:v>
                </c:pt>
                <c:pt idx="582">
                  <c:v>0.58199999999999996</c:v>
                </c:pt>
                <c:pt idx="583">
                  <c:v>0.58299999999999996</c:v>
                </c:pt>
                <c:pt idx="584">
                  <c:v>0.58399999999999996</c:v>
                </c:pt>
                <c:pt idx="585">
                  <c:v>0.58499999999999996</c:v>
                </c:pt>
                <c:pt idx="586">
                  <c:v>0.58599999999999997</c:v>
                </c:pt>
                <c:pt idx="587">
                  <c:v>0.58699999999999997</c:v>
                </c:pt>
                <c:pt idx="588">
                  <c:v>0.58799999999999997</c:v>
                </c:pt>
                <c:pt idx="589">
                  <c:v>0.58899999999999997</c:v>
                </c:pt>
                <c:pt idx="590">
                  <c:v>0.59</c:v>
                </c:pt>
                <c:pt idx="591">
                  <c:v>0.59099999999999997</c:v>
                </c:pt>
                <c:pt idx="592">
                  <c:v>0.59199999999999997</c:v>
                </c:pt>
                <c:pt idx="593">
                  <c:v>0.59299999999999997</c:v>
                </c:pt>
                <c:pt idx="594">
                  <c:v>0.59399999999999997</c:v>
                </c:pt>
                <c:pt idx="595">
                  <c:v>0.59499999999999997</c:v>
                </c:pt>
                <c:pt idx="596">
                  <c:v>0.59599999999999997</c:v>
                </c:pt>
                <c:pt idx="597">
                  <c:v>0.59699999999999998</c:v>
                </c:pt>
                <c:pt idx="598">
                  <c:v>0.59799999999999998</c:v>
                </c:pt>
                <c:pt idx="599">
                  <c:v>0.59899999999999998</c:v>
                </c:pt>
                <c:pt idx="600">
                  <c:v>0.6</c:v>
                </c:pt>
                <c:pt idx="601">
                  <c:v>0.60099999999999998</c:v>
                </c:pt>
                <c:pt idx="602">
                  <c:v>0.60199999999999998</c:v>
                </c:pt>
                <c:pt idx="603">
                  <c:v>0.60299999999999998</c:v>
                </c:pt>
                <c:pt idx="604">
                  <c:v>0.60399999999999998</c:v>
                </c:pt>
                <c:pt idx="605">
                  <c:v>0.60499999999999998</c:v>
                </c:pt>
                <c:pt idx="606">
                  <c:v>0.60599999999999998</c:v>
                </c:pt>
                <c:pt idx="607">
                  <c:v>0.60699999999999998</c:v>
                </c:pt>
                <c:pt idx="608">
                  <c:v>0.60799999999999998</c:v>
                </c:pt>
                <c:pt idx="609">
                  <c:v>0.60899999999999999</c:v>
                </c:pt>
                <c:pt idx="610">
                  <c:v>0.61</c:v>
                </c:pt>
                <c:pt idx="611">
                  <c:v>0.61099999999999999</c:v>
                </c:pt>
                <c:pt idx="612">
                  <c:v>0.61199999999999999</c:v>
                </c:pt>
                <c:pt idx="613">
                  <c:v>0.61299999999999999</c:v>
                </c:pt>
                <c:pt idx="614">
                  <c:v>0.61399999999999999</c:v>
                </c:pt>
                <c:pt idx="615">
                  <c:v>0.61499999999999999</c:v>
                </c:pt>
                <c:pt idx="616">
                  <c:v>0.61599999999999999</c:v>
                </c:pt>
                <c:pt idx="617">
                  <c:v>0.61699999999999999</c:v>
                </c:pt>
                <c:pt idx="618">
                  <c:v>0.61799999999999999</c:v>
                </c:pt>
                <c:pt idx="619">
                  <c:v>0.61899999999999999</c:v>
                </c:pt>
                <c:pt idx="620">
                  <c:v>0.62</c:v>
                </c:pt>
                <c:pt idx="621">
                  <c:v>0.621</c:v>
                </c:pt>
                <c:pt idx="622">
                  <c:v>0.622</c:v>
                </c:pt>
                <c:pt idx="623">
                  <c:v>0.623</c:v>
                </c:pt>
                <c:pt idx="624">
                  <c:v>0.624</c:v>
                </c:pt>
                <c:pt idx="625">
                  <c:v>0.625</c:v>
                </c:pt>
                <c:pt idx="626">
                  <c:v>0.626</c:v>
                </c:pt>
                <c:pt idx="627">
                  <c:v>0.627</c:v>
                </c:pt>
                <c:pt idx="628">
                  <c:v>0.628</c:v>
                </c:pt>
                <c:pt idx="629">
                  <c:v>0.629</c:v>
                </c:pt>
                <c:pt idx="630">
                  <c:v>0.63</c:v>
                </c:pt>
                <c:pt idx="631">
                  <c:v>0.63100000000000001</c:v>
                </c:pt>
                <c:pt idx="632">
                  <c:v>0.63200000000000001</c:v>
                </c:pt>
                <c:pt idx="633">
                  <c:v>0.63300000000000001</c:v>
                </c:pt>
                <c:pt idx="634">
                  <c:v>0.63400000000000001</c:v>
                </c:pt>
                <c:pt idx="635">
                  <c:v>0.63500000000000001</c:v>
                </c:pt>
                <c:pt idx="636">
                  <c:v>0.63600000000000001</c:v>
                </c:pt>
                <c:pt idx="637">
                  <c:v>0.63700000000000001</c:v>
                </c:pt>
                <c:pt idx="638">
                  <c:v>0.63800000000000001</c:v>
                </c:pt>
                <c:pt idx="639">
                  <c:v>0.63900000000000001</c:v>
                </c:pt>
                <c:pt idx="640">
                  <c:v>0.64</c:v>
                </c:pt>
                <c:pt idx="641">
                  <c:v>0.64100000000000001</c:v>
                </c:pt>
                <c:pt idx="642">
                  <c:v>0.64200000000000002</c:v>
                </c:pt>
                <c:pt idx="643">
                  <c:v>0.64300000000000002</c:v>
                </c:pt>
                <c:pt idx="644">
                  <c:v>0.64400000000000002</c:v>
                </c:pt>
                <c:pt idx="645">
                  <c:v>0.64500000000000002</c:v>
                </c:pt>
                <c:pt idx="646">
                  <c:v>0.64600000000000002</c:v>
                </c:pt>
                <c:pt idx="647">
                  <c:v>0.64700000000000002</c:v>
                </c:pt>
                <c:pt idx="648">
                  <c:v>0.64800000000000002</c:v>
                </c:pt>
                <c:pt idx="649">
                  <c:v>0.64900000000000002</c:v>
                </c:pt>
                <c:pt idx="650">
                  <c:v>0.65</c:v>
                </c:pt>
                <c:pt idx="651">
                  <c:v>0.65100000000000002</c:v>
                </c:pt>
                <c:pt idx="652">
                  <c:v>0.65200000000000002</c:v>
                </c:pt>
                <c:pt idx="653">
                  <c:v>0.65300000000000002</c:v>
                </c:pt>
                <c:pt idx="654">
                  <c:v>0.65400000000000003</c:v>
                </c:pt>
                <c:pt idx="655">
                  <c:v>0.65500000000000003</c:v>
                </c:pt>
                <c:pt idx="656">
                  <c:v>0.65600000000000003</c:v>
                </c:pt>
                <c:pt idx="657">
                  <c:v>0.65700000000000003</c:v>
                </c:pt>
                <c:pt idx="658">
                  <c:v>0.65800000000000003</c:v>
                </c:pt>
                <c:pt idx="659">
                  <c:v>0.65900000000000003</c:v>
                </c:pt>
                <c:pt idx="660">
                  <c:v>0.66</c:v>
                </c:pt>
                <c:pt idx="661">
                  <c:v>0.66100000000000003</c:v>
                </c:pt>
                <c:pt idx="662">
                  <c:v>0.66200000000000003</c:v>
                </c:pt>
                <c:pt idx="663">
                  <c:v>0.66300000000000003</c:v>
                </c:pt>
                <c:pt idx="664">
                  <c:v>0.66400000000000003</c:v>
                </c:pt>
                <c:pt idx="665">
                  <c:v>0.66500000000000004</c:v>
                </c:pt>
                <c:pt idx="666">
                  <c:v>0.66600000000000004</c:v>
                </c:pt>
                <c:pt idx="667">
                  <c:v>0.66700000000000004</c:v>
                </c:pt>
                <c:pt idx="668">
                  <c:v>0.66800000000000004</c:v>
                </c:pt>
                <c:pt idx="669">
                  <c:v>0.66900000000000004</c:v>
                </c:pt>
                <c:pt idx="670">
                  <c:v>0.67</c:v>
                </c:pt>
                <c:pt idx="671">
                  <c:v>0.67100000000000004</c:v>
                </c:pt>
                <c:pt idx="672">
                  <c:v>0.67200000000000004</c:v>
                </c:pt>
                <c:pt idx="673">
                  <c:v>0.67300000000000004</c:v>
                </c:pt>
                <c:pt idx="674">
                  <c:v>0.67400000000000004</c:v>
                </c:pt>
                <c:pt idx="675">
                  <c:v>0.67500000000000004</c:v>
                </c:pt>
                <c:pt idx="676">
                  <c:v>0.67600000000000005</c:v>
                </c:pt>
                <c:pt idx="677">
                  <c:v>0.67700000000000005</c:v>
                </c:pt>
                <c:pt idx="678">
                  <c:v>0.67800000000000005</c:v>
                </c:pt>
                <c:pt idx="679">
                  <c:v>0.67900000000000005</c:v>
                </c:pt>
                <c:pt idx="680">
                  <c:v>0.68</c:v>
                </c:pt>
                <c:pt idx="681">
                  <c:v>0.68100000000000005</c:v>
                </c:pt>
                <c:pt idx="682">
                  <c:v>0.68200000000000005</c:v>
                </c:pt>
                <c:pt idx="683">
                  <c:v>0.68300000000000005</c:v>
                </c:pt>
                <c:pt idx="684">
                  <c:v>0.68400000000000005</c:v>
                </c:pt>
                <c:pt idx="685">
                  <c:v>0.68500000000000005</c:v>
                </c:pt>
                <c:pt idx="686">
                  <c:v>0.68600000000000005</c:v>
                </c:pt>
                <c:pt idx="687">
                  <c:v>0.68700000000000006</c:v>
                </c:pt>
                <c:pt idx="688">
                  <c:v>0.68799999999999994</c:v>
                </c:pt>
                <c:pt idx="689">
                  <c:v>0.68899999999999995</c:v>
                </c:pt>
                <c:pt idx="690">
                  <c:v>0.69</c:v>
                </c:pt>
                <c:pt idx="691">
                  <c:v>0.69099999999999995</c:v>
                </c:pt>
                <c:pt idx="692">
                  <c:v>0.69199999999999995</c:v>
                </c:pt>
                <c:pt idx="693">
                  <c:v>0.69299999999999995</c:v>
                </c:pt>
                <c:pt idx="694">
                  <c:v>0.69399999999999995</c:v>
                </c:pt>
                <c:pt idx="695">
                  <c:v>0.69499999999999995</c:v>
                </c:pt>
                <c:pt idx="696">
                  <c:v>0.69599999999999995</c:v>
                </c:pt>
                <c:pt idx="697">
                  <c:v>0.69699999999999995</c:v>
                </c:pt>
                <c:pt idx="698">
                  <c:v>0.69799999999999995</c:v>
                </c:pt>
                <c:pt idx="699">
                  <c:v>0.69899999999999995</c:v>
                </c:pt>
                <c:pt idx="700">
                  <c:v>0.7</c:v>
                </c:pt>
                <c:pt idx="701">
                  <c:v>0.70099999999999996</c:v>
                </c:pt>
                <c:pt idx="702">
                  <c:v>0.70199999999999996</c:v>
                </c:pt>
                <c:pt idx="703">
                  <c:v>0.70299999999999996</c:v>
                </c:pt>
                <c:pt idx="704">
                  <c:v>0.70399999999999996</c:v>
                </c:pt>
                <c:pt idx="705">
                  <c:v>0.70499999999999996</c:v>
                </c:pt>
                <c:pt idx="706">
                  <c:v>0.70599999999999996</c:v>
                </c:pt>
                <c:pt idx="707">
                  <c:v>0.70699999999999996</c:v>
                </c:pt>
                <c:pt idx="708">
                  <c:v>0.70799999999999996</c:v>
                </c:pt>
                <c:pt idx="709">
                  <c:v>0.70899999999999996</c:v>
                </c:pt>
                <c:pt idx="710">
                  <c:v>0.71</c:v>
                </c:pt>
                <c:pt idx="711">
                  <c:v>0.71099999999999997</c:v>
                </c:pt>
                <c:pt idx="712">
                  <c:v>0.71199999999999997</c:v>
                </c:pt>
                <c:pt idx="713">
                  <c:v>0.71299999999999997</c:v>
                </c:pt>
                <c:pt idx="714">
                  <c:v>0.71399999999999997</c:v>
                </c:pt>
                <c:pt idx="715">
                  <c:v>0.71499999999999997</c:v>
                </c:pt>
                <c:pt idx="716">
                  <c:v>0.71599999999999997</c:v>
                </c:pt>
                <c:pt idx="717">
                  <c:v>0.71699999999999997</c:v>
                </c:pt>
                <c:pt idx="718">
                  <c:v>0.71799999999999997</c:v>
                </c:pt>
                <c:pt idx="719">
                  <c:v>0.71899999999999997</c:v>
                </c:pt>
                <c:pt idx="720">
                  <c:v>0.72</c:v>
                </c:pt>
                <c:pt idx="721">
                  <c:v>0.72099999999999997</c:v>
                </c:pt>
                <c:pt idx="722">
                  <c:v>0.72199999999999998</c:v>
                </c:pt>
                <c:pt idx="723">
                  <c:v>0.72299999999999998</c:v>
                </c:pt>
                <c:pt idx="724">
                  <c:v>0.72399999999999998</c:v>
                </c:pt>
                <c:pt idx="725">
                  <c:v>0.72499999999999998</c:v>
                </c:pt>
                <c:pt idx="726">
                  <c:v>0.72599999999999998</c:v>
                </c:pt>
                <c:pt idx="727">
                  <c:v>0.72699999999999998</c:v>
                </c:pt>
                <c:pt idx="728">
                  <c:v>0.72799999999999998</c:v>
                </c:pt>
                <c:pt idx="729">
                  <c:v>0.72899999999999998</c:v>
                </c:pt>
                <c:pt idx="730">
                  <c:v>0.73</c:v>
                </c:pt>
                <c:pt idx="731">
                  <c:v>0.73099999999999998</c:v>
                </c:pt>
                <c:pt idx="732">
                  <c:v>0.73199999999999998</c:v>
                </c:pt>
                <c:pt idx="733">
                  <c:v>0.73299999999999998</c:v>
                </c:pt>
                <c:pt idx="734">
                  <c:v>0.73399999999999999</c:v>
                </c:pt>
                <c:pt idx="735">
                  <c:v>0.73499999999999999</c:v>
                </c:pt>
                <c:pt idx="736">
                  <c:v>0.73599999999999999</c:v>
                </c:pt>
                <c:pt idx="737">
                  <c:v>0.73699999999999999</c:v>
                </c:pt>
                <c:pt idx="738">
                  <c:v>0.73799999999999999</c:v>
                </c:pt>
                <c:pt idx="739">
                  <c:v>0.73899999999999999</c:v>
                </c:pt>
                <c:pt idx="740">
                  <c:v>0.74</c:v>
                </c:pt>
                <c:pt idx="741">
                  <c:v>0.74099999999999999</c:v>
                </c:pt>
                <c:pt idx="742">
                  <c:v>0.74199999999999999</c:v>
                </c:pt>
                <c:pt idx="743">
                  <c:v>0.74299999999999999</c:v>
                </c:pt>
                <c:pt idx="744">
                  <c:v>0.74399999999999999</c:v>
                </c:pt>
                <c:pt idx="745">
                  <c:v>0.745</c:v>
                </c:pt>
                <c:pt idx="746">
                  <c:v>0.746</c:v>
                </c:pt>
                <c:pt idx="747">
                  <c:v>0.747</c:v>
                </c:pt>
                <c:pt idx="748">
                  <c:v>0.748</c:v>
                </c:pt>
                <c:pt idx="749">
                  <c:v>0.749</c:v>
                </c:pt>
                <c:pt idx="750">
                  <c:v>0.75</c:v>
                </c:pt>
                <c:pt idx="751">
                  <c:v>0.751</c:v>
                </c:pt>
                <c:pt idx="752">
                  <c:v>0.752</c:v>
                </c:pt>
                <c:pt idx="753">
                  <c:v>0.753</c:v>
                </c:pt>
                <c:pt idx="754">
                  <c:v>0.754</c:v>
                </c:pt>
                <c:pt idx="755">
                  <c:v>0.755</c:v>
                </c:pt>
                <c:pt idx="756">
                  <c:v>0.75600000000000001</c:v>
                </c:pt>
                <c:pt idx="757">
                  <c:v>0.75700000000000001</c:v>
                </c:pt>
                <c:pt idx="758">
                  <c:v>0.75800000000000001</c:v>
                </c:pt>
                <c:pt idx="759">
                  <c:v>0.75900000000000001</c:v>
                </c:pt>
                <c:pt idx="760">
                  <c:v>0.76</c:v>
                </c:pt>
                <c:pt idx="761">
                  <c:v>0.76100000000000001</c:v>
                </c:pt>
                <c:pt idx="762">
                  <c:v>0.76200000000000001</c:v>
                </c:pt>
                <c:pt idx="763">
                  <c:v>0.76300000000000001</c:v>
                </c:pt>
                <c:pt idx="764">
                  <c:v>0.76400000000000001</c:v>
                </c:pt>
                <c:pt idx="765">
                  <c:v>0.76500000000000001</c:v>
                </c:pt>
                <c:pt idx="766">
                  <c:v>0.76600000000000001</c:v>
                </c:pt>
                <c:pt idx="767">
                  <c:v>0.76700000000000002</c:v>
                </c:pt>
                <c:pt idx="768">
                  <c:v>0.76800000000000002</c:v>
                </c:pt>
                <c:pt idx="769">
                  <c:v>0.76900000000000002</c:v>
                </c:pt>
                <c:pt idx="770">
                  <c:v>0.77</c:v>
                </c:pt>
                <c:pt idx="771">
                  <c:v>0.77100000000000002</c:v>
                </c:pt>
                <c:pt idx="772">
                  <c:v>0.77200000000000002</c:v>
                </c:pt>
                <c:pt idx="773">
                  <c:v>0.77300000000000002</c:v>
                </c:pt>
                <c:pt idx="774">
                  <c:v>0.77400000000000002</c:v>
                </c:pt>
                <c:pt idx="775">
                  <c:v>0.77500000000000002</c:v>
                </c:pt>
                <c:pt idx="776">
                  <c:v>0.77600000000000002</c:v>
                </c:pt>
                <c:pt idx="777">
                  <c:v>0.77700000000000002</c:v>
                </c:pt>
                <c:pt idx="778">
                  <c:v>0.77800000000000002</c:v>
                </c:pt>
                <c:pt idx="779">
                  <c:v>0.77900000000000003</c:v>
                </c:pt>
                <c:pt idx="780">
                  <c:v>0.78</c:v>
                </c:pt>
                <c:pt idx="781">
                  <c:v>0.78100000000000003</c:v>
                </c:pt>
                <c:pt idx="782">
                  <c:v>0.78200000000000003</c:v>
                </c:pt>
                <c:pt idx="783">
                  <c:v>0.78300000000000003</c:v>
                </c:pt>
                <c:pt idx="784">
                  <c:v>0.78400000000000003</c:v>
                </c:pt>
                <c:pt idx="785">
                  <c:v>0.78500000000000003</c:v>
                </c:pt>
                <c:pt idx="786">
                  <c:v>0.78600000000000003</c:v>
                </c:pt>
                <c:pt idx="787">
                  <c:v>0.78700000000000003</c:v>
                </c:pt>
                <c:pt idx="788">
                  <c:v>0.78800000000000003</c:v>
                </c:pt>
                <c:pt idx="789">
                  <c:v>0.78900000000000003</c:v>
                </c:pt>
                <c:pt idx="790">
                  <c:v>0.79</c:v>
                </c:pt>
                <c:pt idx="791">
                  <c:v>0.79100000000000004</c:v>
                </c:pt>
                <c:pt idx="792">
                  <c:v>0.79200000000000004</c:v>
                </c:pt>
                <c:pt idx="793">
                  <c:v>0.79300000000000004</c:v>
                </c:pt>
                <c:pt idx="794">
                  <c:v>0.79400000000000004</c:v>
                </c:pt>
                <c:pt idx="795">
                  <c:v>0.79500000000000004</c:v>
                </c:pt>
                <c:pt idx="796">
                  <c:v>0.79600000000000004</c:v>
                </c:pt>
                <c:pt idx="797">
                  <c:v>0.79700000000000004</c:v>
                </c:pt>
                <c:pt idx="798">
                  <c:v>0.79800000000000004</c:v>
                </c:pt>
                <c:pt idx="799">
                  <c:v>0.79900000000000004</c:v>
                </c:pt>
                <c:pt idx="800">
                  <c:v>0.8</c:v>
                </c:pt>
                <c:pt idx="801">
                  <c:v>0.80100000000000005</c:v>
                </c:pt>
                <c:pt idx="802">
                  <c:v>0.80200000000000005</c:v>
                </c:pt>
                <c:pt idx="803">
                  <c:v>0.80300000000000005</c:v>
                </c:pt>
                <c:pt idx="804">
                  <c:v>0.80400000000000005</c:v>
                </c:pt>
                <c:pt idx="805">
                  <c:v>0.80500000000000005</c:v>
                </c:pt>
                <c:pt idx="806">
                  <c:v>0.80600000000000005</c:v>
                </c:pt>
                <c:pt idx="807">
                  <c:v>0.80700000000000005</c:v>
                </c:pt>
                <c:pt idx="808">
                  <c:v>0.80800000000000005</c:v>
                </c:pt>
                <c:pt idx="809">
                  <c:v>0.80900000000000005</c:v>
                </c:pt>
                <c:pt idx="810">
                  <c:v>0.81</c:v>
                </c:pt>
                <c:pt idx="811">
                  <c:v>0.81100000000000005</c:v>
                </c:pt>
                <c:pt idx="812">
                  <c:v>0.81200000000000006</c:v>
                </c:pt>
                <c:pt idx="813">
                  <c:v>0.81299999999999994</c:v>
                </c:pt>
                <c:pt idx="814">
                  <c:v>0.81399999999999995</c:v>
                </c:pt>
                <c:pt idx="815">
                  <c:v>0.81499999999999995</c:v>
                </c:pt>
                <c:pt idx="816">
                  <c:v>0.81599999999999995</c:v>
                </c:pt>
                <c:pt idx="817">
                  <c:v>0.81699999999999995</c:v>
                </c:pt>
                <c:pt idx="818">
                  <c:v>0.81799999999999995</c:v>
                </c:pt>
                <c:pt idx="819">
                  <c:v>0.81899999999999995</c:v>
                </c:pt>
                <c:pt idx="820">
                  <c:v>0.82</c:v>
                </c:pt>
                <c:pt idx="821">
                  <c:v>0.82099999999999995</c:v>
                </c:pt>
                <c:pt idx="822">
                  <c:v>0.82199999999999995</c:v>
                </c:pt>
                <c:pt idx="823">
                  <c:v>0.82299999999999995</c:v>
                </c:pt>
                <c:pt idx="824">
                  <c:v>0.82399999999999995</c:v>
                </c:pt>
                <c:pt idx="825">
                  <c:v>0.82499999999999996</c:v>
                </c:pt>
                <c:pt idx="826">
                  <c:v>0.82599999999999996</c:v>
                </c:pt>
                <c:pt idx="827">
                  <c:v>0.82699999999999996</c:v>
                </c:pt>
                <c:pt idx="828">
                  <c:v>0.82799999999999996</c:v>
                </c:pt>
                <c:pt idx="829">
                  <c:v>0.82899999999999996</c:v>
                </c:pt>
                <c:pt idx="830">
                  <c:v>0.83</c:v>
                </c:pt>
                <c:pt idx="831">
                  <c:v>0.83099999999999996</c:v>
                </c:pt>
                <c:pt idx="832">
                  <c:v>0.83199999999999996</c:v>
                </c:pt>
                <c:pt idx="833">
                  <c:v>0.83299999999999996</c:v>
                </c:pt>
                <c:pt idx="834">
                  <c:v>0.83399999999999996</c:v>
                </c:pt>
                <c:pt idx="835">
                  <c:v>0.83499999999999996</c:v>
                </c:pt>
                <c:pt idx="836">
                  <c:v>0.83599999999999997</c:v>
                </c:pt>
                <c:pt idx="837">
                  <c:v>0.83699999999999997</c:v>
                </c:pt>
                <c:pt idx="838">
                  <c:v>0.83799999999999997</c:v>
                </c:pt>
                <c:pt idx="839">
                  <c:v>0.83899999999999997</c:v>
                </c:pt>
                <c:pt idx="840">
                  <c:v>0.84</c:v>
                </c:pt>
                <c:pt idx="841">
                  <c:v>0.84099999999999997</c:v>
                </c:pt>
                <c:pt idx="842">
                  <c:v>0.84199999999999997</c:v>
                </c:pt>
                <c:pt idx="843">
                  <c:v>0.84299999999999997</c:v>
                </c:pt>
                <c:pt idx="844">
                  <c:v>0.84399999999999997</c:v>
                </c:pt>
                <c:pt idx="845">
                  <c:v>0.84499999999999997</c:v>
                </c:pt>
                <c:pt idx="846">
                  <c:v>0.84599999999999997</c:v>
                </c:pt>
                <c:pt idx="847">
                  <c:v>0.84699999999999998</c:v>
                </c:pt>
                <c:pt idx="848">
                  <c:v>0.84799999999999998</c:v>
                </c:pt>
                <c:pt idx="849">
                  <c:v>0.84899999999999998</c:v>
                </c:pt>
                <c:pt idx="850">
                  <c:v>0.85</c:v>
                </c:pt>
                <c:pt idx="851">
                  <c:v>0.85099999999999998</c:v>
                </c:pt>
                <c:pt idx="852">
                  <c:v>0.85199999999999998</c:v>
                </c:pt>
                <c:pt idx="853">
                  <c:v>0.85299999999999998</c:v>
                </c:pt>
                <c:pt idx="854">
                  <c:v>0.85399999999999998</c:v>
                </c:pt>
                <c:pt idx="855">
                  <c:v>0.85499999999999998</c:v>
                </c:pt>
                <c:pt idx="856">
                  <c:v>0.85599999999999998</c:v>
                </c:pt>
                <c:pt idx="857">
                  <c:v>0.85699999999999998</c:v>
                </c:pt>
                <c:pt idx="858">
                  <c:v>0.85799999999999998</c:v>
                </c:pt>
                <c:pt idx="859">
                  <c:v>0.85899999999999999</c:v>
                </c:pt>
                <c:pt idx="860">
                  <c:v>0.86</c:v>
                </c:pt>
                <c:pt idx="861">
                  <c:v>0.86099999999999999</c:v>
                </c:pt>
                <c:pt idx="862">
                  <c:v>0.86199999999999999</c:v>
                </c:pt>
                <c:pt idx="863">
                  <c:v>0.86299999999999999</c:v>
                </c:pt>
                <c:pt idx="864">
                  <c:v>0.86399999999999999</c:v>
                </c:pt>
                <c:pt idx="865">
                  <c:v>0.86499999999999999</c:v>
                </c:pt>
                <c:pt idx="866">
                  <c:v>0.86599999999999999</c:v>
                </c:pt>
                <c:pt idx="867">
                  <c:v>0.86699999999999999</c:v>
                </c:pt>
                <c:pt idx="868">
                  <c:v>0.86799999999999999</c:v>
                </c:pt>
                <c:pt idx="869">
                  <c:v>0.86899999999999999</c:v>
                </c:pt>
                <c:pt idx="870">
                  <c:v>0.87</c:v>
                </c:pt>
                <c:pt idx="871">
                  <c:v>0.871</c:v>
                </c:pt>
                <c:pt idx="872">
                  <c:v>0.872</c:v>
                </c:pt>
                <c:pt idx="873">
                  <c:v>0.873</c:v>
                </c:pt>
                <c:pt idx="874">
                  <c:v>0.874</c:v>
                </c:pt>
                <c:pt idx="875">
                  <c:v>0.875</c:v>
                </c:pt>
                <c:pt idx="876">
                  <c:v>0.876</c:v>
                </c:pt>
                <c:pt idx="877">
                  <c:v>0.877</c:v>
                </c:pt>
                <c:pt idx="878">
                  <c:v>0.878</c:v>
                </c:pt>
                <c:pt idx="879">
                  <c:v>0.879</c:v>
                </c:pt>
                <c:pt idx="880">
                  <c:v>0.88</c:v>
                </c:pt>
                <c:pt idx="881">
                  <c:v>0.88100000000000001</c:v>
                </c:pt>
                <c:pt idx="882">
                  <c:v>0.88200000000000001</c:v>
                </c:pt>
                <c:pt idx="883">
                  <c:v>0.88300000000000001</c:v>
                </c:pt>
                <c:pt idx="884">
                  <c:v>0.88400000000000001</c:v>
                </c:pt>
                <c:pt idx="885">
                  <c:v>0.88500000000000001</c:v>
                </c:pt>
                <c:pt idx="886">
                  <c:v>0.88600000000000001</c:v>
                </c:pt>
                <c:pt idx="887">
                  <c:v>0.88700000000000001</c:v>
                </c:pt>
                <c:pt idx="888">
                  <c:v>0.88800000000000001</c:v>
                </c:pt>
                <c:pt idx="889">
                  <c:v>0.88900000000000001</c:v>
                </c:pt>
                <c:pt idx="890">
                  <c:v>0.89</c:v>
                </c:pt>
                <c:pt idx="891">
                  <c:v>0.89100000000000001</c:v>
                </c:pt>
                <c:pt idx="892">
                  <c:v>0.89200000000000002</c:v>
                </c:pt>
                <c:pt idx="893">
                  <c:v>0.89300000000000002</c:v>
                </c:pt>
                <c:pt idx="894">
                  <c:v>0.89400000000000002</c:v>
                </c:pt>
                <c:pt idx="895">
                  <c:v>0.89500000000000002</c:v>
                </c:pt>
                <c:pt idx="896">
                  <c:v>0.89600000000000002</c:v>
                </c:pt>
                <c:pt idx="897">
                  <c:v>0.89700000000000002</c:v>
                </c:pt>
                <c:pt idx="898">
                  <c:v>0.89800000000000002</c:v>
                </c:pt>
                <c:pt idx="899">
                  <c:v>0.89900000000000002</c:v>
                </c:pt>
                <c:pt idx="900">
                  <c:v>0.9</c:v>
                </c:pt>
                <c:pt idx="901">
                  <c:v>0.90100000000000002</c:v>
                </c:pt>
                <c:pt idx="902">
                  <c:v>0.90200000000000002</c:v>
                </c:pt>
                <c:pt idx="903">
                  <c:v>0.90300000000000002</c:v>
                </c:pt>
                <c:pt idx="904">
                  <c:v>0.90400000000000003</c:v>
                </c:pt>
                <c:pt idx="905">
                  <c:v>0.90500000000000003</c:v>
                </c:pt>
                <c:pt idx="906">
                  <c:v>0.90600000000000003</c:v>
                </c:pt>
                <c:pt idx="907">
                  <c:v>0.90700000000000003</c:v>
                </c:pt>
                <c:pt idx="908">
                  <c:v>0.90800000000000003</c:v>
                </c:pt>
                <c:pt idx="909">
                  <c:v>0.90900000000000003</c:v>
                </c:pt>
                <c:pt idx="910">
                  <c:v>0.91</c:v>
                </c:pt>
                <c:pt idx="911">
                  <c:v>0.91100000000000003</c:v>
                </c:pt>
                <c:pt idx="912">
                  <c:v>0.91200000000000003</c:v>
                </c:pt>
                <c:pt idx="913">
                  <c:v>0.91300000000000003</c:v>
                </c:pt>
                <c:pt idx="914">
                  <c:v>0.91400000000000003</c:v>
                </c:pt>
                <c:pt idx="915">
                  <c:v>0.91500000000000004</c:v>
                </c:pt>
                <c:pt idx="916">
                  <c:v>0.91600000000000004</c:v>
                </c:pt>
                <c:pt idx="917">
                  <c:v>0.91700000000000004</c:v>
                </c:pt>
                <c:pt idx="918">
                  <c:v>0.91800000000000004</c:v>
                </c:pt>
                <c:pt idx="919">
                  <c:v>0.91900000000000004</c:v>
                </c:pt>
                <c:pt idx="920">
                  <c:v>0.92</c:v>
                </c:pt>
                <c:pt idx="921">
                  <c:v>0.92100000000000004</c:v>
                </c:pt>
                <c:pt idx="922">
                  <c:v>0.92200000000000004</c:v>
                </c:pt>
                <c:pt idx="923">
                  <c:v>0.92300000000000004</c:v>
                </c:pt>
                <c:pt idx="924">
                  <c:v>0.92400000000000004</c:v>
                </c:pt>
                <c:pt idx="925">
                  <c:v>0.92500000000000004</c:v>
                </c:pt>
                <c:pt idx="926">
                  <c:v>0.92600000000000005</c:v>
                </c:pt>
                <c:pt idx="927">
                  <c:v>0.92700000000000005</c:v>
                </c:pt>
                <c:pt idx="928">
                  <c:v>0.92800000000000005</c:v>
                </c:pt>
                <c:pt idx="929">
                  <c:v>0.92900000000000005</c:v>
                </c:pt>
                <c:pt idx="930">
                  <c:v>0.93</c:v>
                </c:pt>
                <c:pt idx="931">
                  <c:v>0.93100000000000005</c:v>
                </c:pt>
                <c:pt idx="932">
                  <c:v>0.93200000000000005</c:v>
                </c:pt>
                <c:pt idx="933">
                  <c:v>0.93300000000000005</c:v>
                </c:pt>
                <c:pt idx="934">
                  <c:v>0.93400000000000005</c:v>
                </c:pt>
                <c:pt idx="935">
                  <c:v>0.93500000000000005</c:v>
                </c:pt>
                <c:pt idx="936">
                  <c:v>0.93600000000000005</c:v>
                </c:pt>
                <c:pt idx="937">
                  <c:v>0.93700000000000006</c:v>
                </c:pt>
                <c:pt idx="938">
                  <c:v>0.93799999999999994</c:v>
                </c:pt>
                <c:pt idx="939">
                  <c:v>0.93899999999999995</c:v>
                </c:pt>
                <c:pt idx="940">
                  <c:v>0.94</c:v>
                </c:pt>
                <c:pt idx="941">
                  <c:v>0.94099999999999995</c:v>
                </c:pt>
                <c:pt idx="942">
                  <c:v>0.94199999999999995</c:v>
                </c:pt>
                <c:pt idx="943">
                  <c:v>0.94299999999999995</c:v>
                </c:pt>
                <c:pt idx="944">
                  <c:v>0.94399999999999995</c:v>
                </c:pt>
                <c:pt idx="945">
                  <c:v>0.94499999999999995</c:v>
                </c:pt>
                <c:pt idx="946">
                  <c:v>0.94599999999999995</c:v>
                </c:pt>
                <c:pt idx="947">
                  <c:v>0.94699999999999995</c:v>
                </c:pt>
                <c:pt idx="948">
                  <c:v>0.94799999999999995</c:v>
                </c:pt>
                <c:pt idx="949">
                  <c:v>0.94899999999999995</c:v>
                </c:pt>
                <c:pt idx="950">
                  <c:v>0.95</c:v>
                </c:pt>
                <c:pt idx="951">
                  <c:v>0.95099999999999996</c:v>
                </c:pt>
                <c:pt idx="952">
                  <c:v>0.95199999999999996</c:v>
                </c:pt>
                <c:pt idx="953">
                  <c:v>0.95299999999999996</c:v>
                </c:pt>
                <c:pt idx="954">
                  <c:v>0.95399999999999996</c:v>
                </c:pt>
                <c:pt idx="955">
                  <c:v>0.95499999999999996</c:v>
                </c:pt>
                <c:pt idx="956">
                  <c:v>0.95599999999999996</c:v>
                </c:pt>
                <c:pt idx="957">
                  <c:v>0.95699999999999996</c:v>
                </c:pt>
                <c:pt idx="958">
                  <c:v>0.95799999999999996</c:v>
                </c:pt>
                <c:pt idx="959">
                  <c:v>0.95899999999999996</c:v>
                </c:pt>
                <c:pt idx="960">
                  <c:v>0.96</c:v>
                </c:pt>
                <c:pt idx="961">
                  <c:v>0.96099999999999997</c:v>
                </c:pt>
                <c:pt idx="962">
                  <c:v>0.96199999999999997</c:v>
                </c:pt>
                <c:pt idx="963">
                  <c:v>0.96299999999999997</c:v>
                </c:pt>
                <c:pt idx="964">
                  <c:v>0.96399999999999997</c:v>
                </c:pt>
                <c:pt idx="965">
                  <c:v>0.96499999999999997</c:v>
                </c:pt>
                <c:pt idx="966">
                  <c:v>0.96599999999999997</c:v>
                </c:pt>
                <c:pt idx="967">
                  <c:v>0.96699999999999997</c:v>
                </c:pt>
                <c:pt idx="968">
                  <c:v>0.96799999999999997</c:v>
                </c:pt>
                <c:pt idx="969">
                  <c:v>0.96899999999999997</c:v>
                </c:pt>
                <c:pt idx="970">
                  <c:v>0.97</c:v>
                </c:pt>
                <c:pt idx="971">
                  <c:v>0.97099999999999997</c:v>
                </c:pt>
                <c:pt idx="972">
                  <c:v>0.97199999999999998</c:v>
                </c:pt>
                <c:pt idx="973">
                  <c:v>0.97299999999999998</c:v>
                </c:pt>
                <c:pt idx="974">
                  <c:v>0.97399999999999998</c:v>
                </c:pt>
                <c:pt idx="975">
                  <c:v>0.97499999999999998</c:v>
                </c:pt>
                <c:pt idx="976">
                  <c:v>0.97599999999999998</c:v>
                </c:pt>
                <c:pt idx="977">
                  <c:v>0.97699999999999998</c:v>
                </c:pt>
                <c:pt idx="978">
                  <c:v>0.97799999999999998</c:v>
                </c:pt>
                <c:pt idx="979">
                  <c:v>0.97899999999999998</c:v>
                </c:pt>
                <c:pt idx="980">
                  <c:v>0.98</c:v>
                </c:pt>
                <c:pt idx="981">
                  <c:v>0.98099999999999998</c:v>
                </c:pt>
                <c:pt idx="982">
                  <c:v>0.98199999999999998</c:v>
                </c:pt>
                <c:pt idx="983">
                  <c:v>0.98299999999999998</c:v>
                </c:pt>
                <c:pt idx="984">
                  <c:v>0.98399999999999999</c:v>
                </c:pt>
                <c:pt idx="985">
                  <c:v>0.98499999999999999</c:v>
                </c:pt>
                <c:pt idx="986">
                  <c:v>0.98599999999999999</c:v>
                </c:pt>
                <c:pt idx="987">
                  <c:v>0.98699999999999999</c:v>
                </c:pt>
                <c:pt idx="988">
                  <c:v>0.98799999999999999</c:v>
                </c:pt>
                <c:pt idx="989">
                  <c:v>0.98899999999999999</c:v>
                </c:pt>
                <c:pt idx="990">
                  <c:v>0.99</c:v>
                </c:pt>
                <c:pt idx="991">
                  <c:v>0.99099999999999999</c:v>
                </c:pt>
                <c:pt idx="992">
                  <c:v>0.99199999999999999</c:v>
                </c:pt>
                <c:pt idx="993">
                  <c:v>0.99299999999999999</c:v>
                </c:pt>
                <c:pt idx="994">
                  <c:v>0.99399999999999999</c:v>
                </c:pt>
                <c:pt idx="995">
                  <c:v>0.995</c:v>
                </c:pt>
                <c:pt idx="996">
                  <c:v>0.996</c:v>
                </c:pt>
                <c:pt idx="997">
                  <c:v>0.997</c:v>
                </c:pt>
                <c:pt idx="998">
                  <c:v>0.998</c:v>
                </c:pt>
                <c:pt idx="999">
                  <c:v>0.999</c:v>
                </c:pt>
                <c:pt idx="1000">
                  <c:v>1</c:v>
                </c:pt>
                <c:pt idx="1001">
                  <c:v>1.0009999999999999</c:v>
                </c:pt>
                <c:pt idx="1002">
                  <c:v>1.002</c:v>
                </c:pt>
                <c:pt idx="1003">
                  <c:v>1.0029999999999999</c:v>
                </c:pt>
                <c:pt idx="1004">
                  <c:v>1.004</c:v>
                </c:pt>
                <c:pt idx="1005">
                  <c:v>1.0049999999999999</c:v>
                </c:pt>
                <c:pt idx="1006">
                  <c:v>1.006</c:v>
                </c:pt>
                <c:pt idx="1007">
                  <c:v>1.0069999999999999</c:v>
                </c:pt>
                <c:pt idx="1008">
                  <c:v>1.008</c:v>
                </c:pt>
                <c:pt idx="1009">
                  <c:v>1.0089999999999999</c:v>
                </c:pt>
                <c:pt idx="1010">
                  <c:v>1.01</c:v>
                </c:pt>
                <c:pt idx="1011">
                  <c:v>1.0109999999999999</c:v>
                </c:pt>
                <c:pt idx="1012">
                  <c:v>1.012</c:v>
                </c:pt>
                <c:pt idx="1013">
                  <c:v>1.0129999999999999</c:v>
                </c:pt>
                <c:pt idx="1014">
                  <c:v>1.014</c:v>
                </c:pt>
                <c:pt idx="1015">
                  <c:v>1.0149999999999999</c:v>
                </c:pt>
                <c:pt idx="1016">
                  <c:v>1.016</c:v>
                </c:pt>
                <c:pt idx="1017">
                  <c:v>1.0169999999999999</c:v>
                </c:pt>
                <c:pt idx="1018">
                  <c:v>1.018</c:v>
                </c:pt>
                <c:pt idx="1019">
                  <c:v>1.0189999999999999</c:v>
                </c:pt>
                <c:pt idx="1020">
                  <c:v>1.02</c:v>
                </c:pt>
                <c:pt idx="1021">
                  <c:v>1.0209999999999999</c:v>
                </c:pt>
                <c:pt idx="1022">
                  <c:v>1.022</c:v>
                </c:pt>
                <c:pt idx="1023">
                  <c:v>1.0229999999999999</c:v>
                </c:pt>
                <c:pt idx="1024">
                  <c:v>1.024</c:v>
                </c:pt>
                <c:pt idx="1025">
                  <c:v>1.0249999999999999</c:v>
                </c:pt>
                <c:pt idx="1026">
                  <c:v>1.026</c:v>
                </c:pt>
                <c:pt idx="1027">
                  <c:v>1.0269999999999999</c:v>
                </c:pt>
                <c:pt idx="1028">
                  <c:v>1.028</c:v>
                </c:pt>
                <c:pt idx="1029">
                  <c:v>1.0289999999999999</c:v>
                </c:pt>
                <c:pt idx="1030">
                  <c:v>1.03</c:v>
                </c:pt>
                <c:pt idx="1031">
                  <c:v>1.0309999999999999</c:v>
                </c:pt>
                <c:pt idx="1032">
                  <c:v>1.032</c:v>
                </c:pt>
                <c:pt idx="1033">
                  <c:v>1.0329999999999999</c:v>
                </c:pt>
                <c:pt idx="1034">
                  <c:v>1.034</c:v>
                </c:pt>
                <c:pt idx="1035">
                  <c:v>1.0349999999999999</c:v>
                </c:pt>
                <c:pt idx="1036">
                  <c:v>1.036</c:v>
                </c:pt>
                <c:pt idx="1037">
                  <c:v>1.0369999999999999</c:v>
                </c:pt>
                <c:pt idx="1038">
                  <c:v>1.038</c:v>
                </c:pt>
                <c:pt idx="1039">
                  <c:v>1.0389999999999999</c:v>
                </c:pt>
                <c:pt idx="1040">
                  <c:v>1.04</c:v>
                </c:pt>
                <c:pt idx="1041">
                  <c:v>1.0409999999999999</c:v>
                </c:pt>
                <c:pt idx="1042">
                  <c:v>1.042</c:v>
                </c:pt>
                <c:pt idx="1043">
                  <c:v>1.0429999999999999</c:v>
                </c:pt>
                <c:pt idx="1044">
                  <c:v>1.044</c:v>
                </c:pt>
                <c:pt idx="1045">
                  <c:v>1.0449999999999999</c:v>
                </c:pt>
                <c:pt idx="1046">
                  <c:v>1.046</c:v>
                </c:pt>
                <c:pt idx="1047">
                  <c:v>1.0469999999999999</c:v>
                </c:pt>
                <c:pt idx="1048">
                  <c:v>1.048</c:v>
                </c:pt>
                <c:pt idx="1049">
                  <c:v>1.0489999999999999</c:v>
                </c:pt>
                <c:pt idx="1050">
                  <c:v>1.05</c:v>
                </c:pt>
                <c:pt idx="1051">
                  <c:v>1.0509999999999999</c:v>
                </c:pt>
                <c:pt idx="1052">
                  <c:v>1.052</c:v>
                </c:pt>
                <c:pt idx="1053">
                  <c:v>1.0529999999999999</c:v>
                </c:pt>
                <c:pt idx="1054">
                  <c:v>1.054</c:v>
                </c:pt>
                <c:pt idx="1055">
                  <c:v>1.0549999999999999</c:v>
                </c:pt>
                <c:pt idx="1056">
                  <c:v>1.056</c:v>
                </c:pt>
                <c:pt idx="1057">
                  <c:v>1.0569999999999999</c:v>
                </c:pt>
                <c:pt idx="1058">
                  <c:v>1.0580000000000001</c:v>
                </c:pt>
                <c:pt idx="1059">
                  <c:v>1.0589999999999999</c:v>
                </c:pt>
                <c:pt idx="1060">
                  <c:v>1.06</c:v>
                </c:pt>
                <c:pt idx="1061">
                  <c:v>1.0609999999999999</c:v>
                </c:pt>
                <c:pt idx="1062">
                  <c:v>1.0620000000000001</c:v>
                </c:pt>
                <c:pt idx="1063">
                  <c:v>1.0629999999999999</c:v>
                </c:pt>
                <c:pt idx="1064">
                  <c:v>1.0640000000000001</c:v>
                </c:pt>
                <c:pt idx="1065">
                  <c:v>1.0649999999999999</c:v>
                </c:pt>
                <c:pt idx="1066">
                  <c:v>1.0660000000000001</c:v>
                </c:pt>
                <c:pt idx="1067">
                  <c:v>1.0669999999999999</c:v>
                </c:pt>
                <c:pt idx="1068">
                  <c:v>1.0680000000000001</c:v>
                </c:pt>
                <c:pt idx="1069">
                  <c:v>1.069</c:v>
                </c:pt>
                <c:pt idx="1070">
                  <c:v>1.07</c:v>
                </c:pt>
                <c:pt idx="1071">
                  <c:v>1.071</c:v>
                </c:pt>
                <c:pt idx="1072">
                  <c:v>1.0720000000000001</c:v>
                </c:pt>
                <c:pt idx="1073">
                  <c:v>1.073</c:v>
                </c:pt>
                <c:pt idx="1074">
                  <c:v>1.0740000000000001</c:v>
                </c:pt>
                <c:pt idx="1075">
                  <c:v>1.075</c:v>
                </c:pt>
                <c:pt idx="1076">
                  <c:v>1.0760000000000001</c:v>
                </c:pt>
                <c:pt idx="1077">
                  <c:v>1.077</c:v>
                </c:pt>
                <c:pt idx="1078">
                  <c:v>1.0780000000000001</c:v>
                </c:pt>
                <c:pt idx="1079">
                  <c:v>1.079</c:v>
                </c:pt>
                <c:pt idx="1080">
                  <c:v>1.08</c:v>
                </c:pt>
                <c:pt idx="1081">
                  <c:v>1.081</c:v>
                </c:pt>
                <c:pt idx="1082">
                  <c:v>1.0820000000000001</c:v>
                </c:pt>
                <c:pt idx="1083">
                  <c:v>1.083</c:v>
                </c:pt>
                <c:pt idx="1084">
                  <c:v>1.0840000000000001</c:v>
                </c:pt>
                <c:pt idx="1085">
                  <c:v>1.085</c:v>
                </c:pt>
                <c:pt idx="1086">
                  <c:v>1.0860000000000001</c:v>
                </c:pt>
                <c:pt idx="1087">
                  <c:v>1.087</c:v>
                </c:pt>
                <c:pt idx="1088">
                  <c:v>1.0880000000000001</c:v>
                </c:pt>
                <c:pt idx="1089">
                  <c:v>1.089</c:v>
                </c:pt>
                <c:pt idx="1090">
                  <c:v>1.0900000000000001</c:v>
                </c:pt>
                <c:pt idx="1091">
                  <c:v>1.091</c:v>
                </c:pt>
                <c:pt idx="1092">
                  <c:v>1.0920000000000001</c:v>
                </c:pt>
                <c:pt idx="1093">
                  <c:v>1.093</c:v>
                </c:pt>
                <c:pt idx="1094">
                  <c:v>1.0940000000000001</c:v>
                </c:pt>
                <c:pt idx="1095">
                  <c:v>1.095</c:v>
                </c:pt>
                <c:pt idx="1096">
                  <c:v>1.0960000000000001</c:v>
                </c:pt>
                <c:pt idx="1097">
                  <c:v>1.097</c:v>
                </c:pt>
                <c:pt idx="1098">
                  <c:v>1.0980000000000001</c:v>
                </c:pt>
                <c:pt idx="1099">
                  <c:v>1.099</c:v>
                </c:pt>
                <c:pt idx="1100">
                  <c:v>1.1000000000000001</c:v>
                </c:pt>
                <c:pt idx="1101">
                  <c:v>1.101</c:v>
                </c:pt>
                <c:pt idx="1102">
                  <c:v>1.1020000000000001</c:v>
                </c:pt>
                <c:pt idx="1103">
                  <c:v>1.103</c:v>
                </c:pt>
                <c:pt idx="1104">
                  <c:v>1.1040000000000001</c:v>
                </c:pt>
                <c:pt idx="1105">
                  <c:v>1.105</c:v>
                </c:pt>
                <c:pt idx="1106">
                  <c:v>1.1060000000000001</c:v>
                </c:pt>
                <c:pt idx="1107">
                  <c:v>1.107</c:v>
                </c:pt>
                <c:pt idx="1108">
                  <c:v>1.1080000000000001</c:v>
                </c:pt>
                <c:pt idx="1109">
                  <c:v>1.109</c:v>
                </c:pt>
                <c:pt idx="1110">
                  <c:v>1.1100000000000001</c:v>
                </c:pt>
                <c:pt idx="1111">
                  <c:v>1.111</c:v>
                </c:pt>
                <c:pt idx="1112">
                  <c:v>1.1120000000000001</c:v>
                </c:pt>
                <c:pt idx="1113">
                  <c:v>1.113</c:v>
                </c:pt>
                <c:pt idx="1114">
                  <c:v>1.1140000000000001</c:v>
                </c:pt>
                <c:pt idx="1115">
                  <c:v>1.115</c:v>
                </c:pt>
                <c:pt idx="1116">
                  <c:v>1.1160000000000001</c:v>
                </c:pt>
                <c:pt idx="1117">
                  <c:v>1.117</c:v>
                </c:pt>
                <c:pt idx="1118">
                  <c:v>1.1180000000000001</c:v>
                </c:pt>
                <c:pt idx="1119">
                  <c:v>1.119</c:v>
                </c:pt>
                <c:pt idx="1120">
                  <c:v>1.1200000000000001</c:v>
                </c:pt>
                <c:pt idx="1121">
                  <c:v>1.121</c:v>
                </c:pt>
                <c:pt idx="1122">
                  <c:v>1.1220000000000001</c:v>
                </c:pt>
                <c:pt idx="1123">
                  <c:v>1.123</c:v>
                </c:pt>
                <c:pt idx="1124">
                  <c:v>1.1240000000000001</c:v>
                </c:pt>
                <c:pt idx="1125">
                  <c:v>1.125</c:v>
                </c:pt>
                <c:pt idx="1126">
                  <c:v>1.1259999999999999</c:v>
                </c:pt>
                <c:pt idx="1127">
                  <c:v>1.127</c:v>
                </c:pt>
                <c:pt idx="1128">
                  <c:v>1.1279999999999999</c:v>
                </c:pt>
                <c:pt idx="1129">
                  <c:v>1.129</c:v>
                </c:pt>
                <c:pt idx="1130">
                  <c:v>1.1299999999999999</c:v>
                </c:pt>
                <c:pt idx="1131">
                  <c:v>1.131</c:v>
                </c:pt>
                <c:pt idx="1132">
                  <c:v>1.1319999999999999</c:v>
                </c:pt>
                <c:pt idx="1133">
                  <c:v>1.133</c:v>
                </c:pt>
                <c:pt idx="1134">
                  <c:v>1.1339999999999999</c:v>
                </c:pt>
                <c:pt idx="1135">
                  <c:v>1.135</c:v>
                </c:pt>
                <c:pt idx="1136">
                  <c:v>1.1359999999999999</c:v>
                </c:pt>
                <c:pt idx="1137">
                  <c:v>1.137</c:v>
                </c:pt>
                <c:pt idx="1138">
                  <c:v>1.1379999999999999</c:v>
                </c:pt>
                <c:pt idx="1139">
                  <c:v>1.139</c:v>
                </c:pt>
                <c:pt idx="1140">
                  <c:v>1.1399999999999999</c:v>
                </c:pt>
                <c:pt idx="1141">
                  <c:v>1.141</c:v>
                </c:pt>
                <c:pt idx="1142">
                  <c:v>1.1419999999999999</c:v>
                </c:pt>
                <c:pt idx="1143">
                  <c:v>1.143</c:v>
                </c:pt>
                <c:pt idx="1144">
                  <c:v>1.1439999999999999</c:v>
                </c:pt>
                <c:pt idx="1145">
                  <c:v>1.145</c:v>
                </c:pt>
                <c:pt idx="1146">
                  <c:v>1.1459999999999999</c:v>
                </c:pt>
                <c:pt idx="1147">
                  <c:v>1.147</c:v>
                </c:pt>
                <c:pt idx="1148">
                  <c:v>1.1479999999999999</c:v>
                </c:pt>
                <c:pt idx="1149">
                  <c:v>1.149</c:v>
                </c:pt>
                <c:pt idx="1150">
                  <c:v>1.1499999999999999</c:v>
                </c:pt>
                <c:pt idx="1151">
                  <c:v>1.151</c:v>
                </c:pt>
                <c:pt idx="1152">
                  <c:v>1.1519999999999999</c:v>
                </c:pt>
                <c:pt idx="1153">
                  <c:v>1.153</c:v>
                </c:pt>
                <c:pt idx="1154">
                  <c:v>1.1539999999999999</c:v>
                </c:pt>
                <c:pt idx="1155">
                  <c:v>1.155</c:v>
                </c:pt>
                <c:pt idx="1156">
                  <c:v>1.1559999999999999</c:v>
                </c:pt>
                <c:pt idx="1157">
                  <c:v>1.157</c:v>
                </c:pt>
                <c:pt idx="1158">
                  <c:v>1.1579999999999999</c:v>
                </c:pt>
                <c:pt idx="1159">
                  <c:v>1.159</c:v>
                </c:pt>
                <c:pt idx="1160">
                  <c:v>1.1599999999999999</c:v>
                </c:pt>
                <c:pt idx="1161">
                  <c:v>1.161</c:v>
                </c:pt>
                <c:pt idx="1162">
                  <c:v>1.1619999999999999</c:v>
                </c:pt>
                <c:pt idx="1163">
                  <c:v>1.163</c:v>
                </c:pt>
                <c:pt idx="1164">
                  <c:v>1.1639999999999999</c:v>
                </c:pt>
                <c:pt idx="1165">
                  <c:v>1.165</c:v>
                </c:pt>
                <c:pt idx="1166">
                  <c:v>1.1659999999999999</c:v>
                </c:pt>
                <c:pt idx="1167">
                  <c:v>1.167</c:v>
                </c:pt>
                <c:pt idx="1168">
                  <c:v>1.1679999999999999</c:v>
                </c:pt>
                <c:pt idx="1169">
                  <c:v>1.169</c:v>
                </c:pt>
                <c:pt idx="1170">
                  <c:v>1.17</c:v>
                </c:pt>
                <c:pt idx="1171">
                  <c:v>1.171</c:v>
                </c:pt>
                <c:pt idx="1172">
                  <c:v>1.1719999999999999</c:v>
                </c:pt>
                <c:pt idx="1173">
                  <c:v>1.173</c:v>
                </c:pt>
                <c:pt idx="1174">
                  <c:v>1.1739999999999999</c:v>
                </c:pt>
                <c:pt idx="1175">
                  <c:v>1.175</c:v>
                </c:pt>
                <c:pt idx="1176">
                  <c:v>1.1759999999999999</c:v>
                </c:pt>
                <c:pt idx="1177">
                  <c:v>1.177</c:v>
                </c:pt>
                <c:pt idx="1178">
                  <c:v>1.1779999999999999</c:v>
                </c:pt>
                <c:pt idx="1179">
                  <c:v>1.179</c:v>
                </c:pt>
                <c:pt idx="1180">
                  <c:v>1.18</c:v>
                </c:pt>
                <c:pt idx="1181">
                  <c:v>1.181</c:v>
                </c:pt>
                <c:pt idx="1182">
                  <c:v>1.1819999999999999</c:v>
                </c:pt>
                <c:pt idx="1183">
                  <c:v>1.1830000000000001</c:v>
                </c:pt>
                <c:pt idx="1184">
                  <c:v>1.1839999999999999</c:v>
                </c:pt>
                <c:pt idx="1185">
                  <c:v>1.1850000000000001</c:v>
                </c:pt>
                <c:pt idx="1186">
                  <c:v>1.1859999999999999</c:v>
                </c:pt>
                <c:pt idx="1187">
                  <c:v>1.1870000000000001</c:v>
                </c:pt>
                <c:pt idx="1188">
                  <c:v>1.1879999999999999</c:v>
                </c:pt>
                <c:pt idx="1189">
                  <c:v>1.1890000000000001</c:v>
                </c:pt>
                <c:pt idx="1190">
                  <c:v>1.19</c:v>
                </c:pt>
                <c:pt idx="1191">
                  <c:v>1.1910000000000001</c:v>
                </c:pt>
                <c:pt idx="1192">
                  <c:v>1.1919999999999999</c:v>
                </c:pt>
                <c:pt idx="1193">
                  <c:v>1.1930000000000001</c:v>
                </c:pt>
                <c:pt idx="1194">
                  <c:v>1.194</c:v>
                </c:pt>
                <c:pt idx="1195">
                  <c:v>1.1950000000000001</c:v>
                </c:pt>
                <c:pt idx="1196">
                  <c:v>1.196</c:v>
                </c:pt>
                <c:pt idx="1197">
                  <c:v>1.1970000000000001</c:v>
                </c:pt>
                <c:pt idx="1198">
                  <c:v>1.198</c:v>
                </c:pt>
                <c:pt idx="1199">
                  <c:v>1.1990000000000001</c:v>
                </c:pt>
                <c:pt idx="1200">
                  <c:v>1.2</c:v>
                </c:pt>
                <c:pt idx="1201">
                  <c:v>1.2010000000000001</c:v>
                </c:pt>
                <c:pt idx="1202">
                  <c:v>1.202</c:v>
                </c:pt>
                <c:pt idx="1203">
                  <c:v>1.2030000000000001</c:v>
                </c:pt>
                <c:pt idx="1204">
                  <c:v>1.204</c:v>
                </c:pt>
                <c:pt idx="1205">
                  <c:v>1.2050000000000001</c:v>
                </c:pt>
                <c:pt idx="1206">
                  <c:v>1.206</c:v>
                </c:pt>
                <c:pt idx="1207">
                  <c:v>1.2070000000000001</c:v>
                </c:pt>
                <c:pt idx="1208">
                  <c:v>1.208</c:v>
                </c:pt>
                <c:pt idx="1209">
                  <c:v>1.2090000000000001</c:v>
                </c:pt>
                <c:pt idx="1210">
                  <c:v>1.21</c:v>
                </c:pt>
                <c:pt idx="1211">
                  <c:v>1.2110000000000001</c:v>
                </c:pt>
                <c:pt idx="1212">
                  <c:v>1.212</c:v>
                </c:pt>
                <c:pt idx="1213">
                  <c:v>1.2130000000000001</c:v>
                </c:pt>
                <c:pt idx="1214">
                  <c:v>1.214</c:v>
                </c:pt>
                <c:pt idx="1215">
                  <c:v>1.2150000000000001</c:v>
                </c:pt>
                <c:pt idx="1216">
                  <c:v>1.216</c:v>
                </c:pt>
                <c:pt idx="1217">
                  <c:v>1.2170000000000001</c:v>
                </c:pt>
                <c:pt idx="1218">
                  <c:v>1.218</c:v>
                </c:pt>
                <c:pt idx="1219">
                  <c:v>1.2190000000000001</c:v>
                </c:pt>
                <c:pt idx="1220">
                  <c:v>1.22</c:v>
                </c:pt>
                <c:pt idx="1221">
                  <c:v>1.2210000000000001</c:v>
                </c:pt>
                <c:pt idx="1222">
                  <c:v>1.222</c:v>
                </c:pt>
                <c:pt idx="1223">
                  <c:v>1.2230000000000001</c:v>
                </c:pt>
                <c:pt idx="1224">
                  <c:v>1.224</c:v>
                </c:pt>
                <c:pt idx="1225">
                  <c:v>1.2250000000000001</c:v>
                </c:pt>
                <c:pt idx="1226">
                  <c:v>1.226</c:v>
                </c:pt>
                <c:pt idx="1227">
                  <c:v>1.2270000000000001</c:v>
                </c:pt>
                <c:pt idx="1228">
                  <c:v>1.228</c:v>
                </c:pt>
                <c:pt idx="1229">
                  <c:v>1.2290000000000001</c:v>
                </c:pt>
                <c:pt idx="1230">
                  <c:v>1.23</c:v>
                </c:pt>
                <c:pt idx="1231">
                  <c:v>1.2310000000000001</c:v>
                </c:pt>
                <c:pt idx="1232">
                  <c:v>1.232</c:v>
                </c:pt>
                <c:pt idx="1233">
                  <c:v>1.2330000000000001</c:v>
                </c:pt>
                <c:pt idx="1234">
                  <c:v>1.234</c:v>
                </c:pt>
                <c:pt idx="1235">
                  <c:v>1.2350000000000001</c:v>
                </c:pt>
                <c:pt idx="1236">
                  <c:v>1.236</c:v>
                </c:pt>
                <c:pt idx="1237">
                  <c:v>1.2370000000000001</c:v>
                </c:pt>
                <c:pt idx="1238">
                  <c:v>1.238</c:v>
                </c:pt>
                <c:pt idx="1239">
                  <c:v>1.2390000000000001</c:v>
                </c:pt>
                <c:pt idx="1240">
                  <c:v>1.24</c:v>
                </c:pt>
                <c:pt idx="1241">
                  <c:v>1.2410000000000001</c:v>
                </c:pt>
                <c:pt idx="1242">
                  <c:v>1.242</c:v>
                </c:pt>
                <c:pt idx="1243">
                  <c:v>1.2430000000000001</c:v>
                </c:pt>
                <c:pt idx="1244">
                  <c:v>1.244</c:v>
                </c:pt>
                <c:pt idx="1245">
                  <c:v>1.2450000000000001</c:v>
                </c:pt>
                <c:pt idx="1246">
                  <c:v>1.246</c:v>
                </c:pt>
                <c:pt idx="1247">
                  <c:v>1.2470000000000001</c:v>
                </c:pt>
                <c:pt idx="1248">
                  <c:v>1.248</c:v>
                </c:pt>
                <c:pt idx="1249">
                  <c:v>1.2490000000000001</c:v>
                </c:pt>
                <c:pt idx="1250">
                  <c:v>1.25</c:v>
                </c:pt>
                <c:pt idx="1251">
                  <c:v>1.2509999999999999</c:v>
                </c:pt>
                <c:pt idx="1252">
                  <c:v>1.252</c:v>
                </c:pt>
                <c:pt idx="1253">
                  <c:v>1.2529999999999999</c:v>
                </c:pt>
                <c:pt idx="1254">
                  <c:v>1.254</c:v>
                </c:pt>
                <c:pt idx="1255">
                  <c:v>1.2549999999999999</c:v>
                </c:pt>
                <c:pt idx="1256">
                  <c:v>1.256</c:v>
                </c:pt>
                <c:pt idx="1257">
                  <c:v>1.2569999999999999</c:v>
                </c:pt>
                <c:pt idx="1258">
                  <c:v>1.258</c:v>
                </c:pt>
                <c:pt idx="1259">
                  <c:v>1.2589999999999999</c:v>
                </c:pt>
                <c:pt idx="1260">
                  <c:v>1.26</c:v>
                </c:pt>
                <c:pt idx="1261">
                  <c:v>1.2609999999999999</c:v>
                </c:pt>
                <c:pt idx="1262">
                  <c:v>1.262</c:v>
                </c:pt>
                <c:pt idx="1263">
                  <c:v>1.2629999999999999</c:v>
                </c:pt>
                <c:pt idx="1264">
                  <c:v>1.264</c:v>
                </c:pt>
                <c:pt idx="1265">
                  <c:v>1.2649999999999999</c:v>
                </c:pt>
                <c:pt idx="1266">
                  <c:v>1.266</c:v>
                </c:pt>
                <c:pt idx="1267">
                  <c:v>1.2669999999999999</c:v>
                </c:pt>
                <c:pt idx="1268">
                  <c:v>1.268</c:v>
                </c:pt>
                <c:pt idx="1269">
                  <c:v>1.2689999999999999</c:v>
                </c:pt>
                <c:pt idx="1270">
                  <c:v>1.27</c:v>
                </c:pt>
                <c:pt idx="1271">
                  <c:v>1.2709999999999999</c:v>
                </c:pt>
                <c:pt idx="1272">
                  <c:v>1.272</c:v>
                </c:pt>
                <c:pt idx="1273">
                  <c:v>1.2729999999999999</c:v>
                </c:pt>
                <c:pt idx="1274">
                  <c:v>1.274</c:v>
                </c:pt>
                <c:pt idx="1275">
                  <c:v>1.2749999999999999</c:v>
                </c:pt>
                <c:pt idx="1276">
                  <c:v>1.276</c:v>
                </c:pt>
                <c:pt idx="1277">
                  <c:v>1.2769999999999999</c:v>
                </c:pt>
                <c:pt idx="1278">
                  <c:v>1.278</c:v>
                </c:pt>
                <c:pt idx="1279">
                  <c:v>1.2789999999999999</c:v>
                </c:pt>
                <c:pt idx="1280">
                  <c:v>1.28</c:v>
                </c:pt>
                <c:pt idx="1281">
                  <c:v>1.2809999999999999</c:v>
                </c:pt>
                <c:pt idx="1282">
                  <c:v>1.282</c:v>
                </c:pt>
                <c:pt idx="1283">
                  <c:v>1.2829999999999999</c:v>
                </c:pt>
                <c:pt idx="1284">
                  <c:v>1.284</c:v>
                </c:pt>
                <c:pt idx="1285">
                  <c:v>1.2849999999999999</c:v>
                </c:pt>
                <c:pt idx="1286">
                  <c:v>1.286</c:v>
                </c:pt>
                <c:pt idx="1287">
                  <c:v>1.2869999999999999</c:v>
                </c:pt>
                <c:pt idx="1288">
                  <c:v>1.288</c:v>
                </c:pt>
                <c:pt idx="1289">
                  <c:v>1.2889999999999999</c:v>
                </c:pt>
                <c:pt idx="1290">
                  <c:v>1.29</c:v>
                </c:pt>
                <c:pt idx="1291">
                  <c:v>1.2909999999999999</c:v>
                </c:pt>
                <c:pt idx="1292">
                  <c:v>1.292</c:v>
                </c:pt>
                <c:pt idx="1293">
                  <c:v>1.2929999999999999</c:v>
                </c:pt>
                <c:pt idx="1294">
                  <c:v>1.294</c:v>
                </c:pt>
                <c:pt idx="1295">
                  <c:v>1.2949999999999999</c:v>
                </c:pt>
                <c:pt idx="1296">
                  <c:v>1.296</c:v>
                </c:pt>
                <c:pt idx="1297">
                  <c:v>1.2969999999999999</c:v>
                </c:pt>
                <c:pt idx="1298">
                  <c:v>1.298</c:v>
                </c:pt>
                <c:pt idx="1299">
                  <c:v>1.2989999999999999</c:v>
                </c:pt>
                <c:pt idx="1300">
                  <c:v>1.3</c:v>
                </c:pt>
                <c:pt idx="1301">
                  <c:v>1.3009999999999999</c:v>
                </c:pt>
                <c:pt idx="1302">
                  <c:v>1.302</c:v>
                </c:pt>
                <c:pt idx="1303">
                  <c:v>1.3029999999999999</c:v>
                </c:pt>
                <c:pt idx="1304">
                  <c:v>1.304</c:v>
                </c:pt>
                <c:pt idx="1305">
                  <c:v>1.3049999999999999</c:v>
                </c:pt>
                <c:pt idx="1306">
                  <c:v>1.306</c:v>
                </c:pt>
                <c:pt idx="1307">
                  <c:v>1.3069999999999999</c:v>
                </c:pt>
                <c:pt idx="1308">
                  <c:v>1.3080000000000001</c:v>
                </c:pt>
                <c:pt idx="1309">
                  <c:v>1.3089999999999999</c:v>
                </c:pt>
                <c:pt idx="1310">
                  <c:v>1.31</c:v>
                </c:pt>
                <c:pt idx="1311">
                  <c:v>1.3109999999999999</c:v>
                </c:pt>
                <c:pt idx="1312">
                  <c:v>1.3120000000000001</c:v>
                </c:pt>
                <c:pt idx="1313">
                  <c:v>1.3129999999999999</c:v>
                </c:pt>
                <c:pt idx="1314">
                  <c:v>1.3140000000000001</c:v>
                </c:pt>
                <c:pt idx="1315">
                  <c:v>1.3149999999999999</c:v>
                </c:pt>
                <c:pt idx="1316">
                  <c:v>1.3160000000000001</c:v>
                </c:pt>
                <c:pt idx="1317">
                  <c:v>1.3169999999999999</c:v>
                </c:pt>
                <c:pt idx="1318">
                  <c:v>1.3180000000000001</c:v>
                </c:pt>
                <c:pt idx="1319">
                  <c:v>1.319</c:v>
                </c:pt>
                <c:pt idx="1320">
                  <c:v>1.32</c:v>
                </c:pt>
                <c:pt idx="1321">
                  <c:v>1.321</c:v>
                </c:pt>
                <c:pt idx="1322">
                  <c:v>1.3220000000000001</c:v>
                </c:pt>
                <c:pt idx="1323">
                  <c:v>1.323</c:v>
                </c:pt>
                <c:pt idx="1324">
                  <c:v>1.3240000000000001</c:v>
                </c:pt>
                <c:pt idx="1325">
                  <c:v>1.325</c:v>
                </c:pt>
                <c:pt idx="1326">
                  <c:v>1.3260000000000001</c:v>
                </c:pt>
                <c:pt idx="1327">
                  <c:v>1.327</c:v>
                </c:pt>
                <c:pt idx="1328">
                  <c:v>1.3280000000000001</c:v>
                </c:pt>
                <c:pt idx="1329">
                  <c:v>1.329</c:v>
                </c:pt>
                <c:pt idx="1330">
                  <c:v>1.33</c:v>
                </c:pt>
                <c:pt idx="1331">
                  <c:v>1.331</c:v>
                </c:pt>
                <c:pt idx="1332">
                  <c:v>1.3320000000000001</c:v>
                </c:pt>
                <c:pt idx="1333">
                  <c:v>1.333</c:v>
                </c:pt>
                <c:pt idx="1334">
                  <c:v>1.3340000000000001</c:v>
                </c:pt>
                <c:pt idx="1335">
                  <c:v>1.335</c:v>
                </c:pt>
                <c:pt idx="1336">
                  <c:v>1.3360000000000001</c:v>
                </c:pt>
                <c:pt idx="1337">
                  <c:v>1.337</c:v>
                </c:pt>
                <c:pt idx="1338">
                  <c:v>1.3380000000000001</c:v>
                </c:pt>
                <c:pt idx="1339">
                  <c:v>1.339</c:v>
                </c:pt>
                <c:pt idx="1340">
                  <c:v>1.34</c:v>
                </c:pt>
                <c:pt idx="1341">
                  <c:v>1.341</c:v>
                </c:pt>
                <c:pt idx="1342">
                  <c:v>1.3420000000000001</c:v>
                </c:pt>
                <c:pt idx="1343">
                  <c:v>1.343</c:v>
                </c:pt>
                <c:pt idx="1344">
                  <c:v>1.3440000000000001</c:v>
                </c:pt>
                <c:pt idx="1345">
                  <c:v>1.345</c:v>
                </c:pt>
                <c:pt idx="1346">
                  <c:v>1.3460000000000001</c:v>
                </c:pt>
                <c:pt idx="1347">
                  <c:v>1.347</c:v>
                </c:pt>
                <c:pt idx="1348">
                  <c:v>1.3480000000000001</c:v>
                </c:pt>
                <c:pt idx="1349">
                  <c:v>1.349</c:v>
                </c:pt>
                <c:pt idx="1350">
                  <c:v>1.35</c:v>
                </c:pt>
                <c:pt idx="1351">
                  <c:v>1.351</c:v>
                </c:pt>
                <c:pt idx="1352">
                  <c:v>1.3520000000000001</c:v>
                </c:pt>
                <c:pt idx="1353">
                  <c:v>1.353</c:v>
                </c:pt>
                <c:pt idx="1354">
                  <c:v>1.3540000000000001</c:v>
                </c:pt>
                <c:pt idx="1355">
                  <c:v>1.355</c:v>
                </c:pt>
                <c:pt idx="1356">
                  <c:v>1.3560000000000001</c:v>
                </c:pt>
                <c:pt idx="1357">
                  <c:v>1.357</c:v>
                </c:pt>
                <c:pt idx="1358">
                  <c:v>1.3580000000000001</c:v>
                </c:pt>
                <c:pt idx="1359">
                  <c:v>1.359</c:v>
                </c:pt>
                <c:pt idx="1360">
                  <c:v>1.36</c:v>
                </c:pt>
                <c:pt idx="1361">
                  <c:v>1.361</c:v>
                </c:pt>
                <c:pt idx="1362">
                  <c:v>1.3620000000000001</c:v>
                </c:pt>
                <c:pt idx="1363">
                  <c:v>1.363</c:v>
                </c:pt>
                <c:pt idx="1364">
                  <c:v>1.3640000000000001</c:v>
                </c:pt>
                <c:pt idx="1365">
                  <c:v>1.365</c:v>
                </c:pt>
                <c:pt idx="1366">
                  <c:v>1.3660000000000001</c:v>
                </c:pt>
                <c:pt idx="1367">
                  <c:v>1.367</c:v>
                </c:pt>
                <c:pt idx="1368">
                  <c:v>1.3680000000000001</c:v>
                </c:pt>
                <c:pt idx="1369">
                  <c:v>1.369</c:v>
                </c:pt>
                <c:pt idx="1370">
                  <c:v>1.37</c:v>
                </c:pt>
                <c:pt idx="1371">
                  <c:v>1.371</c:v>
                </c:pt>
                <c:pt idx="1372">
                  <c:v>1.3720000000000001</c:v>
                </c:pt>
                <c:pt idx="1373">
                  <c:v>1.373</c:v>
                </c:pt>
                <c:pt idx="1374">
                  <c:v>1.3740000000000001</c:v>
                </c:pt>
                <c:pt idx="1375">
                  <c:v>1.375</c:v>
                </c:pt>
                <c:pt idx="1376">
                  <c:v>1.3759999999999999</c:v>
                </c:pt>
                <c:pt idx="1377">
                  <c:v>1.377</c:v>
                </c:pt>
                <c:pt idx="1378">
                  <c:v>1.3779999999999999</c:v>
                </c:pt>
                <c:pt idx="1379">
                  <c:v>1.379</c:v>
                </c:pt>
                <c:pt idx="1380">
                  <c:v>1.38</c:v>
                </c:pt>
                <c:pt idx="1381">
                  <c:v>1.381</c:v>
                </c:pt>
                <c:pt idx="1382">
                  <c:v>1.3819999999999999</c:v>
                </c:pt>
                <c:pt idx="1383">
                  <c:v>1.383</c:v>
                </c:pt>
                <c:pt idx="1384">
                  <c:v>1.3839999999999999</c:v>
                </c:pt>
                <c:pt idx="1385">
                  <c:v>1.385</c:v>
                </c:pt>
                <c:pt idx="1386">
                  <c:v>1.3859999999999999</c:v>
                </c:pt>
                <c:pt idx="1387">
                  <c:v>1.387</c:v>
                </c:pt>
                <c:pt idx="1388">
                  <c:v>1.3879999999999999</c:v>
                </c:pt>
                <c:pt idx="1389">
                  <c:v>1.389</c:v>
                </c:pt>
                <c:pt idx="1390">
                  <c:v>1.39</c:v>
                </c:pt>
                <c:pt idx="1391">
                  <c:v>1.391</c:v>
                </c:pt>
                <c:pt idx="1392">
                  <c:v>1.3919999999999999</c:v>
                </c:pt>
                <c:pt idx="1393">
                  <c:v>1.393</c:v>
                </c:pt>
                <c:pt idx="1394">
                  <c:v>1.3939999999999999</c:v>
                </c:pt>
                <c:pt idx="1395">
                  <c:v>1.395</c:v>
                </c:pt>
                <c:pt idx="1396">
                  <c:v>1.3959999999999999</c:v>
                </c:pt>
                <c:pt idx="1397">
                  <c:v>1.397</c:v>
                </c:pt>
                <c:pt idx="1398">
                  <c:v>1.3979999999999999</c:v>
                </c:pt>
                <c:pt idx="1399">
                  <c:v>1.399</c:v>
                </c:pt>
                <c:pt idx="1400">
                  <c:v>1.4</c:v>
                </c:pt>
                <c:pt idx="1401">
                  <c:v>1.401</c:v>
                </c:pt>
                <c:pt idx="1402">
                  <c:v>1.4019999999999999</c:v>
                </c:pt>
                <c:pt idx="1403">
                  <c:v>1.403</c:v>
                </c:pt>
                <c:pt idx="1404">
                  <c:v>1.4039999999999999</c:v>
                </c:pt>
                <c:pt idx="1405">
                  <c:v>1.405</c:v>
                </c:pt>
                <c:pt idx="1406">
                  <c:v>1.4059999999999999</c:v>
                </c:pt>
                <c:pt idx="1407">
                  <c:v>1.407</c:v>
                </c:pt>
                <c:pt idx="1408">
                  <c:v>1.4079999999999999</c:v>
                </c:pt>
                <c:pt idx="1409">
                  <c:v>1.409</c:v>
                </c:pt>
                <c:pt idx="1410">
                  <c:v>1.41</c:v>
                </c:pt>
                <c:pt idx="1411">
                  <c:v>1.411</c:v>
                </c:pt>
                <c:pt idx="1412">
                  <c:v>1.4119999999999999</c:v>
                </c:pt>
                <c:pt idx="1413">
                  <c:v>1.413</c:v>
                </c:pt>
                <c:pt idx="1414">
                  <c:v>1.4139999999999999</c:v>
                </c:pt>
                <c:pt idx="1415">
                  <c:v>1.415</c:v>
                </c:pt>
                <c:pt idx="1416">
                  <c:v>1.4159999999999999</c:v>
                </c:pt>
                <c:pt idx="1417">
                  <c:v>1.417</c:v>
                </c:pt>
                <c:pt idx="1418">
                  <c:v>1.4179999999999999</c:v>
                </c:pt>
                <c:pt idx="1419">
                  <c:v>1.419</c:v>
                </c:pt>
                <c:pt idx="1420">
                  <c:v>1.42</c:v>
                </c:pt>
                <c:pt idx="1421">
                  <c:v>1.421</c:v>
                </c:pt>
                <c:pt idx="1422">
                  <c:v>1.4219999999999999</c:v>
                </c:pt>
                <c:pt idx="1423">
                  <c:v>1.423</c:v>
                </c:pt>
                <c:pt idx="1424">
                  <c:v>1.4239999999999999</c:v>
                </c:pt>
                <c:pt idx="1425">
                  <c:v>1.425</c:v>
                </c:pt>
                <c:pt idx="1426">
                  <c:v>1.4259999999999999</c:v>
                </c:pt>
                <c:pt idx="1427">
                  <c:v>1.427</c:v>
                </c:pt>
                <c:pt idx="1428">
                  <c:v>1.4279999999999999</c:v>
                </c:pt>
                <c:pt idx="1429">
                  <c:v>1.429</c:v>
                </c:pt>
                <c:pt idx="1430">
                  <c:v>1.43</c:v>
                </c:pt>
                <c:pt idx="1431">
                  <c:v>1.431</c:v>
                </c:pt>
                <c:pt idx="1432">
                  <c:v>1.4319999999999999</c:v>
                </c:pt>
                <c:pt idx="1433">
                  <c:v>1.4330000000000001</c:v>
                </c:pt>
                <c:pt idx="1434">
                  <c:v>1.4339999999999999</c:v>
                </c:pt>
                <c:pt idx="1435">
                  <c:v>1.4350000000000001</c:v>
                </c:pt>
                <c:pt idx="1436">
                  <c:v>1.4359999999999999</c:v>
                </c:pt>
                <c:pt idx="1437">
                  <c:v>1.4370000000000001</c:v>
                </c:pt>
                <c:pt idx="1438">
                  <c:v>1.4379999999999999</c:v>
                </c:pt>
                <c:pt idx="1439">
                  <c:v>1.4390000000000001</c:v>
                </c:pt>
                <c:pt idx="1440">
                  <c:v>1.44</c:v>
                </c:pt>
                <c:pt idx="1441">
                  <c:v>1.4410000000000001</c:v>
                </c:pt>
                <c:pt idx="1442">
                  <c:v>1.4419999999999999</c:v>
                </c:pt>
                <c:pt idx="1443">
                  <c:v>1.4430000000000001</c:v>
                </c:pt>
                <c:pt idx="1444">
                  <c:v>1.444</c:v>
                </c:pt>
                <c:pt idx="1445">
                  <c:v>1.4450000000000001</c:v>
                </c:pt>
                <c:pt idx="1446">
                  <c:v>1.446</c:v>
                </c:pt>
                <c:pt idx="1447">
                  <c:v>1.4470000000000001</c:v>
                </c:pt>
                <c:pt idx="1448">
                  <c:v>1.448</c:v>
                </c:pt>
                <c:pt idx="1449">
                  <c:v>1.4490000000000001</c:v>
                </c:pt>
                <c:pt idx="1450">
                  <c:v>1.45</c:v>
                </c:pt>
                <c:pt idx="1451">
                  <c:v>1.4510000000000001</c:v>
                </c:pt>
                <c:pt idx="1452">
                  <c:v>1.452</c:v>
                </c:pt>
                <c:pt idx="1453">
                  <c:v>1.4530000000000001</c:v>
                </c:pt>
                <c:pt idx="1454">
                  <c:v>1.454</c:v>
                </c:pt>
                <c:pt idx="1455">
                  <c:v>1.4550000000000001</c:v>
                </c:pt>
                <c:pt idx="1456">
                  <c:v>1.456</c:v>
                </c:pt>
                <c:pt idx="1457">
                  <c:v>1.4570000000000001</c:v>
                </c:pt>
                <c:pt idx="1458">
                  <c:v>1.458</c:v>
                </c:pt>
                <c:pt idx="1459">
                  <c:v>1.4590000000000001</c:v>
                </c:pt>
                <c:pt idx="1460">
                  <c:v>1.46</c:v>
                </c:pt>
                <c:pt idx="1461">
                  <c:v>1.4610000000000001</c:v>
                </c:pt>
                <c:pt idx="1462">
                  <c:v>1.462</c:v>
                </c:pt>
                <c:pt idx="1463">
                  <c:v>1.4630000000000001</c:v>
                </c:pt>
                <c:pt idx="1464">
                  <c:v>1.464</c:v>
                </c:pt>
                <c:pt idx="1465">
                  <c:v>1.4650000000000001</c:v>
                </c:pt>
                <c:pt idx="1466">
                  <c:v>1.466</c:v>
                </c:pt>
                <c:pt idx="1467">
                  <c:v>1.4670000000000001</c:v>
                </c:pt>
                <c:pt idx="1468">
                  <c:v>1.468</c:v>
                </c:pt>
                <c:pt idx="1469">
                  <c:v>1.4690000000000001</c:v>
                </c:pt>
                <c:pt idx="1470">
                  <c:v>1.47</c:v>
                </c:pt>
                <c:pt idx="1471">
                  <c:v>1.4710000000000001</c:v>
                </c:pt>
                <c:pt idx="1472">
                  <c:v>1.472</c:v>
                </c:pt>
                <c:pt idx="1473">
                  <c:v>1.4730000000000001</c:v>
                </c:pt>
                <c:pt idx="1474">
                  <c:v>1.474</c:v>
                </c:pt>
                <c:pt idx="1475">
                  <c:v>1.4750000000000001</c:v>
                </c:pt>
                <c:pt idx="1476">
                  <c:v>1.476</c:v>
                </c:pt>
                <c:pt idx="1477">
                  <c:v>1.4770000000000001</c:v>
                </c:pt>
                <c:pt idx="1478">
                  <c:v>1.478</c:v>
                </c:pt>
                <c:pt idx="1479">
                  <c:v>1.4790000000000001</c:v>
                </c:pt>
                <c:pt idx="1480">
                  <c:v>1.48</c:v>
                </c:pt>
                <c:pt idx="1481">
                  <c:v>1.4810000000000001</c:v>
                </c:pt>
                <c:pt idx="1482">
                  <c:v>1.482</c:v>
                </c:pt>
                <c:pt idx="1483">
                  <c:v>1.4830000000000001</c:v>
                </c:pt>
                <c:pt idx="1484">
                  <c:v>1.484</c:v>
                </c:pt>
                <c:pt idx="1485">
                  <c:v>1.4850000000000001</c:v>
                </c:pt>
                <c:pt idx="1486">
                  <c:v>1.486</c:v>
                </c:pt>
                <c:pt idx="1487">
                  <c:v>1.4870000000000001</c:v>
                </c:pt>
                <c:pt idx="1488">
                  <c:v>1.488</c:v>
                </c:pt>
                <c:pt idx="1489">
                  <c:v>1.4890000000000001</c:v>
                </c:pt>
                <c:pt idx="1490">
                  <c:v>1.49</c:v>
                </c:pt>
                <c:pt idx="1491">
                  <c:v>1.4910000000000001</c:v>
                </c:pt>
                <c:pt idx="1492">
                  <c:v>1.492</c:v>
                </c:pt>
                <c:pt idx="1493">
                  <c:v>1.4930000000000001</c:v>
                </c:pt>
                <c:pt idx="1494">
                  <c:v>1.494</c:v>
                </c:pt>
                <c:pt idx="1495">
                  <c:v>1.4950000000000001</c:v>
                </c:pt>
                <c:pt idx="1496">
                  <c:v>1.496</c:v>
                </c:pt>
                <c:pt idx="1497">
                  <c:v>1.4970000000000001</c:v>
                </c:pt>
                <c:pt idx="1498">
                  <c:v>1.498</c:v>
                </c:pt>
                <c:pt idx="1499">
                  <c:v>1.4990000000000001</c:v>
                </c:pt>
                <c:pt idx="1500">
                  <c:v>1.5</c:v>
                </c:pt>
                <c:pt idx="1501">
                  <c:v>1.5009999999999999</c:v>
                </c:pt>
                <c:pt idx="1502">
                  <c:v>1.502</c:v>
                </c:pt>
                <c:pt idx="1503">
                  <c:v>1.5029999999999999</c:v>
                </c:pt>
                <c:pt idx="1504">
                  <c:v>1.504</c:v>
                </c:pt>
                <c:pt idx="1505">
                  <c:v>1.5049999999999999</c:v>
                </c:pt>
                <c:pt idx="1506">
                  <c:v>1.506</c:v>
                </c:pt>
                <c:pt idx="1507">
                  <c:v>1.5069999999999999</c:v>
                </c:pt>
                <c:pt idx="1508">
                  <c:v>1.508</c:v>
                </c:pt>
                <c:pt idx="1509">
                  <c:v>1.5089999999999999</c:v>
                </c:pt>
                <c:pt idx="1510">
                  <c:v>1.51</c:v>
                </c:pt>
                <c:pt idx="1511">
                  <c:v>1.5109999999999999</c:v>
                </c:pt>
                <c:pt idx="1512">
                  <c:v>1.512</c:v>
                </c:pt>
                <c:pt idx="1513">
                  <c:v>1.5129999999999999</c:v>
                </c:pt>
                <c:pt idx="1514">
                  <c:v>1.514</c:v>
                </c:pt>
                <c:pt idx="1515">
                  <c:v>1.5149999999999999</c:v>
                </c:pt>
                <c:pt idx="1516">
                  <c:v>1.516</c:v>
                </c:pt>
                <c:pt idx="1517">
                  <c:v>1.5169999999999999</c:v>
                </c:pt>
                <c:pt idx="1518">
                  <c:v>1.518</c:v>
                </c:pt>
                <c:pt idx="1519">
                  <c:v>1.5189999999999999</c:v>
                </c:pt>
                <c:pt idx="1520">
                  <c:v>1.52</c:v>
                </c:pt>
                <c:pt idx="1521">
                  <c:v>1.5209999999999999</c:v>
                </c:pt>
                <c:pt idx="1522">
                  <c:v>1.522</c:v>
                </c:pt>
                <c:pt idx="1523">
                  <c:v>1.5229999999999999</c:v>
                </c:pt>
                <c:pt idx="1524">
                  <c:v>1.524</c:v>
                </c:pt>
                <c:pt idx="1525">
                  <c:v>1.5249999999999999</c:v>
                </c:pt>
                <c:pt idx="1526">
                  <c:v>1.526</c:v>
                </c:pt>
                <c:pt idx="1527">
                  <c:v>1.5269999999999999</c:v>
                </c:pt>
                <c:pt idx="1528">
                  <c:v>1.528</c:v>
                </c:pt>
                <c:pt idx="1529">
                  <c:v>1.5289999999999999</c:v>
                </c:pt>
                <c:pt idx="1530">
                  <c:v>1.53</c:v>
                </c:pt>
                <c:pt idx="1531">
                  <c:v>1.5309999999999999</c:v>
                </c:pt>
                <c:pt idx="1532">
                  <c:v>1.532</c:v>
                </c:pt>
                <c:pt idx="1533">
                  <c:v>1.5329999999999999</c:v>
                </c:pt>
                <c:pt idx="1534">
                  <c:v>1.534</c:v>
                </c:pt>
                <c:pt idx="1535">
                  <c:v>1.5349999999999999</c:v>
                </c:pt>
                <c:pt idx="1536">
                  <c:v>1.536</c:v>
                </c:pt>
                <c:pt idx="1537">
                  <c:v>1.5369999999999999</c:v>
                </c:pt>
                <c:pt idx="1538">
                  <c:v>1.538</c:v>
                </c:pt>
                <c:pt idx="1539">
                  <c:v>1.5389999999999999</c:v>
                </c:pt>
                <c:pt idx="1540">
                  <c:v>1.54</c:v>
                </c:pt>
                <c:pt idx="1541">
                  <c:v>1.5409999999999999</c:v>
                </c:pt>
                <c:pt idx="1542">
                  <c:v>1.542</c:v>
                </c:pt>
                <c:pt idx="1543">
                  <c:v>1.5429999999999999</c:v>
                </c:pt>
                <c:pt idx="1544">
                  <c:v>1.544</c:v>
                </c:pt>
                <c:pt idx="1545">
                  <c:v>1.5449999999999999</c:v>
                </c:pt>
                <c:pt idx="1546">
                  <c:v>1.546</c:v>
                </c:pt>
                <c:pt idx="1547">
                  <c:v>1.5469999999999999</c:v>
                </c:pt>
                <c:pt idx="1548">
                  <c:v>1.548</c:v>
                </c:pt>
                <c:pt idx="1549">
                  <c:v>1.5489999999999999</c:v>
                </c:pt>
                <c:pt idx="1550">
                  <c:v>1.55</c:v>
                </c:pt>
                <c:pt idx="1551">
                  <c:v>1.5509999999999999</c:v>
                </c:pt>
                <c:pt idx="1552">
                  <c:v>1.552</c:v>
                </c:pt>
                <c:pt idx="1553">
                  <c:v>1.5529999999999999</c:v>
                </c:pt>
                <c:pt idx="1554">
                  <c:v>1.554</c:v>
                </c:pt>
                <c:pt idx="1555">
                  <c:v>1.5549999999999999</c:v>
                </c:pt>
                <c:pt idx="1556">
                  <c:v>1.556</c:v>
                </c:pt>
                <c:pt idx="1557">
                  <c:v>1.5569999999999999</c:v>
                </c:pt>
                <c:pt idx="1558">
                  <c:v>1.5580000000000001</c:v>
                </c:pt>
                <c:pt idx="1559">
                  <c:v>1.5589999999999999</c:v>
                </c:pt>
                <c:pt idx="1560">
                  <c:v>1.56</c:v>
                </c:pt>
                <c:pt idx="1561">
                  <c:v>1.5609999999999999</c:v>
                </c:pt>
                <c:pt idx="1562">
                  <c:v>1.5620000000000001</c:v>
                </c:pt>
                <c:pt idx="1563">
                  <c:v>1.5629999999999999</c:v>
                </c:pt>
                <c:pt idx="1564">
                  <c:v>1.5640000000000001</c:v>
                </c:pt>
                <c:pt idx="1565">
                  <c:v>1.5649999999999999</c:v>
                </c:pt>
                <c:pt idx="1566">
                  <c:v>1.5660000000000001</c:v>
                </c:pt>
                <c:pt idx="1567">
                  <c:v>1.5669999999999999</c:v>
                </c:pt>
                <c:pt idx="1568">
                  <c:v>1.5680000000000001</c:v>
                </c:pt>
                <c:pt idx="1569">
                  <c:v>1.569</c:v>
                </c:pt>
                <c:pt idx="1570">
                  <c:v>1.57</c:v>
                </c:pt>
                <c:pt idx="1571">
                  <c:v>1.571</c:v>
                </c:pt>
                <c:pt idx="1572">
                  <c:v>1.5720000000000001</c:v>
                </c:pt>
                <c:pt idx="1573">
                  <c:v>1.573</c:v>
                </c:pt>
                <c:pt idx="1574">
                  <c:v>1.5740000000000001</c:v>
                </c:pt>
                <c:pt idx="1575">
                  <c:v>1.575</c:v>
                </c:pt>
                <c:pt idx="1576">
                  <c:v>1.5760000000000001</c:v>
                </c:pt>
                <c:pt idx="1577">
                  <c:v>1.577</c:v>
                </c:pt>
                <c:pt idx="1578">
                  <c:v>1.5780000000000001</c:v>
                </c:pt>
                <c:pt idx="1579">
                  <c:v>1.579</c:v>
                </c:pt>
                <c:pt idx="1580">
                  <c:v>1.58</c:v>
                </c:pt>
                <c:pt idx="1581">
                  <c:v>1.581</c:v>
                </c:pt>
                <c:pt idx="1582">
                  <c:v>1.5820000000000001</c:v>
                </c:pt>
                <c:pt idx="1583">
                  <c:v>1.583</c:v>
                </c:pt>
                <c:pt idx="1584">
                  <c:v>1.5840000000000001</c:v>
                </c:pt>
                <c:pt idx="1585">
                  <c:v>1.585</c:v>
                </c:pt>
                <c:pt idx="1586">
                  <c:v>1.5860000000000001</c:v>
                </c:pt>
                <c:pt idx="1587">
                  <c:v>1.587</c:v>
                </c:pt>
                <c:pt idx="1588">
                  <c:v>1.5880000000000001</c:v>
                </c:pt>
                <c:pt idx="1589">
                  <c:v>1.589</c:v>
                </c:pt>
                <c:pt idx="1590">
                  <c:v>1.59</c:v>
                </c:pt>
                <c:pt idx="1591">
                  <c:v>1.591</c:v>
                </c:pt>
                <c:pt idx="1592">
                  <c:v>1.5920000000000001</c:v>
                </c:pt>
                <c:pt idx="1593">
                  <c:v>1.593</c:v>
                </c:pt>
                <c:pt idx="1594">
                  <c:v>1.5940000000000001</c:v>
                </c:pt>
                <c:pt idx="1595">
                  <c:v>1.595</c:v>
                </c:pt>
                <c:pt idx="1596">
                  <c:v>1.5960000000000001</c:v>
                </c:pt>
                <c:pt idx="1597">
                  <c:v>1.597</c:v>
                </c:pt>
                <c:pt idx="1598">
                  <c:v>1.5980000000000001</c:v>
                </c:pt>
                <c:pt idx="1599">
                  <c:v>1.599</c:v>
                </c:pt>
                <c:pt idx="1600">
                  <c:v>1.6</c:v>
                </c:pt>
                <c:pt idx="1601">
                  <c:v>1.601</c:v>
                </c:pt>
                <c:pt idx="1602">
                  <c:v>1.6020000000000001</c:v>
                </c:pt>
                <c:pt idx="1603">
                  <c:v>1.603</c:v>
                </c:pt>
                <c:pt idx="1604">
                  <c:v>1.6040000000000001</c:v>
                </c:pt>
                <c:pt idx="1605">
                  <c:v>1.605</c:v>
                </c:pt>
                <c:pt idx="1606">
                  <c:v>1.6060000000000001</c:v>
                </c:pt>
                <c:pt idx="1607">
                  <c:v>1.607</c:v>
                </c:pt>
                <c:pt idx="1608">
                  <c:v>1.6080000000000001</c:v>
                </c:pt>
                <c:pt idx="1609">
                  <c:v>1.609</c:v>
                </c:pt>
                <c:pt idx="1610">
                  <c:v>1.61</c:v>
                </c:pt>
                <c:pt idx="1611">
                  <c:v>1.611</c:v>
                </c:pt>
                <c:pt idx="1612">
                  <c:v>1.6120000000000001</c:v>
                </c:pt>
                <c:pt idx="1613">
                  <c:v>1.613</c:v>
                </c:pt>
                <c:pt idx="1614">
                  <c:v>1.6140000000000001</c:v>
                </c:pt>
                <c:pt idx="1615">
                  <c:v>1.615</c:v>
                </c:pt>
                <c:pt idx="1616">
                  <c:v>1.6160000000000001</c:v>
                </c:pt>
                <c:pt idx="1617">
                  <c:v>1.617</c:v>
                </c:pt>
                <c:pt idx="1618">
                  <c:v>1.6180000000000001</c:v>
                </c:pt>
                <c:pt idx="1619">
                  <c:v>1.619</c:v>
                </c:pt>
                <c:pt idx="1620">
                  <c:v>1.62</c:v>
                </c:pt>
                <c:pt idx="1621">
                  <c:v>1.621</c:v>
                </c:pt>
                <c:pt idx="1622">
                  <c:v>1.6220000000000001</c:v>
                </c:pt>
                <c:pt idx="1623">
                  <c:v>1.623</c:v>
                </c:pt>
                <c:pt idx="1624">
                  <c:v>1.6240000000000001</c:v>
                </c:pt>
                <c:pt idx="1625">
                  <c:v>1.625</c:v>
                </c:pt>
                <c:pt idx="1626">
                  <c:v>1.6259999999999999</c:v>
                </c:pt>
                <c:pt idx="1627">
                  <c:v>1.627</c:v>
                </c:pt>
                <c:pt idx="1628">
                  <c:v>1.6279999999999999</c:v>
                </c:pt>
                <c:pt idx="1629">
                  <c:v>1.629</c:v>
                </c:pt>
                <c:pt idx="1630">
                  <c:v>1.63</c:v>
                </c:pt>
                <c:pt idx="1631">
                  <c:v>1.631</c:v>
                </c:pt>
                <c:pt idx="1632">
                  <c:v>1.6319999999999999</c:v>
                </c:pt>
                <c:pt idx="1633">
                  <c:v>1.633</c:v>
                </c:pt>
                <c:pt idx="1634">
                  <c:v>1.6339999999999999</c:v>
                </c:pt>
                <c:pt idx="1635">
                  <c:v>1.635</c:v>
                </c:pt>
                <c:pt idx="1636">
                  <c:v>1.6359999999999999</c:v>
                </c:pt>
                <c:pt idx="1637">
                  <c:v>1.637</c:v>
                </c:pt>
                <c:pt idx="1638">
                  <c:v>1.6379999999999999</c:v>
                </c:pt>
                <c:pt idx="1639">
                  <c:v>1.639</c:v>
                </c:pt>
                <c:pt idx="1640">
                  <c:v>1.64</c:v>
                </c:pt>
                <c:pt idx="1641">
                  <c:v>1.641</c:v>
                </c:pt>
                <c:pt idx="1642">
                  <c:v>1.6419999999999999</c:v>
                </c:pt>
                <c:pt idx="1643">
                  <c:v>1.643</c:v>
                </c:pt>
                <c:pt idx="1644">
                  <c:v>1.6439999999999999</c:v>
                </c:pt>
                <c:pt idx="1645">
                  <c:v>1.645</c:v>
                </c:pt>
                <c:pt idx="1646">
                  <c:v>1.6459999999999999</c:v>
                </c:pt>
                <c:pt idx="1647">
                  <c:v>1.647</c:v>
                </c:pt>
                <c:pt idx="1648">
                  <c:v>1.6479999999999999</c:v>
                </c:pt>
                <c:pt idx="1649">
                  <c:v>1.649</c:v>
                </c:pt>
                <c:pt idx="1650">
                  <c:v>1.65</c:v>
                </c:pt>
                <c:pt idx="1651">
                  <c:v>1.651</c:v>
                </c:pt>
                <c:pt idx="1652">
                  <c:v>1.6519999999999999</c:v>
                </c:pt>
                <c:pt idx="1653">
                  <c:v>1.653</c:v>
                </c:pt>
                <c:pt idx="1654">
                  <c:v>1.6539999999999999</c:v>
                </c:pt>
                <c:pt idx="1655">
                  <c:v>1.655</c:v>
                </c:pt>
                <c:pt idx="1656">
                  <c:v>1.6559999999999999</c:v>
                </c:pt>
                <c:pt idx="1657">
                  <c:v>1.657</c:v>
                </c:pt>
                <c:pt idx="1658">
                  <c:v>1.6579999999999999</c:v>
                </c:pt>
                <c:pt idx="1659">
                  <c:v>1.659</c:v>
                </c:pt>
                <c:pt idx="1660">
                  <c:v>1.66</c:v>
                </c:pt>
                <c:pt idx="1661">
                  <c:v>1.661</c:v>
                </c:pt>
                <c:pt idx="1662">
                  <c:v>1.6619999999999999</c:v>
                </c:pt>
                <c:pt idx="1663">
                  <c:v>1.663</c:v>
                </c:pt>
                <c:pt idx="1664">
                  <c:v>1.6639999999999999</c:v>
                </c:pt>
                <c:pt idx="1665">
                  <c:v>1.665</c:v>
                </c:pt>
                <c:pt idx="1666">
                  <c:v>1.6659999999999999</c:v>
                </c:pt>
                <c:pt idx="1667">
                  <c:v>1.667</c:v>
                </c:pt>
                <c:pt idx="1668">
                  <c:v>1.6679999999999999</c:v>
                </c:pt>
                <c:pt idx="1669">
                  <c:v>1.669</c:v>
                </c:pt>
                <c:pt idx="1670">
                  <c:v>1.67</c:v>
                </c:pt>
                <c:pt idx="1671">
                  <c:v>1.671</c:v>
                </c:pt>
                <c:pt idx="1672">
                  <c:v>1.6719999999999999</c:v>
                </c:pt>
                <c:pt idx="1673">
                  <c:v>1.673</c:v>
                </c:pt>
                <c:pt idx="1674">
                  <c:v>1.6739999999999999</c:v>
                </c:pt>
                <c:pt idx="1675">
                  <c:v>1.675</c:v>
                </c:pt>
                <c:pt idx="1676">
                  <c:v>1.6759999999999999</c:v>
                </c:pt>
                <c:pt idx="1677">
                  <c:v>1.677</c:v>
                </c:pt>
                <c:pt idx="1678">
                  <c:v>1.6779999999999999</c:v>
                </c:pt>
                <c:pt idx="1679">
                  <c:v>1.679</c:v>
                </c:pt>
                <c:pt idx="1680">
                  <c:v>1.68</c:v>
                </c:pt>
                <c:pt idx="1681">
                  <c:v>1.681</c:v>
                </c:pt>
                <c:pt idx="1682">
                  <c:v>1.6819999999999999</c:v>
                </c:pt>
                <c:pt idx="1683">
                  <c:v>1.6830000000000001</c:v>
                </c:pt>
                <c:pt idx="1684">
                  <c:v>1.6839999999999999</c:v>
                </c:pt>
                <c:pt idx="1685">
                  <c:v>1.6850000000000001</c:v>
                </c:pt>
                <c:pt idx="1686">
                  <c:v>1.6859999999999999</c:v>
                </c:pt>
                <c:pt idx="1687">
                  <c:v>1.6870000000000001</c:v>
                </c:pt>
                <c:pt idx="1688">
                  <c:v>1.6879999999999999</c:v>
                </c:pt>
                <c:pt idx="1689">
                  <c:v>1.6890000000000001</c:v>
                </c:pt>
                <c:pt idx="1690">
                  <c:v>1.69</c:v>
                </c:pt>
                <c:pt idx="1691">
                  <c:v>1.6910000000000001</c:v>
                </c:pt>
                <c:pt idx="1692">
                  <c:v>1.6919999999999999</c:v>
                </c:pt>
                <c:pt idx="1693">
                  <c:v>1.6930000000000001</c:v>
                </c:pt>
                <c:pt idx="1694">
                  <c:v>1.694</c:v>
                </c:pt>
                <c:pt idx="1695">
                  <c:v>1.6950000000000001</c:v>
                </c:pt>
                <c:pt idx="1696">
                  <c:v>1.696</c:v>
                </c:pt>
                <c:pt idx="1697">
                  <c:v>1.6970000000000001</c:v>
                </c:pt>
                <c:pt idx="1698">
                  <c:v>1.698</c:v>
                </c:pt>
                <c:pt idx="1699">
                  <c:v>1.6990000000000001</c:v>
                </c:pt>
                <c:pt idx="1700">
                  <c:v>1.7</c:v>
                </c:pt>
                <c:pt idx="1701">
                  <c:v>1.7010000000000001</c:v>
                </c:pt>
                <c:pt idx="1702">
                  <c:v>1.702</c:v>
                </c:pt>
                <c:pt idx="1703">
                  <c:v>1.7030000000000001</c:v>
                </c:pt>
                <c:pt idx="1704">
                  <c:v>1.704</c:v>
                </c:pt>
                <c:pt idx="1705">
                  <c:v>1.7050000000000001</c:v>
                </c:pt>
                <c:pt idx="1706">
                  <c:v>1.706</c:v>
                </c:pt>
                <c:pt idx="1707">
                  <c:v>1.7070000000000001</c:v>
                </c:pt>
                <c:pt idx="1708">
                  <c:v>1.708</c:v>
                </c:pt>
                <c:pt idx="1709">
                  <c:v>1.7090000000000001</c:v>
                </c:pt>
                <c:pt idx="1710">
                  <c:v>1.71</c:v>
                </c:pt>
                <c:pt idx="1711">
                  <c:v>1.7110000000000001</c:v>
                </c:pt>
                <c:pt idx="1712">
                  <c:v>1.712</c:v>
                </c:pt>
                <c:pt idx="1713">
                  <c:v>1.7130000000000001</c:v>
                </c:pt>
                <c:pt idx="1714">
                  <c:v>1.714</c:v>
                </c:pt>
                <c:pt idx="1715">
                  <c:v>1.7150000000000001</c:v>
                </c:pt>
                <c:pt idx="1716">
                  <c:v>1.716</c:v>
                </c:pt>
                <c:pt idx="1717">
                  <c:v>1.7170000000000001</c:v>
                </c:pt>
                <c:pt idx="1718">
                  <c:v>1.718</c:v>
                </c:pt>
                <c:pt idx="1719">
                  <c:v>1.7190000000000001</c:v>
                </c:pt>
                <c:pt idx="1720">
                  <c:v>1.72</c:v>
                </c:pt>
                <c:pt idx="1721">
                  <c:v>1.7210000000000001</c:v>
                </c:pt>
                <c:pt idx="1722">
                  <c:v>1.722</c:v>
                </c:pt>
                <c:pt idx="1723">
                  <c:v>1.7230000000000001</c:v>
                </c:pt>
                <c:pt idx="1724">
                  <c:v>1.724</c:v>
                </c:pt>
                <c:pt idx="1725">
                  <c:v>1.7250000000000001</c:v>
                </c:pt>
                <c:pt idx="1726">
                  <c:v>1.726</c:v>
                </c:pt>
                <c:pt idx="1727">
                  <c:v>1.7270000000000001</c:v>
                </c:pt>
                <c:pt idx="1728">
                  <c:v>1.728</c:v>
                </c:pt>
                <c:pt idx="1729">
                  <c:v>1.7290000000000001</c:v>
                </c:pt>
                <c:pt idx="1730">
                  <c:v>1.73</c:v>
                </c:pt>
                <c:pt idx="1731">
                  <c:v>1.7310000000000001</c:v>
                </c:pt>
                <c:pt idx="1732">
                  <c:v>1.732</c:v>
                </c:pt>
                <c:pt idx="1733">
                  <c:v>1.7330000000000001</c:v>
                </c:pt>
                <c:pt idx="1734">
                  <c:v>1.734</c:v>
                </c:pt>
                <c:pt idx="1735">
                  <c:v>1.7350000000000001</c:v>
                </c:pt>
                <c:pt idx="1736">
                  <c:v>1.736</c:v>
                </c:pt>
                <c:pt idx="1737">
                  <c:v>1.7370000000000001</c:v>
                </c:pt>
                <c:pt idx="1738">
                  <c:v>1.738</c:v>
                </c:pt>
                <c:pt idx="1739">
                  <c:v>1.7390000000000001</c:v>
                </c:pt>
                <c:pt idx="1740">
                  <c:v>1.74</c:v>
                </c:pt>
                <c:pt idx="1741">
                  <c:v>1.7410000000000001</c:v>
                </c:pt>
                <c:pt idx="1742">
                  <c:v>1.742</c:v>
                </c:pt>
                <c:pt idx="1743">
                  <c:v>1.7430000000000001</c:v>
                </c:pt>
                <c:pt idx="1744">
                  <c:v>1.744</c:v>
                </c:pt>
                <c:pt idx="1745">
                  <c:v>1.7450000000000001</c:v>
                </c:pt>
                <c:pt idx="1746">
                  <c:v>1.746</c:v>
                </c:pt>
                <c:pt idx="1747">
                  <c:v>1.7470000000000001</c:v>
                </c:pt>
                <c:pt idx="1748">
                  <c:v>1.748</c:v>
                </c:pt>
                <c:pt idx="1749">
                  <c:v>1.7490000000000001</c:v>
                </c:pt>
                <c:pt idx="1750">
                  <c:v>1.75</c:v>
                </c:pt>
                <c:pt idx="1751">
                  <c:v>1.7509999999999999</c:v>
                </c:pt>
                <c:pt idx="1752">
                  <c:v>1.752</c:v>
                </c:pt>
                <c:pt idx="1753">
                  <c:v>1.7529999999999999</c:v>
                </c:pt>
                <c:pt idx="1754">
                  <c:v>1.754</c:v>
                </c:pt>
                <c:pt idx="1755">
                  <c:v>1.7549999999999999</c:v>
                </c:pt>
                <c:pt idx="1756">
                  <c:v>1.756</c:v>
                </c:pt>
                <c:pt idx="1757">
                  <c:v>1.7569999999999999</c:v>
                </c:pt>
                <c:pt idx="1758">
                  <c:v>1.758</c:v>
                </c:pt>
                <c:pt idx="1759">
                  <c:v>1.7589999999999999</c:v>
                </c:pt>
                <c:pt idx="1760">
                  <c:v>1.76</c:v>
                </c:pt>
                <c:pt idx="1761">
                  <c:v>1.7609999999999999</c:v>
                </c:pt>
                <c:pt idx="1762">
                  <c:v>1.762</c:v>
                </c:pt>
                <c:pt idx="1763">
                  <c:v>1.7629999999999999</c:v>
                </c:pt>
                <c:pt idx="1764">
                  <c:v>1.764</c:v>
                </c:pt>
                <c:pt idx="1765">
                  <c:v>1.7649999999999999</c:v>
                </c:pt>
                <c:pt idx="1766">
                  <c:v>1.766</c:v>
                </c:pt>
                <c:pt idx="1767">
                  <c:v>1.7669999999999999</c:v>
                </c:pt>
                <c:pt idx="1768">
                  <c:v>1.768</c:v>
                </c:pt>
                <c:pt idx="1769">
                  <c:v>1.7689999999999999</c:v>
                </c:pt>
                <c:pt idx="1770">
                  <c:v>1.77</c:v>
                </c:pt>
                <c:pt idx="1771">
                  <c:v>1.7709999999999999</c:v>
                </c:pt>
                <c:pt idx="1772">
                  <c:v>1.772</c:v>
                </c:pt>
                <c:pt idx="1773">
                  <c:v>1.7729999999999999</c:v>
                </c:pt>
                <c:pt idx="1774">
                  <c:v>1.774</c:v>
                </c:pt>
                <c:pt idx="1775">
                  <c:v>1.7749999999999999</c:v>
                </c:pt>
                <c:pt idx="1776">
                  <c:v>1.776</c:v>
                </c:pt>
                <c:pt idx="1777">
                  <c:v>1.7769999999999999</c:v>
                </c:pt>
                <c:pt idx="1778">
                  <c:v>1.778</c:v>
                </c:pt>
                <c:pt idx="1779">
                  <c:v>1.7789999999999999</c:v>
                </c:pt>
                <c:pt idx="1780">
                  <c:v>1.78</c:v>
                </c:pt>
                <c:pt idx="1781">
                  <c:v>1.7809999999999999</c:v>
                </c:pt>
                <c:pt idx="1782">
                  <c:v>1.782</c:v>
                </c:pt>
                <c:pt idx="1783">
                  <c:v>1.7829999999999999</c:v>
                </c:pt>
                <c:pt idx="1784">
                  <c:v>1.784</c:v>
                </c:pt>
                <c:pt idx="1785">
                  <c:v>1.7849999999999999</c:v>
                </c:pt>
                <c:pt idx="1786">
                  <c:v>1.786</c:v>
                </c:pt>
                <c:pt idx="1787">
                  <c:v>1.7869999999999999</c:v>
                </c:pt>
                <c:pt idx="1788">
                  <c:v>1.788</c:v>
                </c:pt>
                <c:pt idx="1789">
                  <c:v>1.7889999999999999</c:v>
                </c:pt>
                <c:pt idx="1790">
                  <c:v>1.79</c:v>
                </c:pt>
                <c:pt idx="1791">
                  <c:v>1.7909999999999999</c:v>
                </c:pt>
                <c:pt idx="1792">
                  <c:v>1.792</c:v>
                </c:pt>
                <c:pt idx="1793">
                  <c:v>1.7929999999999999</c:v>
                </c:pt>
                <c:pt idx="1794">
                  <c:v>1.794</c:v>
                </c:pt>
                <c:pt idx="1795">
                  <c:v>1.7949999999999999</c:v>
                </c:pt>
                <c:pt idx="1796">
                  <c:v>1.796</c:v>
                </c:pt>
                <c:pt idx="1797">
                  <c:v>1.7969999999999999</c:v>
                </c:pt>
                <c:pt idx="1798">
                  <c:v>1.798</c:v>
                </c:pt>
                <c:pt idx="1799">
                  <c:v>1.7989999999999999</c:v>
                </c:pt>
                <c:pt idx="1800">
                  <c:v>1.8</c:v>
                </c:pt>
                <c:pt idx="1801">
                  <c:v>1.8009999999999999</c:v>
                </c:pt>
                <c:pt idx="1802">
                  <c:v>1.802</c:v>
                </c:pt>
                <c:pt idx="1803">
                  <c:v>1.8029999999999999</c:v>
                </c:pt>
                <c:pt idx="1804">
                  <c:v>1.804</c:v>
                </c:pt>
                <c:pt idx="1805">
                  <c:v>1.8049999999999999</c:v>
                </c:pt>
                <c:pt idx="1806">
                  <c:v>1.806</c:v>
                </c:pt>
                <c:pt idx="1807">
                  <c:v>1.8069999999999999</c:v>
                </c:pt>
                <c:pt idx="1808">
                  <c:v>1.8080000000000001</c:v>
                </c:pt>
                <c:pt idx="1809">
                  <c:v>1.8089999999999999</c:v>
                </c:pt>
                <c:pt idx="1810">
                  <c:v>1.81</c:v>
                </c:pt>
                <c:pt idx="1811">
                  <c:v>1.8109999999999999</c:v>
                </c:pt>
                <c:pt idx="1812">
                  <c:v>1.8120000000000001</c:v>
                </c:pt>
                <c:pt idx="1813">
                  <c:v>1.8129999999999999</c:v>
                </c:pt>
                <c:pt idx="1814">
                  <c:v>1.8140000000000001</c:v>
                </c:pt>
                <c:pt idx="1815">
                  <c:v>1.8149999999999999</c:v>
                </c:pt>
                <c:pt idx="1816">
                  <c:v>1.8160000000000001</c:v>
                </c:pt>
                <c:pt idx="1817">
                  <c:v>1.8169999999999999</c:v>
                </c:pt>
                <c:pt idx="1818">
                  <c:v>1.8180000000000001</c:v>
                </c:pt>
                <c:pt idx="1819">
                  <c:v>1.819</c:v>
                </c:pt>
                <c:pt idx="1820">
                  <c:v>1.82</c:v>
                </c:pt>
                <c:pt idx="1821">
                  <c:v>1.821</c:v>
                </c:pt>
                <c:pt idx="1822">
                  <c:v>1.8220000000000001</c:v>
                </c:pt>
                <c:pt idx="1823">
                  <c:v>1.823</c:v>
                </c:pt>
                <c:pt idx="1824">
                  <c:v>1.8240000000000001</c:v>
                </c:pt>
                <c:pt idx="1825">
                  <c:v>1.825</c:v>
                </c:pt>
                <c:pt idx="1826">
                  <c:v>1.8260000000000001</c:v>
                </c:pt>
                <c:pt idx="1827">
                  <c:v>1.827</c:v>
                </c:pt>
                <c:pt idx="1828">
                  <c:v>1.8280000000000001</c:v>
                </c:pt>
                <c:pt idx="1829">
                  <c:v>1.829</c:v>
                </c:pt>
                <c:pt idx="1830">
                  <c:v>1.83</c:v>
                </c:pt>
                <c:pt idx="1831">
                  <c:v>1.831</c:v>
                </c:pt>
                <c:pt idx="1832">
                  <c:v>1.8320000000000001</c:v>
                </c:pt>
                <c:pt idx="1833">
                  <c:v>1.833</c:v>
                </c:pt>
                <c:pt idx="1834">
                  <c:v>1.8340000000000001</c:v>
                </c:pt>
                <c:pt idx="1835">
                  <c:v>1.835</c:v>
                </c:pt>
                <c:pt idx="1836">
                  <c:v>1.8360000000000001</c:v>
                </c:pt>
                <c:pt idx="1837">
                  <c:v>1.837</c:v>
                </c:pt>
                <c:pt idx="1838">
                  <c:v>1.8380000000000001</c:v>
                </c:pt>
                <c:pt idx="1839">
                  <c:v>1.839</c:v>
                </c:pt>
                <c:pt idx="1840">
                  <c:v>1.84</c:v>
                </c:pt>
                <c:pt idx="1841">
                  <c:v>1.841</c:v>
                </c:pt>
                <c:pt idx="1842">
                  <c:v>1.8420000000000001</c:v>
                </c:pt>
                <c:pt idx="1843">
                  <c:v>1.843</c:v>
                </c:pt>
                <c:pt idx="1844">
                  <c:v>1.8440000000000001</c:v>
                </c:pt>
                <c:pt idx="1845">
                  <c:v>1.845</c:v>
                </c:pt>
                <c:pt idx="1846">
                  <c:v>1.8460000000000001</c:v>
                </c:pt>
                <c:pt idx="1847">
                  <c:v>1.847</c:v>
                </c:pt>
                <c:pt idx="1848">
                  <c:v>1.8480000000000001</c:v>
                </c:pt>
                <c:pt idx="1849">
                  <c:v>1.849</c:v>
                </c:pt>
                <c:pt idx="1850">
                  <c:v>1.85</c:v>
                </c:pt>
                <c:pt idx="1851">
                  <c:v>1.851</c:v>
                </c:pt>
                <c:pt idx="1852">
                  <c:v>1.8520000000000001</c:v>
                </c:pt>
                <c:pt idx="1853">
                  <c:v>1.853</c:v>
                </c:pt>
                <c:pt idx="1854">
                  <c:v>1.8540000000000001</c:v>
                </c:pt>
                <c:pt idx="1855">
                  <c:v>1.855</c:v>
                </c:pt>
                <c:pt idx="1856">
                  <c:v>1.8560000000000001</c:v>
                </c:pt>
                <c:pt idx="1857">
                  <c:v>1.857</c:v>
                </c:pt>
                <c:pt idx="1858">
                  <c:v>1.8580000000000001</c:v>
                </c:pt>
                <c:pt idx="1859">
                  <c:v>1.859</c:v>
                </c:pt>
                <c:pt idx="1860">
                  <c:v>1.86</c:v>
                </c:pt>
                <c:pt idx="1861">
                  <c:v>1.861</c:v>
                </c:pt>
                <c:pt idx="1862">
                  <c:v>1.8620000000000001</c:v>
                </c:pt>
                <c:pt idx="1863">
                  <c:v>1.863</c:v>
                </c:pt>
                <c:pt idx="1864">
                  <c:v>1.8640000000000001</c:v>
                </c:pt>
                <c:pt idx="1865">
                  <c:v>1.865</c:v>
                </c:pt>
                <c:pt idx="1866">
                  <c:v>1.8660000000000001</c:v>
                </c:pt>
                <c:pt idx="1867">
                  <c:v>1.867</c:v>
                </c:pt>
                <c:pt idx="1868">
                  <c:v>1.8680000000000001</c:v>
                </c:pt>
                <c:pt idx="1869">
                  <c:v>1.869</c:v>
                </c:pt>
                <c:pt idx="1870">
                  <c:v>1.87</c:v>
                </c:pt>
                <c:pt idx="1871">
                  <c:v>1.871</c:v>
                </c:pt>
                <c:pt idx="1872">
                  <c:v>1.8720000000000001</c:v>
                </c:pt>
                <c:pt idx="1873">
                  <c:v>1.873</c:v>
                </c:pt>
                <c:pt idx="1874">
                  <c:v>1.8740000000000001</c:v>
                </c:pt>
                <c:pt idx="1875">
                  <c:v>1.875</c:v>
                </c:pt>
                <c:pt idx="1876">
                  <c:v>1.8759999999999999</c:v>
                </c:pt>
                <c:pt idx="1877">
                  <c:v>1.877</c:v>
                </c:pt>
                <c:pt idx="1878">
                  <c:v>1.8779999999999999</c:v>
                </c:pt>
                <c:pt idx="1879">
                  <c:v>1.879</c:v>
                </c:pt>
                <c:pt idx="1880">
                  <c:v>1.88</c:v>
                </c:pt>
                <c:pt idx="1881">
                  <c:v>1.881</c:v>
                </c:pt>
                <c:pt idx="1882">
                  <c:v>1.8819999999999999</c:v>
                </c:pt>
                <c:pt idx="1883">
                  <c:v>1.883</c:v>
                </c:pt>
                <c:pt idx="1884">
                  <c:v>1.8839999999999999</c:v>
                </c:pt>
                <c:pt idx="1885">
                  <c:v>1.885</c:v>
                </c:pt>
                <c:pt idx="1886">
                  <c:v>1.8859999999999999</c:v>
                </c:pt>
                <c:pt idx="1887">
                  <c:v>1.887</c:v>
                </c:pt>
                <c:pt idx="1888">
                  <c:v>1.8879999999999999</c:v>
                </c:pt>
                <c:pt idx="1889">
                  <c:v>1.889</c:v>
                </c:pt>
                <c:pt idx="1890">
                  <c:v>1.89</c:v>
                </c:pt>
                <c:pt idx="1891">
                  <c:v>1.891</c:v>
                </c:pt>
                <c:pt idx="1892">
                  <c:v>1.8919999999999999</c:v>
                </c:pt>
                <c:pt idx="1893">
                  <c:v>1.893</c:v>
                </c:pt>
                <c:pt idx="1894">
                  <c:v>1.8939999999999999</c:v>
                </c:pt>
                <c:pt idx="1895">
                  <c:v>1.895</c:v>
                </c:pt>
                <c:pt idx="1896">
                  <c:v>1.8959999999999999</c:v>
                </c:pt>
                <c:pt idx="1897">
                  <c:v>1.897</c:v>
                </c:pt>
                <c:pt idx="1898">
                  <c:v>1.8979999999999999</c:v>
                </c:pt>
                <c:pt idx="1899">
                  <c:v>1.899</c:v>
                </c:pt>
                <c:pt idx="1900">
                  <c:v>1.9</c:v>
                </c:pt>
                <c:pt idx="1901">
                  <c:v>1.901</c:v>
                </c:pt>
                <c:pt idx="1902">
                  <c:v>1.9019999999999999</c:v>
                </c:pt>
                <c:pt idx="1903">
                  <c:v>1.903</c:v>
                </c:pt>
                <c:pt idx="1904">
                  <c:v>1.9039999999999999</c:v>
                </c:pt>
                <c:pt idx="1905">
                  <c:v>1.905</c:v>
                </c:pt>
                <c:pt idx="1906">
                  <c:v>1.9059999999999999</c:v>
                </c:pt>
                <c:pt idx="1907">
                  <c:v>1.907</c:v>
                </c:pt>
                <c:pt idx="1908">
                  <c:v>1.9079999999999999</c:v>
                </c:pt>
                <c:pt idx="1909">
                  <c:v>1.909</c:v>
                </c:pt>
                <c:pt idx="1910">
                  <c:v>1.91</c:v>
                </c:pt>
                <c:pt idx="1911">
                  <c:v>1.911</c:v>
                </c:pt>
                <c:pt idx="1912">
                  <c:v>1.9119999999999999</c:v>
                </c:pt>
                <c:pt idx="1913">
                  <c:v>1.913</c:v>
                </c:pt>
                <c:pt idx="1914">
                  <c:v>1.9139999999999999</c:v>
                </c:pt>
                <c:pt idx="1915">
                  <c:v>1.915</c:v>
                </c:pt>
                <c:pt idx="1916">
                  <c:v>1.9159999999999999</c:v>
                </c:pt>
                <c:pt idx="1917">
                  <c:v>1.917</c:v>
                </c:pt>
                <c:pt idx="1918">
                  <c:v>1.9179999999999999</c:v>
                </c:pt>
                <c:pt idx="1919">
                  <c:v>1.919</c:v>
                </c:pt>
                <c:pt idx="1920">
                  <c:v>1.92</c:v>
                </c:pt>
                <c:pt idx="1921">
                  <c:v>1.921</c:v>
                </c:pt>
                <c:pt idx="1922">
                  <c:v>1.9219999999999999</c:v>
                </c:pt>
                <c:pt idx="1923">
                  <c:v>1.923</c:v>
                </c:pt>
                <c:pt idx="1924">
                  <c:v>1.9239999999999999</c:v>
                </c:pt>
                <c:pt idx="1925">
                  <c:v>1.925</c:v>
                </c:pt>
                <c:pt idx="1926">
                  <c:v>1.9259999999999999</c:v>
                </c:pt>
                <c:pt idx="1927">
                  <c:v>1.927</c:v>
                </c:pt>
                <c:pt idx="1928">
                  <c:v>1.9279999999999999</c:v>
                </c:pt>
                <c:pt idx="1929">
                  <c:v>1.929</c:v>
                </c:pt>
                <c:pt idx="1930">
                  <c:v>1.93</c:v>
                </c:pt>
                <c:pt idx="1931">
                  <c:v>1.931</c:v>
                </c:pt>
                <c:pt idx="1932">
                  <c:v>1.9319999999999999</c:v>
                </c:pt>
                <c:pt idx="1933">
                  <c:v>1.9330000000000001</c:v>
                </c:pt>
                <c:pt idx="1934">
                  <c:v>1.9339999999999999</c:v>
                </c:pt>
                <c:pt idx="1935">
                  <c:v>1.9350000000000001</c:v>
                </c:pt>
                <c:pt idx="1936">
                  <c:v>1.9359999999999999</c:v>
                </c:pt>
                <c:pt idx="1937">
                  <c:v>1.9370000000000001</c:v>
                </c:pt>
                <c:pt idx="1938">
                  <c:v>1.9379999999999999</c:v>
                </c:pt>
                <c:pt idx="1939">
                  <c:v>1.9390000000000001</c:v>
                </c:pt>
                <c:pt idx="1940">
                  <c:v>1.94</c:v>
                </c:pt>
                <c:pt idx="1941">
                  <c:v>1.9410000000000001</c:v>
                </c:pt>
                <c:pt idx="1942">
                  <c:v>1.9419999999999999</c:v>
                </c:pt>
                <c:pt idx="1943">
                  <c:v>1.9430000000000001</c:v>
                </c:pt>
                <c:pt idx="1944">
                  <c:v>1.944</c:v>
                </c:pt>
                <c:pt idx="1945">
                  <c:v>1.9450000000000001</c:v>
                </c:pt>
                <c:pt idx="1946">
                  <c:v>1.946</c:v>
                </c:pt>
                <c:pt idx="1947">
                  <c:v>1.9470000000000001</c:v>
                </c:pt>
                <c:pt idx="1948">
                  <c:v>1.948</c:v>
                </c:pt>
                <c:pt idx="1949">
                  <c:v>1.9490000000000001</c:v>
                </c:pt>
                <c:pt idx="1950">
                  <c:v>1.95</c:v>
                </c:pt>
                <c:pt idx="1951">
                  <c:v>1.9510000000000001</c:v>
                </c:pt>
                <c:pt idx="1952">
                  <c:v>1.952</c:v>
                </c:pt>
                <c:pt idx="1953">
                  <c:v>1.9530000000000001</c:v>
                </c:pt>
                <c:pt idx="1954">
                  <c:v>1.954</c:v>
                </c:pt>
                <c:pt idx="1955">
                  <c:v>1.9550000000000001</c:v>
                </c:pt>
                <c:pt idx="1956">
                  <c:v>1.956</c:v>
                </c:pt>
                <c:pt idx="1957">
                  <c:v>1.9570000000000001</c:v>
                </c:pt>
                <c:pt idx="1958">
                  <c:v>1.958</c:v>
                </c:pt>
                <c:pt idx="1959">
                  <c:v>1.9590000000000001</c:v>
                </c:pt>
                <c:pt idx="1960">
                  <c:v>1.96</c:v>
                </c:pt>
                <c:pt idx="1961">
                  <c:v>1.9610000000000001</c:v>
                </c:pt>
                <c:pt idx="1962">
                  <c:v>1.962</c:v>
                </c:pt>
                <c:pt idx="1963">
                  <c:v>1.9630000000000001</c:v>
                </c:pt>
                <c:pt idx="1964">
                  <c:v>1.964</c:v>
                </c:pt>
                <c:pt idx="1965">
                  <c:v>1.9650000000000001</c:v>
                </c:pt>
                <c:pt idx="1966">
                  <c:v>1.966</c:v>
                </c:pt>
                <c:pt idx="1967">
                  <c:v>1.9670000000000001</c:v>
                </c:pt>
                <c:pt idx="1968">
                  <c:v>1.968</c:v>
                </c:pt>
                <c:pt idx="1969">
                  <c:v>1.9690000000000001</c:v>
                </c:pt>
                <c:pt idx="1970">
                  <c:v>1.97</c:v>
                </c:pt>
                <c:pt idx="1971">
                  <c:v>1.9710000000000001</c:v>
                </c:pt>
                <c:pt idx="1972">
                  <c:v>1.972</c:v>
                </c:pt>
                <c:pt idx="1973">
                  <c:v>1.9730000000000001</c:v>
                </c:pt>
                <c:pt idx="1974">
                  <c:v>1.974</c:v>
                </c:pt>
                <c:pt idx="1975">
                  <c:v>1.9750000000000001</c:v>
                </c:pt>
                <c:pt idx="1976">
                  <c:v>1.976</c:v>
                </c:pt>
                <c:pt idx="1977">
                  <c:v>1.9770000000000001</c:v>
                </c:pt>
                <c:pt idx="1978">
                  <c:v>1.978</c:v>
                </c:pt>
                <c:pt idx="1979">
                  <c:v>1.9790000000000001</c:v>
                </c:pt>
                <c:pt idx="1980">
                  <c:v>1.98</c:v>
                </c:pt>
                <c:pt idx="1981">
                  <c:v>1.9810000000000001</c:v>
                </c:pt>
                <c:pt idx="1982">
                  <c:v>1.982</c:v>
                </c:pt>
                <c:pt idx="1983">
                  <c:v>1.9830000000000001</c:v>
                </c:pt>
                <c:pt idx="1984">
                  <c:v>1.984</c:v>
                </c:pt>
                <c:pt idx="1985">
                  <c:v>1.9850000000000001</c:v>
                </c:pt>
                <c:pt idx="1986">
                  <c:v>1.986</c:v>
                </c:pt>
                <c:pt idx="1987">
                  <c:v>1.9870000000000001</c:v>
                </c:pt>
                <c:pt idx="1988">
                  <c:v>1.988</c:v>
                </c:pt>
                <c:pt idx="1989">
                  <c:v>1.9890000000000001</c:v>
                </c:pt>
                <c:pt idx="1990">
                  <c:v>1.99</c:v>
                </c:pt>
                <c:pt idx="1991">
                  <c:v>1.9910000000000001</c:v>
                </c:pt>
                <c:pt idx="1992">
                  <c:v>1.992</c:v>
                </c:pt>
                <c:pt idx="1993">
                  <c:v>1.9930000000000001</c:v>
                </c:pt>
                <c:pt idx="1994">
                  <c:v>1.994</c:v>
                </c:pt>
                <c:pt idx="1995">
                  <c:v>1.9950000000000001</c:v>
                </c:pt>
                <c:pt idx="1996">
                  <c:v>1.996</c:v>
                </c:pt>
                <c:pt idx="1997">
                  <c:v>1.9970000000000001</c:v>
                </c:pt>
                <c:pt idx="1998">
                  <c:v>1.998</c:v>
                </c:pt>
                <c:pt idx="1999">
                  <c:v>1.9990000000000001</c:v>
                </c:pt>
                <c:pt idx="2000">
                  <c:v>2</c:v>
                </c:pt>
                <c:pt idx="2001">
                  <c:v>2.0009999999999999</c:v>
                </c:pt>
                <c:pt idx="2002">
                  <c:v>2.0019999999999998</c:v>
                </c:pt>
                <c:pt idx="2003">
                  <c:v>2.0030000000000001</c:v>
                </c:pt>
                <c:pt idx="2004">
                  <c:v>2.004</c:v>
                </c:pt>
                <c:pt idx="2005">
                  <c:v>2.0049999999999999</c:v>
                </c:pt>
                <c:pt idx="2006">
                  <c:v>2.0059999999999998</c:v>
                </c:pt>
                <c:pt idx="2007">
                  <c:v>2.0070000000000001</c:v>
                </c:pt>
                <c:pt idx="2008">
                  <c:v>2.008</c:v>
                </c:pt>
                <c:pt idx="2009">
                  <c:v>2.0089999999999999</c:v>
                </c:pt>
                <c:pt idx="2010">
                  <c:v>2.0099999999999998</c:v>
                </c:pt>
                <c:pt idx="2011">
                  <c:v>2.0110000000000001</c:v>
                </c:pt>
                <c:pt idx="2012">
                  <c:v>2.012</c:v>
                </c:pt>
                <c:pt idx="2013">
                  <c:v>2.0129999999999999</c:v>
                </c:pt>
                <c:pt idx="2014">
                  <c:v>2.0139999999999998</c:v>
                </c:pt>
                <c:pt idx="2015">
                  <c:v>2.0150000000000001</c:v>
                </c:pt>
                <c:pt idx="2016">
                  <c:v>2.016</c:v>
                </c:pt>
                <c:pt idx="2017">
                  <c:v>2.0169999999999999</c:v>
                </c:pt>
                <c:pt idx="2018">
                  <c:v>2.0179999999999998</c:v>
                </c:pt>
                <c:pt idx="2019">
                  <c:v>2.0190000000000001</c:v>
                </c:pt>
                <c:pt idx="2020">
                  <c:v>2.02</c:v>
                </c:pt>
                <c:pt idx="2021">
                  <c:v>2.0209999999999999</c:v>
                </c:pt>
                <c:pt idx="2022">
                  <c:v>2.0219999999999998</c:v>
                </c:pt>
                <c:pt idx="2023">
                  <c:v>2.0230000000000001</c:v>
                </c:pt>
                <c:pt idx="2024">
                  <c:v>2.024</c:v>
                </c:pt>
                <c:pt idx="2025">
                  <c:v>2.0249999999999999</c:v>
                </c:pt>
                <c:pt idx="2026">
                  <c:v>2.0259999999999998</c:v>
                </c:pt>
                <c:pt idx="2027">
                  <c:v>2.0270000000000001</c:v>
                </c:pt>
                <c:pt idx="2028">
                  <c:v>2.028</c:v>
                </c:pt>
                <c:pt idx="2029">
                  <c:v>2.0289999999999999</c:v>
                </c:pt>
                <c:pt idx="2030">
                  <c:v>2.0299999999999998</c:v>
                </c:pt>
                <c:pt idx="2031">
                  <c:v>2.0310000000000001</c:v>
                </c:pt>
                <c:pt idx="2032">
                  <c:v>2.032</c:v>
                </c:pt>
                <c:pt idx="2033">
                  <c:v>2.0329999999999999</c:v>
                </c:pt>
                <c:pt idx="2034">
                  <c:v>2.0339999999999998</c:v>
                </c:pt>
                <c:pt idx="2035">
                  <c:v>2.0350000000000001</c:v>
                </c:pt>
                <c:pt idx="2036">
                  <c:v>2.036</c:v>
                </c:pt>
                <c:pt idx="2037">
                  <c:v>2.0369999999999999</c:v>
                </c:pt>
                <c:pt idx="2038">
                  <c:v>2.0379999999999998</c:v>
                </c:pt>
                <c:pt idx="2039">
                  <c:v>2.0390000000000001</c:v>
                </c:pt>
                <c:pt idx="2040">
                  <c:v>2.04</c:v>
                </c:pt>
                <c:pt idx="2041">
                  <c:v>2.0409999999999999</c:v>
                </c:pt>
                <c:pt idx="2042">
                  <c:v>2.0419999999999998</c:v>
                </c:pt>
                <c:pt idx="2043">
                  <c:v>2.0430000000000001</c:v>
                </c:pt>
                <c:pt idx="2044">
                  <c:v>2.044</c:v>
                </c:pt>
                <c:pt idx="2045">
                  <c:v>2.0449999999999999</c:v>
                </c:pt>
                <c:pt idx="2046">
                  <c:v>2.0459999999999998</c:v>
                </c:pt>
                <c:pt idx="2047">
                  <c:v>2.0470000000000002</c:v>
                </c:pt>
                <c:pt idx="2048">
                  <c:v>2.048</c:v>
                </c:pt>
                <c:pt idx="2049">
                  <c:v>2.0489999999999999</c:v>
                </c:pt>
                <c:pt idx="2050">
                  <c:v>2.0499999999999998</c:v>
                </c:pt>
                <c:pt idx="2051">
                  <c:v>2.0510000000000002</c:v>
                </c:pt>
                <c:pt idx="2052">
                  <c:v>2.052</c:v>
                </c:pt>
                <c:pt idx="2053">
                  <c:v>2.0529999999999999</c:v>
                </c:pt>
                <c:pt idx="2054">
                  <c:v>2.0539999999999998</c:v>
                </c:pt>
                <c:pt idx="2055">
                  <c:v>2.0550000000000002</c:v>
                </c:pt>
                <c:pt idx="2056">
                  <c:v>2.056</c:v>
                </c:pt>
                <c:pt idx="2057">
                  <c:v>2.0569999999999999</c:v>
                </c:pt>
                <c:pt idx="2058">
                  <c:v>2.0579999999999998</c:v>
                </c:pt>
                <c:pt idx="2059">
                  <c:v>2.0590000000000002</c:v>
                </c:pt>
                <c:pt idx="2060">
                  <c:v>2.06</c:v>
                </c:pt>
                <c:pt idx="2061">
                  <c:v>2.0609999999999999</c:v>
                </c:pt>
                <c:pt idx="2062">
                  <c:v>2.0619999999999998</c:v>
                </c:pt>
                <c:pt idx="2063">
                  <c:v>2.0630000000000002</c:v>
                </c:pt>
                <c:pt idx="2064">
                  <c:v>2.0640000000000001</c:v>
                </c:pt>
                <c:pt idx="2065">
                  <c:v>2.0649999999999999</c:v>
                </c:pt>
                <c:pt idx="2066">
                  <c:v>2.0659999999999998</c:v>
                </c:pt>
                <c:pt idx="2067">
                  <c:v>2.0670000000000002</c:v>
                </c:pt>
                <c:pt idx="2068">
                  <c:v>2.0680000000000001</c:v>
                </c:pt>
                <c:pt idx="2069">
                  <c:v>2.069</c:v>
                </c:pt>
                <c:pt idx="2070">
                  <c:v>2.0699999999999998</c:v>
                </c:pt>
                <c:pt idx="2071">
                  <c:v>2.0710000000000002</c:v>
                </c:pt>
                <c:pt idx="2072">
                  <c:v>2.0720000000000001</c:v>
                </c:pt>
                <c:pt idx="2073">
                  <c:v>2.073</c:v>
                </c:pt>
                <c:pt idx="2074">
                  <c:v>2.0739999999999998</c:v>
                </c:pt>
                <c:pt idx="2075">
                  <c:v>2.0750000000000002</c:v>
                </c:pt>
                <c:pt idx="2076">
                  <c:v>2.0760000000000001</c:v>
                </c:pt>
                <c:pt idx="2077">
                  <c:v>2.077</c:v>
                </c:pt>
                <c:pt idx="2078">
                  <c:v>2.0779999999999998</c:v>
                </c:pt>
                <c:pt idx="2079">
                  <c:v>2.0790000000000002</c:v>
                </c:pt>
                <c:pt idx="2080">
                  <c:v>2.08</c:v>
                </c:pt>
                <c:pt idx="2081">
                  <c:v>2.081</c:v>
                </c:pt>
                <c:pt idx="2082">
                  <c:v>2.0819999999999999</c:v>
                </c:pt>
                <c:pt idx="2083">
                  <c:v>2.0830000000000002</c:v>
                </c:pt>
                <c:pt idx="2084">
                  <c:v>2.0840000000000001</c:v>
                </c:pt>
                <c:pt idx="2085">
                  <c:v>2.085</c:v>
                </c:pt>
                <c:pt idx="2086">
                  <c:v>2.0859999999999999</c:v>
                </c:pt>
                <c:pt idx="2087">
                  <c:v>2.0870000000000002</c:v>
                </c:pt>
                <c:pt idx="2088">
                  <c:v>2.0880000000000001</c:v>
                </c:pt>
                <c:pt idx="2089">
                  <c:v>2.089</c:v>
                </c:pt>
                <c:pt idx="2090">
                  <c:v>2.09</c:v>
                </c:pt>
                <c:pt idx="2091">
                  <c:v>2.0910000000000002</c:v>
                </c:pt>
                <c:pt idx="2092">
                  <c:v>2.0920000000000001</c:v>
                </c:pt>
                <c:pt idx="2093">
                  <c:v>2.093</c:v>
                </c:pt>
                <c:pt idx="2094">
                  <c:v>2.0939999999999999</c:v>
                </c:pt>
                <c:pt idx="2095">
                  <c:v>2.0950000000000002</c:v>
                </c:pt>
                <c:pt idx="2096">
                  <c:v>2.0960000000000001</c:v>
                </c:pt>
                <c:pt idx="2097">
                  <c:v>2.097</c:v>
                </c:pt>
                <c:pt idx="2098">
                  <c:v>2.0979999999999999</c:v>
                </c:pt>
                <c:pt idx="2099">
                  <c:v>2.0990000000000002</c:v>
                </c:pt>
                <c:pt idx="2100">
                  <c:v>2.1</c:v>
                </c:pt>
                <c:pt idx="2101">
                  <c:v>2.101</c:v>
                </c:pt>
                <c:pt idx="2102">
                  <c:v>2.1019999999999999</c:v>
                </c:pt>
                <c:pt idx="2103">
                  <c:v>2.1030000000000002</c:v>
                </c:pt>
                <c:pt idx="2104">
                  <c:v>2.1040000000000001</c:v>
                </c:pt>
                <c:pt idx="2105">
                  <c:v>2.105</c:v>
                </c:pt>
                <c:pt idx="2106">
                  <c:v>2.1059999999999999</c:v>
                </c:pt>
                <c:pt idx="2107">
                  <c:v>2.1070000000000002</c:v>
                </c:pt>
                <c:pt idx="2108">
                  <c:v>2.1080000000000001</c:v>
                </c:pt>
                <c:pt idx="2109">
                  <c:v>2.109</c:v>
                </c:pt>
                <c:pt idx="2110">
                  <c:v>2.11</c:v>
                </c:pt>
                <c:pt idx="2111">
                  <c:v>2.1110000000000002</c:v>
                </c:pt>
                <c:pt idx="2112">
                  <c:v>2.1120000000000001</c:v>
                </c:pt>
                <c:pt idx="2113">
                  <c:v>2.113</c:v>
                </c:pt>
                <c:pt idx="2114">
                  <c:v>2.1139999999999999</c:v>
                </c:pt>
                <c:pt idx="2115">
                  <c:v>2.1150000000000002</c:v>
                </c:pt>
                <c:pt idx="2116">
                  <c:v>2.1160000000000001</c:v>
                </c:pt>
                <c:pt idx="2117">
                  <c:v>2.117</c:v>
                </c:pt>
                <c:pt idx="2118">
                  <c:v>2.1179999999999999</c:v>
                </c:pt>
                <c:pt idx="2119">
                  <c:v>2.1190000000000002</c:v>
                </c:pt>
                <c:pt idx="2120">
                  <c:v>2.12</c:v>
                </c:pt>
                <c:pt idx="2121">
                  <c:v>2.121</c:v>
                </c:pt>
                <c:pt idx="2122">
                  <c:v>2.1219999999999999</c:v>
                </c:pt>
                <c:pt idx="2123">
                  <c:v>2.1230000000000002</c:v>
                </c:pt>
                <c:pt idx="2124">
                  <c:v>2.1240000000000001</c:v>
                </c:pt>
                <c:pt idx="2125">
                  <c:v>2.125</c:v>
                </c:pt>
                <c:pt idx="2126">
                  <c:v>2.1259999999999999</c:v>
                </c:pt>
                <c:pt idx="2127">
                  <c:v>2.1269999999999998</c:v>
                </c:pt>
                <c:pt idx="2128">
                  <c:v>2.1280000000000001</c:v>
                </c:pt>
                <c:pt idx="2129">
                  <c:v>2.129</c:v>
                </c:pt>
                <c:pt idx="2130">
                  <c:v>2.13</c:v>
                </c:pt>
                <c:pt idx="2131">
                  <c:v>2.1309999999999998</c:v>
                </c:pt>
                <c:pt idx="2132">
                  <c:v>2.1320000000000001</c:v>
                </c:pt>
                <c:pt idx="2133">
                  <c:v>2.133</c:v>
                </c:pt>
                <c:pt idx="2134">
                  <c:v>2.1339999999999999</c:v>
                </c:pt>
                <c:pt idx="2135">
                  <c:v>2.1349999999999998</c:v>
                </c:pt>
                <c:pt idx="2136">
                  <c:v>2.1360000000000001</c:v>
                </c:pt>
                <c:pt idx="2137">
                  <c:v>2.137</c:v>
                </c:pt>
                <c:pt idx="2138">
                  <c:v>2.1379999999999999</c:v>
                </c:pt>
                <c:pt idx="2139">
                  <c:v>2.1389999999999998</c:v>
                </c:pt>
                <c:pt idx="2140">
                  <c:v>2.14</c:v>
                </c:pt>
                <c:pt idx="2141">
                  <c:v>2.141</c:v>
                </c:pt>
                <c:pt idx="2142">
                  <c:v>2.1419999999999999</c:v>
                </c:pt>
                <c:pt idx="2143">
                  <c:v>2.1429999999999998</c:v>
                </c:pt>
                <c:pt idx="2144">
                  <c:v>2.1440000000000001</c:v>
                </c:pt>
                <c:pt idx="2145">
                  <c:v>2.145</c:v>
                </c:pt>
                <c:pt idx="2146">
                  <c:v>2.1459999999999999</c:v>
                </c:pt>
                <c:pt idx="2147">
                  <c:v>2.1469999999999998</c:v>
                </c:pt>
                <c:pt idx="2148">
                  <c:v>2.1480000000000001</c:v>
                </c:pt>
                <c:pt idx="2149">
                  <c:v>2.149</c:v>
                </c:pt>
                <c:pt idx="2150">
                  <c:v>2.15</c:v>
                </c:pt>
                <c:pt idx="2151">
                  <c:v>2.1509999999999998</c:v>
                </c:pt>
                <c:pt idx="2152">
                  <c:v>2.1520000000000001</c:v>
                </c:pt>
                <c:pt idx="2153">
                  <c:v>2.153</c:v>
                </c:pt>
                <c:pt idx="2154">
                  <c:v>2.1539999999999999</c:v>
                </c:pt>
                <c:pt idx="2155">
                  <c:v>2.1549999999999998</c:v>
                </c:pt>
                <c:pt idx="2156">
                  <c:v>2.1560000000000001</c:v>
                </c:pt>
                <c:pt idx="2157">
                  <c:v>2.157</c:v>
                </c:pt>
                <c:pt idx="2158">
                  <c:v>2.1579999999999999</c:v>
                </c:pt>
                <c:pt idx="2159">
                  <c:v>2.1589999999999998</c:v>
                </c:pt>
                <c:pt idx="2160">
                  <c:v>2.16</c:v>
                </c:pt>
                <c:pt idx="2161">
                  <c:v>2.161</c:v>
                </c:pt>
                <c:pt idx="2162">
                  <c:v>2.1619999999999999</c:v>
                </c:pt>
                <c:pt idx="2163">
                  <c:v>2.1629999999999998</c:v>
                </c:pt>
                <c:pt idx="2164">
                  <c:v>2.1640000000000001</c:v>
                </c:pt>
                <c:pt idx="2165">
                  <c:v>2.165</c:v>
                </c:pt>
                <c:pt idx="2166">
                  <c:v>2.1659999999999999</c:v>
                </c:pt>
                <c:pt idx="2167">
                  <c:v>2.1669999999999998</c:v>
                </c:pt>
                <c:pt idx="2168">
                  <c:v>2.1680000000000001</c:v>
                </c:pt>
                <c:pt idx="2169">
                  <c:v>2.169</c:v>
                </c:pt>
                <c:pt idx="2170">
                  <c:v>2.17</c:v>
                </c:pt>
                <c:pt idx="2171">
                  <c:v>2.1709999999999998</c:v>
                </c:pt>
                <c:pt idx="2172">
                  <c:v>2.1720000000000002</c:v>
                </c:pt>
                <c:pt idx="2173">
                  <c:v>2.173</c:v>
                </c:pt>
                <c:pt idx="2174">
                  <c:v>2.1739999999999999</c:v>
                </c:pt>
                <c:pt idx="2175">
                  <c:v>2.1749999999999998</c:v>
                </c:pt>
                <c:pt idx="2176">
                  <c:v>2.1760000000000002</c:v>
                </c:pt>
                <c:pt idx="2177">
                  <c:v>2.177</c:v>
                </c:pt>
                <c:pt idx="2178">
                  <c:v>2.1779999999999999</c:v>
                </c:pt>
                <c:pt idx="2179">
                  <c:v>2.1789999999999998</c:v>
                </c:pt>
                <c:pt idx="2180">
                  <c:v>2.1800000000000002</c:v>
                </c:pt>
                <c:pt idx="2181">
                  <c:v>2.181</c:v>
                </c:pt>
                <c:pt idx="2182">
                  <c:v>2.1819999999999999</c:v>
                </c:pt>
                <c:pt idx="2183">
                  <c:v>2.1829999999999998</c:v>
                </c:pt>
                <c:pt idx="2184">
                  <c:v>2.1840000000000002</c:v>
                </c:pt>
                <c:pt idx="2185">
                  <c:v>2.1850000000000001</c:v>
                </c:pt>
                <c:pt idx="2186">
                  <c:v>2.1859999999999999</c:v>
                </c:pt>
                <c:pt idx="2187">
                  <c:v>2.1869999999999998</c:v>
                </c:pt>
                <c:pt idx="2188">
                  <c:v>2.1880000000000002</c:v>
                </c:pt>
                <c:pt idx="2189">
                  <c:v>2.1890000000000001</c:v>
                </c:pt>
                <c:pt idx="2190">
                  <c:v>2.19</c:v>
                </c:pt>
                <c:pt idx="2191">
                  <c:v>2.1909999999999998</c:v>
                </c:pt>
                <c:pt idx="2192">
                  <c:v>2.1920000000000002</c:v>
                </c:pt>
                <c:pt idx="2193">
                  <c:v>2.1930000000000001</c:v>
                </c:pt>
                <c:pt idx="2194">
                  <c:v>2.194</c:v>
                </c:pt>
                <c:pt idx="2195">
                  <c:v>2.1949999999999998</c:v>
                </c:pt>
                <c:pt idx="2196">
                  <c:v>2.1960000000000002</c:v>
                </c:pt>
                <c:pt idx="2197">
                  <c:v>2.1970000000000001</c:v>
                </c:pt>
                <c:pt idx="2198">
                  <c:v>2.198</c:v>
                </c:pt>
                <c:pt idx="2199">
                  <c:v>2.1989999999999998</c:v>
                </c:pt>
                <c:pt idx="2200">
                  <c:v>2.2000000000000002</c:v>
                </c:pt>
                <c:pt idx="2201">
                  <c:v>2.2010000000000001</c:v>
                </c:pt>
                <c:pt idx="2202">
                  <c:v>2.202</c:v>
                </c:pt>
                <c:pt idx="2203">
                  <c:v>2.2029999999999998</c:v>
                </c:pt>
                <c:pt idx="2204">
                  <c:v>2.2040000000000002</c:v>
                </c:pt>
                <c:pt idx="2205">
                  <c:v>2.2050000000000001</c:v>
                </c:pt>
                <c:pt idx="2206">
                  <c:v>2.206</c:v>
                </c:pt>
                <c:pt idx="2207">
                  <c:v>2.2069999999999999</c:v>
                </c:pt>
                <c:pt idx="2208">
                  <c:v>2.2080000000000002</c:v>
                </c:pt>
                <c:pt idx="2209">
                  <c:v>2.2090000000000001</c:v>
                </c:pt>
                <c:pt idx="2210">
                  <c:v>2.21</c:v>
                </c:pt>
                <c:pt idx="2211">
                  <c:v>2.2109999999999999</c:v>
                </c:pt>
                <c:pt idx="2212">
                  <c:v>2.2120000000000002</c:v>
                </c:pt>
                <c:pt idx="2213">
                  <c:v>2.2130000000000001</c:v>
                </c:pt>
                <c:pt idx="2214">
                  <c:v>2.214</c:v>
                </c:pt>
                <c:pt idx="2215">
                  <c:v>2.2149999999999999</c:v>
                </c:pt>
                <c:pt idx="2216">
                  <c:v>2.2160000000000002</c:v>
                </c:pt>
                <c:pt idx="2217">
                  <c:v>2.2170000000000001</c:v>
                </c:pt>
                <c:pt idx="2218">
                  <c:v>2.218</c:v>
                </c:pt>
                <c:pt idx="2219">
                  <c:v>2.2189999999999999</c:v>
                </c:pt>
                <c:pt idx="2220">
                  <c:v>2.2200000000000002</c:v>
                </c:pt>
                <c:pt idx="2221">
                  <c:v>2.2210000000000001</c:v>
                </c:pt>
                <c:pt idx="2222">
                  <c:v>2.222</c:v>
                </c:pt>
                <c:pt idx="2223">
                  <c:v>2.2229999999999999</c:v>
                </c:pt>
                <c:pt idx="2224">
                  <c:v>2.2240000000000002</c:v>
                </c:pt>
                <c:pt idx="2225">
                  <c:v>2.2250000000000001</c:v>
                </c:pt>
                <c:pt idx="2226">
                  <c:v>2.226</c:v>
                </c:pt>
                <c:pt idx="2227">
                  <c:v>2.2269999999999999</c:v>
                </c:pt>
                <c:pt idx="2228">
                  <c:v>2.2280000000000002</c:v>
                </c:pt>
                <c:pt idx="2229">
                  <c:v>2.2290000000000001</c:v>
                </c:pt>
                <c:pt idx="2230">
                  <c:v>2.23</c:v>
                </c:pt>
                <c:pt idx="2231">
                  <c:v>2.2309999999999999</c:v>
                </c:pt>
                <c:pt idx="2232">
                  <c:v>2.2320000000000002</c:v>
                </c:pt>
                <c:pt idx="2233">
                  <c:v>2.2330000000000001</c:v>
                </c:pt>
                <c:pt idx="2234">
                  <c:v>2.234</c:v>
                </c:pt>
                <c:pt idx="2235">
                  <c:v>2.2349999999999999</c:v>
                </c:pt>
                <c:pt idx="2236">
                  <c:v>2.2360000000000002</c:v>
                </c:pt>
                <c:pt idx="2237">
                  <c:v>2.2370000000000001</c:v>
                </c:pt>
                <c:pt idx="2238">
                  <c:v>2.238</c:v>
                </c:pt>
                <c:pt idx="2239">
                  <c:v>2.2389999999999999</c:v>
                </c:pt>
                <c:pt idx="2240">
                  <c:v>2.2400000000000002</c:v>
                </c:pt>
                <c:pt idx="2241">
                  <c:v>2.2410000000000001</c:v>
                </c:pt>
                <c:pt idx="2242">
                  <c:v>2.242</c:v>
                </c:pt>
                <c:pt idx="2243">
                  <c:v>2.2429999999999999</c:v>
                </c:pt>
                <c:pt idx="2244">
                  <c:v>2.2440000000000002</c:v>
                </c:pt>
                <c:pt idx="2245">
                  <c:v>2.2450000000000001</c:v>
                </c:pt>
                <c:pt idx="2246">
                  <c:v>2.246</c:v>
                </c:pt>
                <c:pt idx="2247">
                  <c:v>2.2469999999999999</c:v>
                </c:pt>
                <c:pt idx="2248">
                  <c:v>2.2480000000000002</c:v>
                </c:pt>
                <c:pt idx="2249">
                  <c:v>2.2490000000000001</c:v>
                </c:pt>
                <c:pt idx="2250">
                  <c:v>2.25</c:v>
                </c:pt>
                <c:pt idx="2251">
                  <c:v>2.2509999999999999</c:v>
                </c:pt>
                <c:pt idx="2252">
                  <c:v>2.2519999999999998</c:v>
                </c:pt>
                <c:pt idx="2253">
                  <c:v>2.2530000000000001</c:v>
                </c:pt>
                <c:pt idx="2254">
                  <c:v>2.254</c:v>
                </c:pt>
                <c:pt idx="2255">
                  <c:v>2.2549999999999999</c:v>
                </c:pt>
                <c:pt idx="2256">
                  <c:v>2.2559999999999998</c:v>
                </c:pt>
                <c:pt idx="2257">
                  <c:v>2.2570000000000001</c:v>
                </c:pt>
                <c:pt idx="2258">
                  <c:v>2.258</c:v>
                </c:pt>
                <c:pt idx="2259">
                  <c:v>2.2589999999999999</c:v>
                </c:pt>
                <c:pt idx="2260">
                  <c:v>2.2599999999999998</c:v>
                </c:pt>
                <c:pt idx="2261">
                  <c:v>2.2610000000000001</c:v>
                </c:pt>
                <c:pt idx="2262">
                  <c:v>2.262</c:v>
                </c:pt>
                <c:pt idx="2263">
                  <c:v>2.2629999999999999</c:v>
                </c:pt>
                <c:pt idx="2264">
                  <c:v>2.2639999999999998</c:v>
                </c:pt>
                <c:pt idx="2265">
                  <c:v>2.2650000000000001</c:v>
                </c:pt>
                <c:pt idx="2266">
                  <c:v>2.266</c:v>
                </c:pt>
                <c:pt idx="2267">
                  <c:v>2.2669999999999999</c:v>
                </c:pt>
                <c:pt idx="2268">
                  <c:v>2.2679999999999998</c:v>
                </c:pt>
                <c:pt idx="2269">
                  <c:v>2.2690000000000001</c:v>
                </c:pt>
                <c:pt idx="2270">
                  <c:v>2.27</c:v>
                </c:pt>
                <c:pt idx="2271">
                  <c:v>2.2709999999999999</c:v>
                </c:pt>
                <c:pt idx="2272">
                  <c:v>2.2719999999999998</c:v>
                </c:pt>
                <c:pt idx="2273">
                  <c:v>2.2730000000000001</c:v>
                </c:pt>
                <c:pt idx="2274">
                  <c:v>2.274</c:v>
                </c:pt>
                <c:pt idx="2275">
                  <c:v>2.2749999999999999</c:v>
                </c:pt>
                <c:pt idx="2276">
                  <c:v>2.2759999999999998</c:v>
                </c:pt>
                <c:pt idx="2277">
                  <c:v>2.2770000000000001</c:v>
                </c:pt>
                <c:pt idx="2278">
                  <c:v>2.278</c:v>
                </c:pt>
                <c:pt idx="2279">
                  <c:v>2.2789999999999999</c:v>
                </c:pt>
                <c:pt idx="2280">
                  <c:v>2.2799999999999998</c:v>
                </c:pt>
                <c:pt idx="2281">
                  <c:v>2.2810000000000001</c:v>
                </c:pt>
                <c:pt idx="2282">
                  <c:v>2.282</c:v>
                </c:pt>
                <c:pt idx="2283">
                  <c:v>2.2829999999999999</c:v>
                </c:pt>
                <c:pt idx="2284">
                  <c:v>2.2839999999999998</c:v>
                </c:pt>
                <c:pt idx="2285">
                  <c:v>2.2850000000000001</c:v>
                </c:pt>
                <c:pt idx="2286">
                  <c:v>2.286</c:v>
                </c:pt>
                <c:pt idx="2287">
                  <c:v>2.2869999999999999</c:v>
                </c:pt>
                <c:pt idx="2288">
                  <c:v>2.2879999999999998</c:v>
                </c:pt>
                <c:pt idx="2289">
                  <c:v>2.2890000000000001</c:v>
                </c:pt>
                <c:pt idx="2290">
                  <c:v>2.29</c:v>
                </c:pt>
                <c:pt idx="2291">
                  <c:v>2.2909999999999999</c:v>
                </c:pt>
                <c:pt idx="2292">
                  <c:v>2.2919999999999998</c:v>
                </c:pt>
                <c:pt idx="2293">
                  <c:v>2.2930000000000001</c:v>
                </c:pt>
                <c:pt idx="2294">
                  <c:v>2.294</c:v>
                </c:pt>
                <c:pt idx="2295">
                  <c:v>2.2949999999999999</c:v>
                </c:pt>
                <c:pt idx="2296">
                  <c:v>2.2959999999999998</c:v>
                </c:pt>
                <c:pt idx="2297">
                  <c:v>2.2970000000000002</c:v>
                </c:pt>
                <c:pt idx="2298">
                  <c:v>2.298</c:v>
                </c:pt>
                <c:pt idx="2299">
                  <c:v>2.2989999999999999</c:v>
                </c:pt>
                <c:pt idx="2300">
                  <c:v>2.2999999999999998</c:v>
                </c:pt>
                <c:pt idx="2301">
                  <c:v>2.3010000000000002</c:v>
                </c:pt>
                <c:pt idx="2302">
                  <c:v>2.302</c:v>
                </c:pt>
                <c:pt idx="2303">
                  <c:v>2.3029999999999999</c:v>
                </c:pt>
                <c:pt idx="2304">
                  <c:v>2.3039999999999998</c:v>
                </c:pt>
                <c:pt idx="2305">
                  <c:v>2.3050000000000002</c:v>
                </c:pt>
                <c:pt idx="2306">
                  <c:v>2.306</c:v>
                </c:pt>
                <c:pt idx="2307">
                  <c:v>2.3069999999999999</c:v>
                </c:pt>
                <c:pt idx="2308">
                  <c:v>2.3079999999999998</c:v>
                </c:pt>
                <c:pt idx="2309">
                  <c:v>2.3090000000000002</c:v>
                </c:pt>
                <c:pt idx="2310">
                  <c:v>2.31</c:v>
                </c:pt>
                <c:pt idx="2311">
                  <c:v>2.3109999999999999</c:v>
                </c:pt>
                <c:pt idx="2312">
                  <c:v>2.3119999999999998</c:v>
                </c:pt>
                <c:pt idx="2313">
                  <c:v>2.3130000000000002</c:v>
                </c:pt>
                <c:pt idx="2314">
                  <c:v>2.3140000000000001</c:v>
                </c:pt>
                <c:pt idx="2315">
                  <c:v>2.3149999999999999</c:v>
                </c:pt>
                <c:pt idx="2316">
                  <c:v>2.3159999999999998</c:v>
                </c:pt>
                <c:pt idx="2317">
                  <c:v>2.3170000000000002</c:v>
                </c:pt>
                <c:pt idx="2318">
                  <c:v>2.3180000000000001</c:v>
                </c:pt>
                <c:pt idx="2319">
                  <c:v>2.319</c:v>
                </c:pt>
                <c:pt idx="2320">
                  <c:v>2.3199999999999998</c:v>
                </c:pt>
                <c:pt idx="2321">
                  <c:v>2.3210000000000002</c:v>
                </c:pt>
                <c:pt idx="2322">
                  <c:v>2.3220000000000001</c:v>
                </c:pt>
                <c:pt idx="2323">
                  <c:v>2.323</c:v>
                </c:pt>
                <c:pt idx="2324">
                  <c:v>2.3239999999999998</c:v>
                </c:pt>
                <c:pt idx="2325">
                  <c:v>2.3250000000000002</c:v>
                </c:pt>
                <c:pt idx="2326">
                  <c:v>2.3260000000000001</c:v>
                </c:pt>
                <c:pt idx="2327">
                  <c:v>2.327</c:v>
                </c:pt>
                <c:pt idx="2328">
                  <c:v>2.3279999999999998</c:v>
                </c:pt>
                <c:pt idx="2329">
                  <c:v>2.3290000000000002</c:v>
                </c:pt>
                <c:pt idx="2330">
                  <c:v>2.33</c:v>
                </c:pt>
                <c:pt idx="2331">
                  <c:v>2.331</c:v>
                </c:pt>
                <c:pt idx="2332">
                  <c:v>2.3319999999999999</c:v>
                </c:pt>
                <c:pt idx="2333">
                  <c:v>2.3330000000000002</c:v>
                </c:pt>
                <c:pt idx="2334">
                  <c:v>2.3340000000000001</c:v>
                </c:pt>
                <c:pt idx="2335">
                  <c:v>2.335</c:v>
                </c:pt>
                <c:pt idx="2336">
                  <c:v>2.3359999999999999</c:v>
                </c:pt>
                <c:pt idx="2337">
                  <c:v>2.3370000000000002</c:v>
                </c:pt>
                <c:pt idx="2338">
                  <c:v>2.3380000000000001</c:v>
                </c:pt>
                <c:pt idx="2339">
                  <c:v>2.339</c:v>
                </c:pt>
                <c:pt idx="2340">
                  <c:v>2.34</c:v>
                </c:pt>
                <c:pt idx="2341">
                  <c:v>2.3410000000000002</c:v>
                </c:pt>
                <c:pt idx="2342">
                  <c:v>2.3420000000000001</c:v>
                </c:pt>
                <c:pt idx="2343">
                  <c:v>2.343</c:v>
                </c:pt>
                <c:pt idx="2344">
                  <c:v>2.3439999999999999</c:v>
                </c:pt>
                <c:pt idx="2345">
                  <c:v>2.3450000000000002</c:v>
                </c:pt>
                <c:pt idx="2346">
                  <c:v>2.3460000000000001</c:v>
                </c:pt>
                <c:pt idx="2347">
                  <c:v>2.347</c:v>
                </c:pt>
                <c:pt idx="2348">
                  <c:v>2.3479999999999999</c:v>
                </c:pt>
                <c:pt idx="2349">
                  <c:v>2.3490000000000002</c:v>
                </c:pt>
                <c:pt idx="2350">
                  <c:v>2.35</c:v>
                </c:pt>
                <c:pt idx="2351">
                  <c:v>2.351</c:v>
                </c:pt>
                <c:pt idx="2352">
                  <c:v>2.3519999999999999</c:v>
                </c:pt>
                <c:pt idx="2353">
                  <c:v>2.3530000000000002</c:v>
                </c:pt>
                <c:pt idx="2354">
                  <c:v>2.3540000000000001</c:v>
                </c:pt>
                <c:pt idx="2355">
                  <c:v>2.355</c:v>
                </c:pt>
                <c:pt idx="2356">
                  <c:v>2.3559999999999999</c:v>
                </c:pt>
                <c:pt idx="2357">
                  <c:v>2.3570000000000002</c:v>
                </c:pt>
                <c:pt idx="2358">
                  <c:v>2.3580000000000001</c:v>
                </c:pt>
                <c:pt idx="2359">
                  <c:v>2.359</c:v>
                </c:pt>
                <c:pt idx="2360">
                  <c:v>2.36</c:v>
                </c:pt>
                <c:pt idx="2361">
                  <c:v>2.3610000000000002</c:v>
                </c:pt>
                <c:pt idx="2362">
                  <c:v>2.3620000000000001</c:v>
                </c:pt>
                <c:pt idx="2363">
                  <c:v>2.363</c:v>
                </c:pt>
                <c:pt idx="2364">
                  <c:v>2.3639999999999999</c:v>
                </c:pt>
                <c:pt idx="2365">
                  <c:v>2.3650000000000002</c:v>
                </c:pt>
                <c:pt idx="2366">
                  <c:v>2.3660000000000001</c:v>
                </c:pt>
                <c:pt idx="2367">
                  <c:v>2.367</c:v>
                </c:pt>
                <c:pt idx="2368">
                  <c:v>2.3679999999999999</c:v>
                </c:pt>
                <c:pt idx="2369">
                  <c:v>2.3690000000000002</c:v>
                </c:pt>
                <c:pt idx="2370">
                  <c:v>2.37</c:v>
                </c:pt>
                <c:pt idx="2371">
                  <c:v>2.371</c:v>
                </c:pt>
                <c:pt idx="2372">
                  <c:v>2.3719999999999999</c:v>
                </c:pt>
                <c:pt idx="2373">
                  <c:v>2.3730000000000002</c:v>
                </c:pt>
                <c:pt idx="2374">
                  <c:v>2.3740000000000001</c:v>
                </c:pt>
                <c:pt idx="2375">
                  <c:v>2.375</c:v>
                </c:pt>
                <c:pt idx="2376">
                  <c:v>2.3759999999999999</c:v>
                </c:pt>
                <c:pt idx="2377">
                  <c:v>2.3769999999999998</c:v>
                </c:pt>
                <c:pt idx="2378">
                  <c:v>2.3780000000000001</c:v>
                </c:pt>
                <c:pt idx="2379">
                  <c:v>2.379</c:v>
                </c:pt>
                <c:pt idx="2380">
                  <c:v>2.38</c:v>
                </c:pt>
                <c:pt idx="2381">
                  <c:v>2.3809999999999998</c:v>
                </c:pt>
                <c:pt idx="2382">
                  <c:v>2.3820000000000001</c:v>
                </c:pt>
                <c:pt idx="2383">
                  <c:v>2.383</c:v>
                </c:pt>
                <c:pt idx="2384">
                  <c:v>2.3839999999999999</c:v>
                </c:pt>
                <c:pt idx="2385">
                  <c:v>2.3849999999999998</c:v>
                </c:pt>
                <c:pt idx="2386">
                  <c:v>2.3860000000000001</c:v>
                </c:pt>
                <c:pt idx="2387">
                  <c:v>2.387</c:v>
                </c:pt>
                <c:pt idx="2388">
                  <c:v>2.3879999999999999</c:v>
                </c:pt>
                <c:pt idx="2389">
                  <c:v>2.3889999999999998</c:v>
                </c:pt>
                <c:pt idx="2390">
                  <c:v>2.39</c:v>
                </c:pt>
                <c:pt idx="2391">
                  <c:v>2.391</c:v>
                </c:pt>
                <c:pt idx="2392">
                  <c:v>2.3919999999999999</c:v>
                </c:pt>
                <c:pt idx="2393">
                  <c:v>2.3929999999999998</c:v>
                </c:pt>
                <c:pt idx="2394">
                  <c:v>2.3940000000000001</c:v>
                </c:pt>
                <c:pt idx="2395">
                  <c:v>2.395</c:v>
                </c:pt>
                <c:pt idx="2396">
                  <c:v>2.3959999999999999</c:v>
                </c:pt>
                <c:pt idx="2397">
                  <c:v>2.3969999999999998</c:v>
                </c:pt>
                <c:pt idx="2398">
                  <c:v>2.3980000000000001</c:v>
                </c:pt>
                <c:pt idx="2399">
                  <c:v>2.399</c:v>
                </c:pt>
                <c:pt idx="2400">
                  <c:v>2.4</c:v>
                </c:pt>
                <c:pt idx="2401">
                  <c:v>2.4009999999999998</c:v>
                </c:pt>
                <c:pt idx="2402">
                  <c:v>2.4020000000000001</c:v>
                </c:pt>
                <c:pt idx="2403">
                  <c:v>2.403</c:v>
                </c:pt>
                <c:pt idx="2404">
                  <c:v>2.4039999999999999</c:v>
                </c:pt>
                <c:pt idx="2405">
                  <c:v>2.4049999999999998</c:v>
                </c:pt>
                <c:pt idx="2406">
                  <c:v>2.4060000000000001</c:v>
                </c:pt>
                <c:pt idx="2407">
                  <c:v>2.407</c:v>
                </c:pt>
                <c:pt idx="2408">
                  <c:v>2.4079999999999999</c:v>
                </c:pt>
                <c:pt idx="2409">
                  <c:v>2.4089999999999998</c:v>
                </c:pt>
                <c:pt idx="2410">
                  <c:v>2.41</c:v>
                </c:pt>
                <c:pt idx="2411">
                  <c:v>2.411</c:v>
                </c:pt>
                <c:pt idx="2412">
                  <c:v>2.4119999999999999</c:v>
                </c:pt>
                <c:pt idx="2413">
                  <c:v>2.4129999999999998</c:v>
                </c:pt>
                <c:pt idx="2414">
                  <c:v>2.4140000000000001</c:v>
                </c:pt>
                <c:pt idx="2415">
                  <c:v>2.415</c:v>
                </c:pt>
                <c:pt idx="2416">
                  <c:v>2.4159999999999999</c:v>
                </c:pt>
                <c:pt idx="2417">
                  <c:v>2.4169999999999998</c:v>
                </c:pt>
                <c:pt idx="2418">
                  <c:v>2.4180000000000001</c:v>
                </c:pt>
                <c:pt idx="2419">
                  <c:v>2.419</c:v>
                </c:pt>
                <c:pt idx="2420">
                  <c:v>2.42</c:v>
                </c:pt>
                <c:pt idx="2421">
                  <c:v>2.4209999999999998</c:v>
                </c:pt>
                <c:pt idx="2422">
                  <c:v>2.4220000000000002</c:v>
                </c:pt>
                <c:pt idx="2423">
                  <c:v>2.423</c:v>
                </c:pt>
                <c:pt idx="2424">
                  <c:v>2.4239999999999999</c:v>
                </c:pt>
                <c:pt idx="2425">
                  <c:v>2.4249999999999998</c:v>
                </c:pt>
                <c:pt idx="2426">
                  <c:v>2.4260000000000002</c:v>
                </c:pt>
                <c:pt idx="2427">
                  <c:v>2.427</c:v>
                </c:pt>
                <c:pt idx="2428">
                  <c:v>2.4279999999999999</c:v>
                </c:pt>
                <c:pt idx="2429">
                  <c:v>2.4289999999999998</c:v>
                </c:pt>
                <c:pt idx="2430">
                  <c:v>2.4300000000000002</c:v>
                </c:pt>
                <c:pt idx="2431">
                  <c:v>2.431</c:v>
                </c:pt>
                <c:pt idx="2432">
                  <c:v>2.4319999999999999</c:v>
                </c:pt>
                <c:pt idx="2433">
                  <c:v>2.4329999999999998</c:v>
                </c:pt>
                <c:pt idx="2434">
                  <c:v>2.4340000000000002</c:v>
                </c:pt>
                <c:pt idx="2435">
                  <c:v>2.4350000000000001</c:v>
                </c:pt>
                <c:pt idx="2436">
                  <c:v>2.4359999999999999</c:v>
                </c:pt>
                <c:pt idx="2437">
                  <c:v>2.4369999999999998</c:v>
                </c:pt>
                <c:pt idx="2438">
                  <c:v>2.4380000000000002</c:v>
                </c:pt>
                <c:pt idx="2439">
                  <c:v>2.4390000000000001</c:v>
                </c:pt>
                <c:pt idx="2440">
                  <c:v>2.44</c:v>
                </c:pt>
                <c:pt idx="2441">
                  <c:v>2.4409999999999998</c:v>
                </c:pt>
                <c:pt idx="2442">
                  <c:v>2.4420000000000002</c:v>
                </c:pt>
                <c:pt idx="2443">
                  <c:v>2.4430000000000001</c:v>
                </c:pt>
                <c:pt idx="2444">
                  <c:v>2.444</c:v>
                </c:pt>
                <c:pt idx="2445">
                  <c:v>2.4449999999999998</c:v>
                </c:pt>
                <c:pt idx="2446">
                  <c:v>2.4460000000000002</c:v>
                </c:pt>
                <c:pt idx="2447">
                  <c:v>2.4470000000000001</c:v>
                </c:pt>
                <c:pt idx="2448">
                  <c:v>2.448</c:v>
                </c:pt>
                <c:pt idx="2449">
                  <c:v>2.4489999999999998</c:v>
                </c:pt>
                <c:pt idx="2450">
                  <c:v>2.4500000000000002</c:v>
                </c:pt>
                <c:pt idx="2451">
                  <c:v>2.4510000000000001</c:v>
                </c:pt>
                <c:pt idx="2452">
                  <c:v>2.452</c:v>
                </c:pt>
                <c:pt idx="2453">
                  <c:v>2.4529999999999998</c:v>
                </c:pt>
                <c:pt idx="2454">
                  <c:v>2.4540000000000002</c:v>
                </c:pt>
                <c:pt idx="2455">
                  <c:v>2.4550000000000001</c:v>
                </c:pt>
                <c:pt idx="2456">
                  <c:v>2.456</c:v>
                </c:pt>
                <c:pt idx="2457">
                  <c:v>2.4569999999999999</c:v>
                </c:pt>
                <c:pt idx="2458">
                  <c:v>2.4580000000000002</c:v>
                </c:pt>
                <c:pt idx="2459">
                  <c:v>2.4590000000000001</c:v>
                </c:pt>
                <c:pt idx="2460">
                  <c:v>2.46</c:v>
                </c:pt>
                <c:pt idx="2461">
                  <c:v>2.4609999999999999</c:v>
                </c:pt>
                <c:pt idx="2462">
                  <c:v>2.4620000000000002</c:v>
                </c:pt>
                <c:pt idx="2463">
                  <c:v>2.4630000000000001</c:v>
                </c:pt>
                <c:pt idx="2464">
                  <c:v>2.464</c:v>
                </c:pt>
                <c:pt idx="2465">
                  <c:v>2.4649999999999999</c:v>
                </c:pt>
                <c:pt idx="2466">
                  <c:v>2.4660000000000002</c:v>
                </c:pt>
                <c:pt idx="2467">
                  <c:v>2.4670000000000001</c:v>
                </c:pt>
                <c:pt idx="2468">
                  <c:v>2.468</c:v>
                </c:pt>
                <c:pt idx="2469">
                  <c:v>2.4689999999999999</c:v>
                </c:pt>
                <c:pt idx="2470">
                  <c:v>2.4700000000000002</c:v>
                </c:pt>
                <c:pt idx="2471">
                  <c:v>2.4710000000000001</c:v>
                </c:pt>
                <c:pt idx="2472">
                  <c:v>2.472</c:v>
                </c:pt>
                <c:pt idx="2473">
                  <c:v>2.4729999999999999</c:v>
                </c:pt>
                <c:pt idx="2474">
                  <c:v>2.4740000000000002</c:v>
                </c:pt>
                <c:pt idx="2475">
                  <c:v>2.4750000000000001</c:v>
                </c:pt>
                <c:pt idx="2476">
                  <c:v>2.476</c:v>
                </c:pt>
                <c:pt idx="2477">
                  <c:v>2.4769999999999999</c:v>
                </c:pt>
                <c:pt idx="2478">
                  <c:v>2.4780000000000002</c:v>
                </c:pt>
                <c:pt idx="2479">
                  <c:v>2.4790000000000001</c:v>
                </c:pt>
                <c:pt idx="2480">
                  <c:v>2.48</c:v>
                </c:pt>
                <c:pt idx="2481">
                  <c:v>2.4809999999999999</c:v>
                </c:pt>
                <c:pt idx="2482">
                  <c:v>2.4820000000000002</c:v>
                </c:pt>
                <c:pt idx="2483">
                  <c:v>2.4830000000000001</c:v>
                </c:pt>
                <c:pt idx="2484">
                  <c:v>2.484</c:v>
                </c:pt>
                <c:pt idx="2485">
                  <c:v>2.4849999999999999</c:v>
                </c:pt>
                <c:pt idx="2486">
                  <c:v>2.4860000000000002</c:v>
                </c:pt>
                <c:pt idx="2487">
                  <c:v>2.4870000000000001</c:v>
                </c:pt>
                <c:pt idx="2488">
                  <c:v>2.488</c:v>
                </c:pt>
                <c:pt idx="2489">
                  <c:v>2.4889999999999999</c:v>
                </c:pt>
                <c:pt idx="2490">
                  <c:v>2.4900000000000002</c:v>
                </c:pt>
                <c:pt idx="2491">
                  <c:v>2.4910000000000001</c:v>
                </c:pt>
                <c:pt idx="2492">
                  <c:v>2.492</c:v>
                </c:pt>
                <c:pt idx="2493">
                  <c:v>2.4929999999999999</c:v>
                </c:pt>
                <c:pt idx="2494">
                  <c:v>2.4940000000000002</c:v>
                </c:pt>
                <c:pt idx="2495">
                  <c:v>2.4950000000000001</c:v>
                </c:pt>
                <c:pt idx="2496">
                  <c:v>2.496</c:v>
                </c:pt>
                <c:pt idx="2497">
                  <c:v>2.4969999999999999</c:v>
                </c:pt>
                <c:pt idx="2498">
                  <c:v>2.4980000000000002</c:v>
                </c:pt>
                <c:pt idx="2499">
                  <c:v>2.4990000000000001</c:v>
                </c:pt>
                <c:pt idx="2500">
                  <c:v>2.5</c:v>
                </c:pt>
                <c:pt idx="2501">
                  <c:v>2.5009999999999999</c:v>
                </c:pt>
                <c:pt idx="2502">
                  <c:v>2.5019999999999998</c:v>
                </c:pt>
                <c:pt idx="2503">
                  <c:v>2.5030000000000001</c:v>
                </c:pt>
                <c:pt idx="2504">
                  <c:v>2.504</c:v>
                </c:pt>
                <c:pt idx="2505">
                  <c:v>2.5049999999999999</c:v>
                </c:pt>
                <c:pt idx="2506">
                  <c:v>2.5059999999999998</c:v>
                </c:pt>
                <c:pt idx="2507">
                  <c:v>2.5070000000000001</c:v>
                </c:pt>
                <c:pt idx="2508">
                  <c:v>2.508</c:v>
                </c:pt>
                <c:pt idx="2509">
                  <c:v>2.5089999999999999</c:v>
                </c:pt>
                <c:pt idx="2510">
                  <c:v>2.5099999999999998</c:v>
                </c:pt>
                <c:pt idx="2511">
                  <c:v>2.5110000000000001</c:v>
                </c:pt>
                <c:pt idx="2512">
                  <c:v>2.512</c:v>
                </c:pt>
                <c:pt idx="2513">
                  <c:v>2.5129999999999999</c:v>
                </c:pt>
                <c:pt idx="2514">
                  <c:v>2.5139999999999998</c:v>
                </c:pt>
                <c:pt idx="2515">
                  <c:v>2.5150000000000001</c:v>
                </c:pt>
                <c:pt idx="2516">
                  <c:v>2.516</c:v>
                </c:pt>
                <c:pt idx="2517">
                  <c:v>2.5169999999999999</c:v>
                </c:pt>
                <c:pt idx="2518">
                  <c:v>2.5179999999999998</c:v>
                </c:pt>
                <c:pt idx="2519">
                  <c:v>2.5190000000000001</c:v>
                </c:pt>
                <c:pt idx="2520">
                  <c:v>2.52</c:v>
                </c:pt>
                <c:pt idx="2521">
                  <c:v>2.5209999999999999</c:v>
                </c:pt>
                <c:pt idx="2522">
                  <c:v>2.5219999999999998</c:v>
                </c:pt>
                <c:pt idx="2523">
                  <c:v>2.5230000000000001</c:v>
                </c:pt>
                <c:pt idx="2524">
                  <c:v>2.524</c:v>
                </c:pt>
                <c:pt idx="2525">
                  <c:v>2.5249999999999999</c:v>
                </c:pt>
                <c:pt idx="2526">
                  <c:v>2.5259999999999998</c:v>
                </c:pt>
                <c:pt idx="2527">
                  <c:v>2.5270000000000001</c:v>
                </c:pt>
                <c:pt idx="2528">
                  <c:v>2.528</c:v>
                </c:pt>
                <c:pt idx="2529">
                  <c:v>2.5289999999999999</c:v>
                </c:pt>
                <c:pt idx="2530">
                  <c:v>2.5299999999999998</c:v>
                </c:pt>
                <c:pt idx="2531">
                  <c:v>2.5310000000000001</c:v>
                </c:pt>
                <c:pt idx="2532">
                  <c:v>2.532</c:v>
                </c:pt>
                <c:pt idx="2533">
                  <c:v>2.5329999999999999</c:v>
                </c:pt>
                <c:pt idx="2534">
                  <c:v>2.5339999999999998</c:v>
                </c:pt>
                <c:pt idx="2535">
                  <c:v>2.5350000000000001</c:v>
                </c:pt>
                <c:pt idx="2536">
                  <c:v>2.536</c:v>
                </c:pt>
                <c:pt idx="2537">
                  <c:v>2.5369999999999999</c:v>
                </c:pt>
                <c:pt idx="2538">
                  <c:v>2.5379999999999998</c:v>
                </c:pt>
                <c:pt idx="2539">
                  <c:v>2.5390000000000001</c:v>
                </c:pt>
                <c:pt idx="2540">
                  <c:v>2.54</c:v>
                </c:pt>
                <c:pt idx="2541">
                  <c:v>2.5409999999999999</c:v>
                </c:pt>
                <c:pt idx="2542">
                  <c:v>2.5419999999999998</c:v>
                </c:pt>
                <c:pt idx="2543">
                  <c:v>2.5430000000000001</c:v>
                </c:pt>
                <c:pt idx="2544">
                  <c:v>2.544</c:v>
                </c:pt>
                <c:pt idx="2545">
                  <c:v>2.5449999999999999</c:v>
                </c:pt>
                <c:pt idx="2546">
                  <c:v>2.5459999999999998</c:v>
                </c:pt>
                <c:pt idx="2547">
                  <c:v>2.5470000000000002</c:v>
                </c:pt>
                <c:pt idx="2548">
                  <c:v>2.548</c:v>
                </c:pt>
                <c:pt idx="2549">
                  <c:v>2.5489999999999999</c:v>
                </c:pt>
                <c:pt idx="2550">
                  <c:v>2.5499999999999998</c:v>
                </c:pt>
                <c:pt idx="2551">
                  <c:v>2.5510000000000002</c:v>
                </c:pt>
                <c:pt idx="2552">
                  <c:v>2.552</c:v>
                </c:pt>
                <c:pt idx="2553">
                  <c:v>2.5529999999999999</c:v>
                </c:pt>
                <c:pt idx="2554">
                  <c:v>2.5539999999999998</c:v>
                </c:pt>
                <c:pt idx="2555">
                  <c:v>2.5550000000000002</c:v>
                </c:pt>
                <c:pt idx="2556">
                  <c:v>2.556</c:v>
                </c:pt>
                <c:pt idx="2557">
                  <c:v>2.5569999999999999</c:v>
                </c:pt>
                <c:pt idx="2558">
                  <c:v>2.5579999999999998</c:v>
                </c:pt>
                <c:pt idx="2559">
                  <c:v>2.5590000000000002</c:v>
                </c:pt>
                <c:pt idx="2560">
                  <c:v>2.56</c:v>
                </c:pt>
                <c:pt idx="2561">
                  <c:v>2.5609999999999999</c:v>
                </c:pt>
                <c:pt idx="2562">
                  <c:v>2.5619999999999998</c:v>
                </c:pt>
                <c:pt idx="2563">
                  <c:v>2.5630000000000002</c:v>
                </c:pt>
                <c:pt idx="2564">
                  <c:v>2.5640000000000001</c:v>
                </c:pt>
                <c:pt idx="2565">
                  <c:v>2.5649999999999999</c:v>
                </c:pt>
                <c:pt idx="2566">
                  <c:v>2.5659999999999998</c:v>
                </c:pt>
                <c:pt idx="2567">
                  <c:v>2.5670000000000002</c:v>
                </c:pt>
                <c:pt idx="2568">
                  <c:v>2.5680000000000001</c:v>
                </c:pt>
                <c:pt idx="2569">
                  <c:v>2.569</c:v>
                </c:pt>
                <c:pt idx="2570">
                  <c:v>2.57</c:v>
                </c:pt>
                <c:pt idx="2571">
                  <c:v>2.5710000000000002</c:v>
                </c:pt>
                <c:pt idx="2572">
                  <c:v>2.5720000000000001</c:v>
                </c:pt>
                <c:pt idx="2573">
                  <c:v>2.573</c:v>
                </c:pt>
                <c:pt idx="2574">
                  <c:v>2.5739999999999998</c:v>
                </c:pt>
                <c:pt idx="2575">
                  <c:v>2.5750000000000002</c:v>
                </c:pt>
                <c:pt idx="2576">
                  <c:v>2.5760000000000001</c:v>
                </c:pt>
                <c:pt idx="2577">
                  <c:v>2.577</c:v>
                </c:pt>
                <c:pt idx="2578">
                  <c:v>2.5779999999999998</c:v>
                </c:pt>
                <c:pt idx="2579">
                  <c:v>2.5790000000000002</c:v>
                </c:pt>
                <c:pt idx="2580">
                  <c:v>2.58</c:v>
                </c:pt>
                <c:pt idx="2581">
                  <c:v>2.581</c:v>
                </c:pt>
                <c:pt idx="2582">
                  <c:v>2.5819999999999999</c:v>
                </c:pt>
                <c:pt idx="2583">
                  <c:v>2.5830000000000002</c:v>
                </c:pt>
                <c:pt idx="2584">
                  <c:v>2.5840000000000001</c:v>
                </c:pt>
                <c:pt idx="2585">
                  <c:v>2.585</c:v>
                </c:pt>
                <c:pt idx="2586">
                  <c:v>2.5859999999999999</c:v>
                </c:pt>
                <c:pt idx="2587">
                  <c:v>2.5870000000000002</c:v>
                </c:pt>
                <c:pt idx="2588">
                  <c:v>2.5880000000000001</c:v>
                </c:pt>
                <c:pt idx="2589">
                  <c:v>2.589</c:v>
                </c:pt>
                <c:pt idx="2590">
                  <c:v>2.59</c:v>
                </c:pt>
                <c:pt idx="2591">
                  <c:v>2.5910000000000002</c:v>
                </c:pt>
                <c:pt idx="2592">
                  <c:v>2.5920000000000001</c:v>
                </c:pt>
                <c:pt idx="2593">
                  <c:v>2.593</c:v>
                </c:pt>
                <c:pt idx="2594">
                  <c:v>2.5939999999999999</c:v>
                </c:pt>
                <c:pt idx="2595">
                  <c:v>2.5950000000000002</c:v>
                </c:pt>
                <c:pt idx="2596">
                  <c:v>2.5960000000000001</c:v>
                </c:pt>
                <c:pt idx="2597">
                  <c:v>2.597</c:v>
                </c:pt>
                <c:pt idx="2598">
                  <c:v>2.5979999999999999</c:v>
                </c:pt>
                <c:pt idx="2599">
                  <c:v>2.5990000000000002</c:v>
                </c:pt>
                <c:pt idx="2600">
                  <c:v>2.6</c:v>
                </c:pt>
                <c:pt idx="2601">
                  <c:v>2.601</c:v>
                </c:pt>
                <c:pt idx="2602">
                  <c:v>2.6019999999999999</c:v>
                </c:pt>
                <c:pt idx="2603">
                  <c:v>2.6030000000000002</c:v>
                </c:pt>
                <c:pt idx="2604">
                  <c:v>2.6040000000000001</c:v>
                </c:pt>
                <c:pt idx="2605">
                  <c:v>2.605</c:v>
                </c:pt>
                <c:pt idx="2606">
                  <c:v>2.6059999999999999</c:v>
                </c:pt>
                <c:pt idx="2607">
                  <c:v>2.6070000000000002</c:v>
                </c:pt>
                <c:pt idx="2608">
                  <c:v>2.6080000000000001</c:v>
                </c:pt>
                <c:pt idx="2609">
                  <c:v>2.609</c:v>
                </c:pt>
                <c:pt idx="2610">
                  <c:v>2.61</c:v>
                </c:pt>
                <c:pt idx="2611">
                  <c:v>2.6110000000000002</c:v>
                </c:pt>
                <c:pt idx="2612">
                  <c:v>2.6120000000000001</c:v>
                </c:pt>
                <c:pt idx="2613">
                  <c:v>2.613</c:v>
                </c:pt>
                <c:pt idx="2614">
                  <c:v>2.6139999999999999</c:v>
                </c:pt>
                <c:pt idx="2615">
                  <c:v>2.6150000000000002</c:v>
                </c:pt>
                <c:pt idx="2616">
                  <c:v>2.6160000000000001</c:v>
                </c:pt>
                <c:pt idx="2617">
                  <c:v>2.617</c:v>
                </c:pt>
                <c:pt idx="2618">
                  <c:v>2.6179999999999999</c:v>
                </c:pt>
                <c:pt idx="2619">
                  <c:v>2.6190000000000002</c:v>
                </c:pt>
                <c:pt idx="2620">
                  <c:v>2.62</c:v>
                </c:pt>
                <c:pt idx="2621">
                  <c:v>2.621</c:v>
                </c:pt>
                <c:pt idx="2622">
                  <c:v>2.6219999999999999</c:v>
                </c:pt>
                <c:pt idx="2623">
                  <c:v>2.6230000000000002</c:v>
                </c:pt>
                <c:pt idx="2624">
                  <c:v>2.6240000000000001</c:v>
                </c:pt>
                <c:pt idx="2625">
                  <c:v>2.625</c:v>
                </c:pt>
                <c:pt idx="2626">
                  <c:v>2.6259999999999999</c:v>
                </c:pt>
                <c:pt idx="2627">
                  <c:v>2.6269999999999998</c:v>
                </c:pt>
                <c:pt idx="2628">
                  <c:v>2.6280000000000001</c:v>
                </c:pt>
                <c:pt idx="2629">
                  <c:v>2.629</c:v>
                </c:pt>
                <c:pt idx="2630">
                  <c:v>2.63</c:v>
                </c:pt>
                <c:pt idx="2631">
                  <c:v>2.6309999999999998</c:v>
                </c:pt>
                <c:pt idx="2632">
                  <c:v>2.6320000000000001</c:v>
                </c:pt>
                <c:pt idx="2633">
                  <c:v>2.633</c:v>
                </c:pt>
                <c:pt idx="2634">
                  <c:v>2.6339999999999999</c:v>
                </c:pt>
                <c:pt idx="2635">
                  <c:v>2.6349999999999998</c:v>
                </c:pt>
                <c:pt idx="2636">
                  <c:v>2.6360000000000001</c:v>
                </c:pt>
                <c:pt idx="2637">
                  <c:v>2.637</c:v>
                </c:pt>
                <c:pt idx="2638">
                  <c:v>2.6379999999999999</c:v>
                </c:pt>
                <c:pt idx="2639">
                  <c:v>2.6389999999999998</c:v>
                </c:pt>
                <c:pt idx="2640">
                  <c:v>2.64</c:v>
                </c:pt>
                <c:pt idx="2641">
                  <c:v>2.641</c:v>
                </c:pt>
                <c:pt idx="2642">
                  <c:v>2.6419999999999999</c:v>
                </c:pt>
                <c:pt idx="2643">
                  <c:v>2.6429999999999998</c:v>
                </c:pt>
                <c:pt idx="2644">
                  <c:v>2.6440000000000001</c:v>
                </c:pt>
                <c:pt idx="2645">
                  <c:v>2.645</c:v>
                </c:pt>
                <c:pt idx="2646">
                  <c:v>2.6459999999999999</c:v>
                </c:pt>
                <c:pt idx="2647">
                  <c:v>2.6469999999999998</c:v>
                </c:pt>
                <c:pt idx="2648">
                  <c:v>2.6480000000000001</c:v>
                </c:pt>
                <c:pt idx="2649">
                  <c:v>2.649</c:v>
                </c:pt>
                <c:pt idx="2650">
                  <c:v>2.65</c:v>
                </c:pt>
                <c:pt idx="2651">
                  <c:v>2.6509999999999998</c:v>
                </c:pt>
                <c:pt idx="2652">
                  <c:v>2.6520000000000001</c:v>
                </c:pt>
                <c:pt idx="2653">
                  <c:v>2.653</c:v>
                </c:pt>
                <c:pt idx="2654">
                  <c:v>2.6539999999999999</c:v>
                </c:pt>
                <c:pt idx="2655">
                  <c:v>2.6549999999999998</c:v>
                </c:pt>
                <c:pt idx="2656">
                  <c:v>2.6560000000000001</c:v>
                </c:pt>
                <c:pt idx="2657">
                  <c:v>2.657</c:v>
                </c:pt>
                <c:pt idx="2658">
                  <c:v>2.6579999999999999</c:v>
                </c:pt>
                <c:pt idx="2659">
                  <c:v>2.6589999999999998</c:v>
                </c:pt>
                <c:pt idx="2660">
                  <c:v>2.66</c:v>
                </c:pt>
                <c:pt idx="2661">
                  <c:v>2.661</c:v>
                </c:pt>
                <c:pt idx="2662">
                  <c:v>2.6619999999999999</c:v>
                </c:pt>
                <c:pt idx="2663">
                  <c:v>2.6629999999999998</c:v>
                </c:pt>
                <c:pt idx="2664">
                  <c:v>2.6640000000000001</c:v>
                </c:pt>
                <c:pt idx="2665">
                  <c:v>2.665</c:v>
                </c:pt>
                <c:pt idx="2666">
                  <c:v>2.6659999999999999</c:v>
                </c:pt>
                <c:pt idx="2667">
                  <c:v>2.6669999999999998</c:v>
                </c:pt>
                <c:pt idx="2668">
                  <c:v>2.6680000000000001</c:v>
                </c:pt>
                <c:pt idx="2669">
                  <c:v>2.669</c:v>
                </c:pt>
                <c:pt idx="2670">
                  <c:v>2.67</c:v>
                </c:pt>
                <c:pt idx="2671">
                  <c:v>2.6709999999999998</c:v>
                </c:pt>
                <c:pt idx="2672">
                  <c:v>2.6720000000000002</c:v>
                </c:pt>
                <c:pt idx="2673">
                  <c:v>2.673</c:v>
                </c:pt>
                <c:pt idx="2674">
                  <c:v>2.6739999999999999</c:v>
                </c:pt>
                <c:pt idx="2675">
                  <c:v>2.6749999999999998</c:v>
                </c:pt>
                <c:pt idx="2676">
                  <c:v>2.6760000000000002</c:v>
                </c:pt>
                <c:pt idx="2677">
                  <c:v>2.677</c:v>
                </c:pt>
                <c:pt idx="2678">
                  <c:v>2.6779999999999999</c:v>
                </c:pt>
                <c:pt idx="2679">
                  <c:v>2.6789999999999998</c:v>
                </c:pt>
                <c:pt idx="2680">
                  <c:v>2.68</c:v>
                </c:pt>
                <c:pt idx="2681">
                  <c:v>2.681</c:v>
                </c:pt>
                <c:pt idx="2682">
                  <c:v>2.6819999999999999</c:v>
                </c:pt>
                <c:pt idx="2683">
                  <c:v>2.6829999999999998</c:v>
                </c:pt>
                <c:pt idx="2684">
                  <c:v>2.6840000000000002</c:v>
                </c:pt>
                <c:pt idx="2685">
                  <c:v>2.6850000000000001</c:v>
                </c:pt>
                <c:pt idx="2686">
                  <c:v>2.6859999999999999</c:v>
                </c:pt>
                <c:pt idx="2687">
                  <c:v>2.6869999999999998</c:v>
                </c:pt>
                <c:pt idx="2688">
                  <c:v>2.6880000000000002</c:v>
                </c:pt>
                <c:pt idx="2689">
                  <c:v>2.6890000000000001</c:v>
                </c:pt>
                <c:pt idx="2690">
                  <c:v>2.69</c:v>
                </c:pt>
                <c:pt idx="2691">
                  <c:v>2.6909999999999998</c:v>
                </c:pt>
                <c:pt idx="2692">
                  <c:v>2.6920000000000002</c:v>
                </c:pt>
                <c:pt idx="2693">
                  <c:v>2.6930000000000001</c:v>
                </c:pt>
                <c:pt idx="2694">
                  <c:v>2.694</c:v>
                </c:pt>
                <c:pt idx="2695">
                  <c:v>2.6949999999999998</c:v>
                </c:pt>
                <c:pt idx="2696">
                  <c:v>2.6960000000000002</c:v>
                </c:pt>
                <c:pt idx="2697">
                  <c:v>2.6970000000000001</c:v>
                </c:pt>
                <c:pt idx="2698">
                  <c:v>2.698</c:v>
                </c:pt>
                <c:pt idx="2699">
                  <c:v>2.6989999999999998</c:v>
                </c:pt>
                <c:pt idx="2700">
                  <c:v>2.7</c:v>
                </c:pt>
                <c:pt idx="2701">
                  <c:v>2.7010000000000001</c:v>
                </c:pt>
                <c:pt idx="2702">
                  <c:v>2.702</c:v>
                </c:pt>
                <c:pt idx="2703">
                  <c:v>2.7029999999999998</c:v>
                </c:pt>
                <c:pt idx="2704">
                  <c:v>2.7040000000000002</c:v>
                </c:pt>
                <c:pt idx="2705">
                  <c:v>2.7050000000000001</c:v>
                </c:pt>
                <c:pt idx="2706">
                  <c:v>2.706</c:v>
                </c:pt>
                <c:pt idx="2707">
                  <c:v>2.7069999999999999</c:v>
                </c:pt>
                <c:pt idx="2708">
                  <c:v>2.7080000000000002</c:v>
                </c:pt>
                <c:pt idx="2709">
                  <c:v>2.7090000000000001</c:v>
                </c:pt>
                <c:pt idx="2710">
                  <c:v>2.71</c:v>
                </c:pt>
                <c:pt idx="2711">
                  <c:v>2.7109999999999999</c:v>
                </c:pt>
                <c:pt idx="2712">
                  <c:v>2.7120000000000002</c:v>
                </c:pt>
                <c:pt idx="2713">
                  <c:v>2.7130000000000001</c:v>
                </c:pt>
                <c:pt idx="2714">
                  <c:v>2.714</c:v>
                </c:pt>
                <c:pt idx="2715">
                  <c:v>2.7149999999999999</c:v>
                </c:pt>
                <c:pt idx="2716">
                  <c:v>2.7160000000000002</c:v>
                </c:pt>
                <c:pt idx="2717">
                  <c:v>2.7170000000000001</c:v>
                </c:pt>
                <c:pt idx="2718">
                  <c:v>2.718</c:v>
                </c:pt>
                <c:pt idx="2719">
                  <c:v>2.7189999999999999</c:v>
                </c:pt>
                <c:pt idx="2720">
                  <c:v>2.72</c:v>
                </c:pt>
                <c:pt idx="2721">
                  <c:v>2.7210000000000001</c:v>
                </c:pt>
                <c:pt idx="2722">
                  <c:v>2.722</c:v>
                </c:pt>
                <c:pt idx="2723">
                  <c:v>2.7229999999999999</c:v>
                </c:pt>
                <c:pt idx="2724">
                  <c:v>2.7240000000000002</c:v>
                </c:pt>
                <c:pt idx="2725">
                  <c:v>2.7250000000000001</c:v>
                </c:pt>
                <c:pt idx="2726">
                  <c:v>2.726</c:v>
                </c:pt>
                <c:pt idx="2727">
                  <c:v>2.7269999999999999</c:v>
                </c:pt>
                <c:pt idx="2728">
                  <c:v>2.7280000000000002</c:v>
                </c:pt>
                <c:pt idx="2729">
                  <c:v>2.7290000000000001</c:v>
                </c:pt>
                <c:pt idx="2730">
                  <c:v>2.73</c:v>
                </c:pt>
                <c:pt idx="2731">
                  <c:v>2.7309999999999999</c:v>
                </c:pt>
                <c:pt idx="2732">
                  <c:v>2.7320000000000002</c:v>
                </c:pt>
                <c:pt idx="2733">
                  <c:v>2.7330000000000001</c:v>
                </c:pt>
                <c:pt idx="2734">
                  <c:v>2.734</c:v>
                </c:pt>
                <c:pt idx="2735">
                  <c:v>2.7349999999999999</c:v>
                </c:pt>
                <c:pt idx="2736">
                  <c:v>2.7360000000000002</c:v>
                </c:pt>
                <c:pt idx="2737">
                  <c:v>2.7370000000000001</c:v>
                </c:pt>
                <c:pt idx="2738">
                  <c:v>2.738</c:v>
                </c:pt>
                <c:pt idx="2739">
                  <c:v>2.7389999999999999</c:v>
                </c:pt>
                <c:pt idx="2740">
                  <c:v>2.74</c:v>
                </c:pt>
                <c:pt idx="2741">
                  <c:v>2.7410000000000001</c:v>
                </c:pt>
                <c:pt idx="2742">
                  <c:v>2.742</c:v>
                </c:pt>
                <c:pt idx="2743">
                  <c:v>2.7429999999999999</c:v>
                </c:pt>
                <c:pt idx="2744">
                  <c:v>2.7440000000000002</c:v>
                </c:pt>
                <c:pt idx="2745">
                  <c:v>2.7450000000000001</c:v>
                </c:pt>
                <c:pt idx="2746">
                  <c:v>2.746</c:v>
                </c:pt>
                <c:pt idx="2747">
                  <c:v>2.7469999999999999</c:v>
                </c:pt>
                <c:pt idx="2748">
                  <c:v>2.7480000000000002</c:v>
                </c:pt>
                <c:pt idx="2749">
                  <c:v>2.7490000000000001</c:v>
                </c:pt>
                <c:pt idx="2750">
                  <c:v>2.75</c:v>
                </c:pt>
                <c:pt idx="2751">
                  <c:v>2.7509999999999999</c:v>
                </c:pt>
                <c:pt idx="2752">
                  <c:v>2.7519999999999998</c:v>
                </c:pt>
                <c:pt idx="2753">
                  <c:v>2.7530000000000001</c:v>
                </c:pt>
                <c:pt idx="2754">
                  <c:v>2.754</c:v>
                </c:pt>
                <c:pt idx="2755">
                  <c:v>2.7549999999999999</c:v>
                </c:pt>
                <c:pt idx="2756">
                  <c:v>2.7559999999999998</c:v>
                </c:pt>
                <c:pt idx="2757">
                  <c:v>2.7570000000000001</c:v>
                </c:pt>
                <c:pt idx="2758">
                  <c:v>2.758</c:v>
                </c:pt>
                <c:pt idx="2759">
                  <c:v>2.7589999999999999</c:v>
                </c:pt>
                <c:pt idx="2760">
                  <c:v>2.76</c:v>
                </c:pt>
                <c:pt idx="2761">
                  <c:v>2.7610000000000001</c:v>
                </c:pt>
                <c:pt idx="2762">
                  <c:v>2.762</c:v>
                </c:pt>
                <c:pt idx="2763">
                  <c:v>2.7629999999999999</c:v>
                </c:pt>
                <c:pt idx="2764">
                  <c:v>2.7639999999999998</c:v>
                </c:pt>
                <c:pt idx="2765">
                  <c:v>2.7650000000000001</c:v>
                </c:pt>
                <c:pt idx="2766">
                  <c:v>2.766</c:v>
                </c:pt>
                <c:pt idx="2767">
                  <c:v>2.7669999999999999</c:v>
                </c:pt>
                <c:pt idx="2768">
                  <c:v>2.7679999999999998</c:v>
                </c:pt>
                <c:pt idx="2769">
                  <c:v>2.7690000000000001</c:v>
                </c:pt>
                <c:pt idx="2770">
                  <c:v>2.77</c:v>
                </c:pt>
                <c:pt idx="2771">
                  <c:v>2.7709999999999999</c:v>
                </c:pt>
                <c:pt idx="2772">
                  <c:v>2.7719999999999998</c:v>
                </c:pt>
                <c:pt idx="2773">
                  <c:v>2.7730000000000001</c:v>
                </c:pt>
                <c:pt idx="2774">
                  <c:v>2.774</c:v>
                </c:pt>
                <c:pt idx="2775">
                  <c:v>2.7749999999999999</c:v>
                </c:pt>
                <c:pt idx="2776">
                  <c:v>2.7759999999999998</c:v>
                </c:pt>
                <c:pt idx="2777">
                  <c:v>2.7770000000000001</c:v>
                </c:pt>
                <c:pt idx="2778">
                  <c:v>2.778</c:v>
                </c:pt>
                <c:pt idx="2779">
                  <c:v>2.7789999999999999</c:v>
                </c:pt>
                <c:pt idx="2780">
                  <c:v>2.78</c:v>
                </c:pt>
                <c:pt idx="2781">
                  <c:v>2.7810000000000001</c:v>
                </c:pt>
                <c:pt idx="2782">
                  <c:v>2.782</c:v>
                </c:pt>
                <c:pt idx="2783">
                  <c:v>2.7829999999999999</c:v>
                </c:pt>
                <c:pt idx="2784">
                  <c:v>2.7839999999999998</c:v>
                </c:pt>
                <c:pt idx="2785">
                  <c:v>2.7850000000000001</c:v>
                </c:pt>
                <c:pt idx="2786">
                  <c:v>2.786</c:v>
                </c:pt>
                <c:pt idx="2787">
                  <c:v>2.7869999999999999</c:v>
                </c:pt>
                <c:pt idx="2788">
                  <c:v>2.7879999999999998</c:v>
                </c:pt>
                <c:pt idx="2789">
                  <c:v>2.7890000000000001</c:v>
                </c:pt>
                <c:pt idx="2790">
                  <c:v>2.79</c:v>
                </c:pt>
                <c:pt idx="2791">
                  <c:v>2.7909999999999999</c:v>
                </c:pt>
                <c:pt idx="2792">
                  <c:v>2.7919999999999998</c:v>
                </c:pt>
                <c:pt idx="2793">
                  <c:v>2.7930000000000001</c:v>
                </c:pt>
                <c:pt idx="2794">
                  <c:v>2.794</c:v>
                </c:pt>
                <c:pt idx="2795">
                  <c:v>2.7949999999999999</c:v>
                </c:pt>
                <c:pt idx="2796">
                  <c:v>2.7959999999999998</c:v>
                </c:pt>
                <c:pt idx="2797">
                  <c:v>2.7970000000000002</c:v>
                </c:pt>
                <c:pt idx="2798">
                  <c:v>2.798</c:v>
                </c:pt>
                <c:pt idx="2799">
                  <c:v>2.7989999999999999</c:v>
                </c:pt>
                <c:pt idx="2800">
                  <c:v>2.8</c:v>
                </c:pt>
                <c:pt idx="2801">
                  <c:v>2.8010000000000002</c:v>
                </c:pt>
                <c:pt idx="2802">
                  <c:v>2.802</c:v>
                </c:pt>
                <c:pt idx="2803">
                  <c:v>2.8029999999999999</c:v>
                </c:pt>
                <c:pt idx="2804">
                  <c:v>2.8039999999999998</c:v>
                </c:pt>
                <c:pt idx="2805">
                  <c:v>2.8050000000000002</c:v>
                </c:pt>
                <c:pt idx="2806">
                  <c:v>2.806</c:v>
                </c:pt>
                <c:pt idx="2807">
                  <c:v>2.8069999999999999</c:v>
                </c:pt>
                <c:pt idx="2808">
                  <c:v>2.8079999999999998</c:v>
                </c:pt>
                <c:pt idx="2809">
                  <c:v>2.8090000000000002</c:v>
                </c:pt>
                <c:pt idx="2810">
                  <c:v>2.81</c:v>
                </c:pt>
                <c:pt idx="2811">
                  <c:v>2.8109999999999999</c:v>
                </c:pt>
                <c:pt idx="2812">
                  <c:v>2.8119999999999998</c:v>
                </c:pt>
                <c:pt idx="2813">
                  <c:v>2.8130000000000002</c:v>
                </c:pt>
                <c:pt idx="2814">
                  <c:v>2.8140000000000001</c:v>
                </c:pt>
                <c:pt idx="2815">
                  <c:v>2.8149999999999999</c:v>
                </c:pt>
                <c:pt idx="2816">
                  <c:v>2.8159999999999998</c:v>
                </c:pt>
                <c:pt idx="2817">
                  <c:v>2.8170000000000002</c:v>
                </c:pt>
                <c:pt idx="2818">
                  <c:v>2.8180000000000001</c:v>
                </c:pt>
                <c:pt idx="2819">
                  <c:v>2.819</c:v>
                </c:pt>
                <c:pt idx="2820">
                  <c:v>2.82</c:v>
                </c:pt>
                <c:pt idx="2821">
                  <c:v>2.8210000000000002</c:v>
                </c:pt>
                <c:pt idx="2822">
                  <c:v>2.8220000000000001</c:v>
                </c:pt>
                <c:pt idx="2823">
                  <c:v>2.823</c:v>
                </c:pt>
                <c:pt idx="2824">
                  <c:v>2.8239999999999998</c:v>
                </c:pt>
                <c:pt idx="2825">
                  <c:v>2.8250000000000002</c:v>
                </c:pt>
                <c:pt idx="2826">
                  <c:v>2.8260000000000001</c:v>
                </c:pt>
                <c:pt idx="2827">
                  <c:v>2.827</c:v>
                </c:pt>
                <c:pt idx="2828">
                  <c:v>2.8279999999999998</c:v>
                </c:pt>
                <c:pt idx="2829">
                  <c:v>2.8290000000000002</c:v>
                </c:pt>
                <c:pt idx="2830">
                  <c:v>2.83</c:v>
                </c:pt>
                <c:pt idx="2831">
                  <c:v>2.831</c:v>
                </c:pt>
                <c:pt idx="2832">
                  <c:v>2.8319999999999999</c:v>
                </c:pt>
                <c:pt idx="2833">
                  <c:v>2.8330000000000002</c:v>
                </c:pt>
                <c:pt idx="2834">
                  <c:v>2.8340000000000001</c:v>
                </c:pt>
                <c:pt idx="2835">
                  <c:v>2.835</c:v>
                </c:pt>
                <c:pt idx="2836">
                  <c:v>2.8359999999999999</c:v>
                </c:pt>
                <c:pt idx="2837">
                  <c:v>2.8370000000000002</c:v>
                </c:pt>
                <c:pt idx="2838">
                  <c:v>2.8380000000000001</c:v>
                </c:pt>
                <c:pt idx="2839">
                  <c:v>2.839</c:v>
                </c:pt>
                <c:pt idx="2840">
                  <c:v>2.84</c:v>
                </c:pt>
                <c:pt idx="2841">
                  <c:v>2.8410000000000002</c:v>
                </c:pt>
                <c:pt idx="2842">
                  <c:v>2.8420000000000001</c:v>
                </c:pt>
                <c:pt idx="2843">
                  <c:v>2.843</c:v>
                </c:pt>
                <c:pt idx="2844">
                  <c:v>2.8439999999999999</c:v>
                </c:pt>
                <c:pt idx="2845">
                  <c:v>2.8450000000000002</c:v>
                </c:pt>
                <c:pt idx="2846">
                  <c:v>2.8460000000000001</c:v>
                </c:pt>
                <c:pt idx="2847">
                  <c:v>2.847</c:v>
                </c:pt>
                <c:pt idx="2848">
                  <c:v>2.8479999999999999</c:v>
                </c:pt>
                <c:pt idx="2849">
                  <c:v>2.8490000000000002</c:v>
                </c:pt>
                <c:pt idx="2850">
                  <c:v>2.85</c:v>
                </c:pt>
                <c:pt idx="2851">
                  <c:v>2.851</c:v>
                </c:pt>
                <c:pt idx="2852">
                  <c:v>2.8519999999999999</c:v>
                </c:pt>
                <c:pt idx="2853">
                  <c:v>2.8530000000000002</c:v>
                </c:pt>
                <c:pt idx="2854">
                  <c:v>2.8540000000000001</c:v>
                </c:pt>
                <c:pt idx="2855">
                  <c:v>2.855</c:v>
                </c:pt>
                <c:pt idx="2856">
                  <c:v>2.8559999999999999</c:v>
                </c:pt>
                <c:pt idx="2857">
                  <c:v>2.8570000000000002</c:v>
                </c:pt>
                <c:pt idx="2858">
                  <c:v>2.8580000000000001</c:v>
                </c:pt>
                <c:pt idx="2859">
                  <c:v>2.859</c:v>
                </c:pt>
                <c:pt idx="2860">
                  <c:v>2.86</c:v>
                </c:pt>
                <c:pt idx="2861">
                  <c:v>2.8610000000000002</c:v>
                </c:pt>
                <c:pt idx="2862">
                  <c:v>2.8620000000000001</c:v>
                </c:pt>
                <c:pt idx="2863">
                  <c:v>2.863</c:v>
                </c:pt>
                <c:pt idx="2864">
                  <c:v>2.8639999999999999</c:v>
                </c:pt>
                <c:pt idx="2865">
                  <c:v>2.8650000000000002</c:v>
                </c:pt>
                <c:pt idx="2866">
                  <c:v>2.8660000000000001</c:v>
                </c:pt>
                <c:pt idx="2867">
                  <c:v>2.867</c:v>
                </c:pt>
                <c:pt idx="2868">
                  <c:v>2.8679999999999999</c:v>
                </c:pt>
                <c:pt idx="2869">
                  <c:v>2.8690000000000002</c:v>
                </c:pt>
                <c:pt idx="2870">
                  <c:v>2.87</c:v>
                </c:pt>
                <c:pt idx="2871">
                  <c:v>2.871</c:v>
                </c:pt>
                <c:pt idx="2872">
                  <c:v>2.8719999999999999</c:v>
                </c:pt>
                <c:pt idx="2873">
                  <c:v>2.8730000000000002</c:v>
                </c:pt>
                <c:pt idx="2874">
                  <c:v>2.8740000000000001</c:v>
                </c:pt>
                <c:pt idx="2875">
                  <c:v>2.875</c:v>
                </c:pt>
                <c:pt idx="2876">
                  <c:v>2.8759999999999999</c:v>
                </c:pt>
                <c:pt idx="2877">
                  <c:v>2.8769999999999998</c:v>
                </c:pt>
                <c:pt idx="2878">
                  <c:v>2.8780000000000001</c:v>
                </c:pt>
                <c:pt idx="2879">
                  <c:v>2.879</c:v>
                </c:pt>
                <c:pt idx="2880">
                  <c:v>2.88</c:v>
                </c:pt>
                <c:pt idx="2881">
                  <c:v>2.8809999999999998</c:v>
                </c:pt>
                <c:pt idx="2882">
                  <c:v>2.8820000000000001</c:v>
                </c:pt>
                <c:pt idx="2883">
                  <c:v>2.883</c:v>
                </c:pt>
                <c:pt idx="2884">
                  <c:v>2.8839999999999999</c:v>
                </c:pt>
                <c:pt idx="2885">
                  <c:v>2.8849999999999998</c:v>
                </c:pt>
                <c:pt idx="2886">
                  <c:v>2.8860000000000001</c:v>
                </c:pt>
                <c:pt idx="2887">
                  <c:v>2.887</c:v>
                </c:pt>
                <c:pt idx="2888">
                  <c:v>2.8879999999999999</c:v>
                </c:pt>
                <c:pt idx="2889">
                  <c:v>2.8889999999999998</c:v>
                </c:pt>
                <c:pt idx="2890">
                  <c:v>2.89</c:v>
                </c:pt>
                <c:pt idx="2891">
                  <c:v>2.891</c:v>
                </c:pt>
                <c:pt idx="2892">
                  <c:v>2.8919999999999999</c:v>
                </c:pt>
                <c:pt idx="2893">
                  <c:v>2.8929999999999998</c:v>
                </c:pt>
                <c:pt idx="2894">
                  <c:v>2.8940000000000001</c:v>
                </c:pt>
                <c:pt idx="2895">
                  <c:v>2.895</c:v>
                </c:pt>
                <c:pt idx="2896">
                  <c:v>2.8959999999999999</c:v>
                </c:pt>
                <c:pt idx="2897">
                  <c:v>2.8969999999999998</c:v>
                </c:pt>
                <c:pt idx="2898">
                  <c:v>2.8980000000000001</c:v>
                </c:pt>
                <c:pt idx="2899">
                  <c:v>2.899</c:v>
                </c:pt>
                <c:pt idx="2900">
                  <c:v>2.9</c:v>
                </c:pt>
                <c:pt idx="2901">
                  <c:v>2.9009999999999998</c:v>
                </c:pt>
                <c:pt idx="2902">
                  <c:v>2.9020000000000001</c:v>
                </c:pt>
                <c:pt idx="2903">
                  <c:v>2.903</c:v>
                </c:pt>
                <c:pt idx="2904">
                  <c:v>2.9039999999999999</c:v>
                </c:pt>
                <c:pt idx="2905">
                  <c:v>2.9049999999999998</c:v>
                </c:pt>
                <c:pt idx="2906">
                  <c:v>2.9060000000000001</c:v>
                </c:pt>
                <c:pt idx="2907">
                  <c:v>2.907</c:v>
                </c:pt>
                <c:pt idx="2908">
                  <c:v>2.9079999999999999</c:v>
                </c:pt>
                <c:pt idx="2909">
                  <c:v>2.9089999999999998</c:v>
                </c:pt>
                <c:pt idx="2910">
                  <c:v>2.91</c:v>
                </c:pt>
                <c:pt idx="2911">
                  <c:v>2.911</c:v>
                </c:pt>
                <c:pt idx="2912">
                  <c:v>2.9119999999999999</c:v>
                </c:pt>
                <c:pt idx="2913">
                  <c:v>2.9129999999999998</c:v>
                </c:pt>
                <c:pt idx="2914">
                  <c:v>2.9140000000000001</c:v>
                </c:pt>
                <c:pt idx="2915">
                  <c:v>2.915</c:v>
                </c:pt>
                <c:pt idx="2916">
                  <c:v>2.9159999999999999</c:v>
                </c:pt>
                <c:pt idx="2917">
                  <c:v>2.9169999999999998</c:v>
                </c:pt>
                <c:pt idx="2918">
                  <c:v>2.9180000000000001</c:v>
                </c:pt>
                <c:pt idx="2919">
                  <c:v>2.919</c:v>
                </c:pt>
                <c:pt idx="2920">
                  <c:v>2.92</c:v>
                </c:pt>
                <c:pt idx="2921">
                  <c:v>2.9209999999999998</c:v>
                </c:pt>
                <c:pt idx="2922">
                  <c:v>2.9220000000000002</c:v>
                </c:pt>
                <c:pt idx="2923">
                  <c:v>2.923</c:v>
                </c:pt>
                <c:pt idx="2924">
                  <c:v>2.9239999999999999</c:v>
                </c:pt>
                <c:pt idx="2925">
                  <c:v>2.9249999999999998</c:v>
                </c:pt>
                <c:pt idx="2926">
                  <c:v>2.9260000000000002</c:v>
                </c:pt>
                <c:pt idx="2927">
                  <c:v>2.927</c:v>
                </c:pt>
                <c:pt idx="2928">
                  <c:v>2.9279999999999999</c:v>
                </c:pt>
                <c:pt idx="2929">
                  <c:v>2.9289999999999998</c:v>
                </c:pt>
                <c:pt idx="2930">
                  <c:v>2.93</c:v>
                </c:pt>
                <c:pt idx="2931">
                  <c:v>2.931</c:v>
                </c:pt>
                <c:pt idx="2932">
                  <c:v>2.9319999999999999</c:v>
                </c:pt>
                <c:pt idx="2933">
                  <c:v>2.9329999999999998</c:v>
                </c:pt>
                <c:pt idx="2934">
                  <c:v>2.9340000000000002</c:v>
                </c:pt>
                <c:pt idx="2935">
                  <c:v>2.9350000000000001</c:v>
                </c:pt>
                <c:pt idx="2936">
                  <c:v>2.9359999999999999</c:v>
                </c:pt>
                <c:pt idx="2937">
                  <c:v>2.9369999999999998</c:v>
                </c:pt>
                <c:pt idx="2938">
                  <c:v>2.9380000000000002</c:v>
                </c:pt>
                <c:pt idx="2939">
                  <c:v>2.9390000000000001</c:v>
                </c:pt>
                <c:pt idx="2940">
                  <c:v>2.94</c:v>
                </c:pt>
                <c:pt idx="2941">
                  <c:v>2.9409999999999998</c:v>
                </c:pt>
                <c:pt idx="2942">
                  <c:v>2.9420000000000002</c:v>
                </c:pt>
                <c:pt idx="2943">
                  <c:v>2.9430000000000001</c:v>
                </c:pt>
                <c:pt idx="2944">
                  <c:v>2.944</c:v>
                </c:pt>
                <c:pt idx="2945">
                  <c:v>2.9449999999999998</c:v>
                </c:pt>
                <c:pt idx="2946">
                  <c:v>2.9460000000000002</c:v>
                </c:pt>
                <c:pt idx="2947">
                  <c:v>2.9470000000000001</c:v>
                </c:pt>
                <c:pt idx="2948">
                  <c:v>2.948</c:v>
                </c:pt>
                <c:pt idx="2949">
                  <c:v>2.9489999999999998</c:v>
                </c:pt>
                <c:pt idx="2950">
                  <c:v>2.95</c:v>
                </c:pt>
                <c:pt idx="2951">
                  <c:v>2.9510000000000001</c:v>
                </c:pt>
                <c:pt idx="2952">
                  <c:v>2.952</c:v>
                </c:pt>
                <c:pt idx="2953">
                  <c:v>2.9529999999999998</c:v>
                </c:pt>
                <c:pt idx="2954">
                  <c:v>2.9540000000000002</c:v>
                </c:pt>
                <c:pt idx="2955">
                  <c:v>2.9550000000000001</c:v>
                </c:pt>
                <c:pt idx="2956">
                  <c:v>2.956</c:v>
                </c:pt>
                <c:pt idx="2957">
                  <c:v>2.9569999999999999</c:v>
                </c:pt>
                <c:pt idx="2958">
                  <c:v>2.9580000000000002</c:v>
                </c:pt>
                <c:pt idx="2959">
                  <c:v>2.9590000000000001</c:v>
                </c:pt>
                <c:pt idx="2960">
                  <c:v>2.96</c:v>
                </c:pt>
                <c:pt idx="2961">
                  <c:v>2.9609999999999999</c:v>
                </c:pt>
                <c:pt idx="2962">
                  <c:v>2.9620000000000002</c:v>
                </c:pt>
                <c:pt idx="2963">
                  <c:v>2.9630000000000001</c:v>
                </c:pt>
                <c:pt idx="2964">
                  <c:v>2.964</c:v>
                </c:pt>
                <c:pt idx="2965">
                  <c:v>2.9649999999999999</c:v>
                </c:pt>
                <c:pt idx="2966">
                  <c:v>2.9660000000000002</c:v>
                </c:pt>
                <c:pt idx="2967">
                  <c:v>2.9670000000000001</c:v>
                </c:pt>
                <c:pt idx="2968">
                  <c:v>2.968</c:v>
                </c:pt>
                <c:pt idx="2969">
                  <c:v>2.9689999999999999</c:v>
                </c:pt>
                <c:pt idx="2970">
                  <c:v>2.97</c:v>
                </c:pt>
                <c:pt idx="2971">
                  <c:v>2.9710000000000001</c:v>
                </c:pt>
                <c:pt idx="2972">
                  <c:v>2.972</c:v>
                </c:pt>
                <c:pt idx="2973">
                  <c:v>2.9729999999999999</c:v>
                </c:pt>
                <c:pt idx="2974">
                  <c:v>2.9740000000000002</c:v>
                </c:pt>
                <c:pt idx="2975">
                  <c:v>2.9750000000000001</c:v>
                </c:pt>
                <c:pt idx="2976">
                  <c:v>2.976</c:v>
                </c:pt>
                <c:pt idx="2977">
                  <c:v>2.9769999999999999</c:v>
                </c:pt>
                <c:pt idx="2978">
                  <c:v>2.9780000000000002</c:v>
                </c:pt>
                <c:pt idx="2979">
                  <c:v>2.9790000000000001</c:v>
                </c:pt>
                <c:pt idx="2980">
                  <c:v>2.98</c:v>
                </c:pt>
                <c:pt idx="2981">
                  <c:v>2.9809999999999999</c:v>
                </c:pt>
                <c:pt idx="2982">
                  <c:v>2.9820000000000002</c:v>
                </c:pt>
                <c:pt idx="2983">
                  <c:v>2.9830000000000001</c:v>
                </c:pt>
                <c:pt idx="2984">
                  <c:v>2.984</c:v>
                </c:pt>
                <c:pt idx="2985">
                  <c:v>2.9849999999999999</c:v>
                </c:pt>
                <c:pt idx="2986">
                  <c:v>2.9860000000000002</c:v>
                </c:pt>
                <c:pt idx="2987">
                  <c:v>2.9870000000000001</c:v>
                </c:pt>
                <c:pt idx="2988">
                  <c:v>2.988</c:v>
                </c:pt>
                <c:pt idx="2989">
                  <c:v>2.9889999999999999</c:v>
                </c:pt>
                <c:pt idx="2990">
                  <c:v>2.99</c:v>
                </c:pt>
                <c:pt idx="2991">
                  <c:v>2.9910000000000001</c:v>
                </c:pt>
                <c:pt idx="2992">
                  <c:v>2.992</c:v>
                </c:pt>
                <c:pt idx="2993">
                  <c:v>2.9929999999999999</c:v>
                </c:pt>
                <c:pt idx="2994">
                  <c:v>2.9940000000000002</c:v>
                </c:pt>
                <c:pt idx="2995">
                  <c:v>2.9950000000000001</c:v>
                </c:pt>
                <c:pt idx="2996">
                  <c:v>2.996</c:v>
                </c:pt>
                <c:pt idx="2997">
                  <c:v>2.9969999999999999</c:v>
                </c:pt>
                <c:pt idx="2998">
                  <c:v>2.9980000000000002</c:v>
                </c:pt>
                <c:pt idx="2999">
                  <c:v>2.9990000000000001</c:v>
                </c:pt>
                <c:pt idx="3000">
                  <c:v>3</c:v>
                </c:pt>
                <c:pt idx="3001">
                  <c:v>3.0009999999999999</c:v>
                </c:pt>
                <c:pt idx="3002">
                  <c:v>3.0019999999999998</c:v>
                </c:pt>
                <c:pt idx="3003">
                  <c:v>3.0030000000000001</c:v>
                </c:pt>
                <c:pt idx="3004">
                  <c:v>3.004</c:v>
                </c:pt>
                <c:pt idx="3005">
                  <c:v>3.0049999999999999</c:v>
                </c:pt>
                <c:pt idx="3006">
                  <c:v>3.0059999999999998</c:v>
                </c:pt>
                <c:pt idx="3007">
                  <c:v>3.0070000000000001</c:v>
                </c:pt>
                <c:pt idx="3008">
                  <c:v>3.008</c:v>
                </c:pt>
                <c:pt idx="3009">
                  <c:v>3.0089999999999999</c:v>
                </c:pt>
                <c:pt idx="3010">
                  <c:v>3.01</c:v>
                </c:pt>
                <c:pt idx="3011">
                  <c:v>3.0110000000000001</c:v>
                </c:pt>
                <c:pt idx="3012">
                  <c:v>3.012</c:v>
                </c:pt>
                <c:pt idx="3013">
                  <c:v>3.0129999999999999</c:v>
                </c:pt>
                <c:pt idx="3014">
                  <c:v>3.0139999999999998</c:v>
                </c:pt>
                <c:pt idx="3015">
                  <c:v>3.0150000000000001</c:v>
                </c:pt>
                <c:pt idx="3016">
                  <c:v>3.016</c:v>
                </c:pt>
                <c:pt idx="3017">
                  <c:v>3.0169999999999999</c:v>
                </c:pt>
                <c:pt idx="3018">
                  <c:v>3.0179999999999998</c:v>
                </c:pt>
                <c:pt idx="3019">
                  <c:v>3.0190000000000001</c:v>
                </c:pt>
                <c:pt idx="3020">
                  <c:v>3.02</c:v>
                </c:pt>
                <c:pt idx="3021">
                  <c:v>3.0209999999999999</c:v>
                </c:pt>
                <c:pt idx="3022">
                  <c:v>3.0219999999999998</c:v>
                </c:pt>
                <c:pt idx="3023">
                  <c:v>3.0230000000000001</c:v>
                </c:pt>
                <c:pt idx="3024">
                  <c:v>3.024</c:v>
                </c:pt>
                <c:pt idx="3025">
                  <c:v>3.0249999999999999</c:v>
                </c:pt>
                <c:pt idx="3026">
                  <c:v>3.0259999999999998</c:v>
                </c:pt>
                <c:pt idx="3027">
                  <c:v>3.0270000000000001</c:v>
                </c:pt>
                <c:pt idx="3028">
                  <c:v>3.028</c:v>
                </c:pt>
                <c:pt idx="3029">
                  <c:v>3.0289999999999999</c:v>
                </c:pt>
                <c:pt idx="3030">
                  <c:v>3.03</c:v>
                </c:pt>
                <c:pt idx="3031">
                  <c:v>3.0310000000000001</c:v>
                </c:pt>
                <c:pt idx="3032">
                  <c:v>3.032</c:v>
                </c:pt>
                <c:pt idx="3033">
                  <c:v>3.0329999999999999</c:v>
                </c:pt>
                <c:pt idx="3034">
                  <c:v>3.0339999999999998</c:v>
                </c:pt>
                <c:pt idx="3035">
                  <c:v>3.0350000000000001</c:v>
                </c:pt>
                <c:pt idx="3036">
                  <c:v>3.036</c:v>
                </c:pt>
                <c:pt idx="3037">
                  <c:v>3.0369999999999999</c:v>
                </c:pt>
                <c:pt idx="3038">
                  <c:v>3.0379999999999998</c:v>
                </c:pt>
                <c:pt idx="3039">
                  <c:v>3.0390000000000001</c:v>
                </c:pt>
                <c:pt idx="3040">
                  <c:v>3.04</c:v>
                </c:pt>
                <c:pt idx="3041">
                  <c:v>3.0409999999999999</c:v>
                </c:pt>
                <c:pt idx="3042">
                  <c:v>3.0419999999999998</c:v>
                </c:pt>
                <c:pt idx="3043">
                  <c:v>3.0430000000000001</c:v>
                </c:pt>
                <c:pt idx="3044">
                  <c:v>3.044</c:v>
                </c:pt>
                <c:pt idx="3045">
                  <c:v>3.0449999999999999</c:v>
                </c:pt>
                <c:pt idx="3046">
                  <c:v>3.0459999999999998</c:v>
                </c:pt>
                <c:pt idx="3047">
                  <c:v>3.0470000000000002</c:v>
                </c:pt>
                <c:pt idx="3048">
                  <c:v>3.048</c:v>
                </c:pt>
                <c:pt idx="3049">
                  <c:v>3.0489999999999999</c:v>
                </c:pt>
                <c:pt idx="3050">
                  <c:v>3.05</c:v>
                </c:pt>
                <c:pt idx="3051">
                  <c:v>3.0510000000000002</c:v>
                </c:pt>
                <c:pt idx="3052">
                  <c:v>3.052</c:v>
                </c:pt>
                <c:pt idx="3053">
                  <c:v>3.0529999999999999</c:v>
                </c:pt>
                <c:pt idx="3054">
                  <c:v>3.0539999999999998</c:v>
                </c:pt>
                <c:pt idx="3055">
                  <c:v>3.0550000000000002</c:v>
                </c:pt>
                <c:pt idx="3056">
                  <c:v>3.056</c:v>
                </c:pt>
                <c:pt idx="3057">
                  <c:v>3.0569999999999999</c:v>
                </c:pt>
                <c:pt idx="3058">
                  <c:v>3.0579999999999998</c:v>
                </c:pt>
                <c:pt idx="3059">
                  <c:v>3.0590000000000002</c:v>
                </c:pt>
                <c:pt idx="3060">
                  <c:v>3.06</c:v>
                </c:pt>
                <c:pt idx="3061">
                  <c:v>3.0609999999999999</c:v>
                </c:pt>
                <c:pt idx="3062">
                  <c:v>3.0619999999999998</c:v>
                </c:pt>
                <c:pt idx="3063">
                  <c:v>3.0630000000000002</c:v>
                </c:pt>
                <c:pt idx="3064">
                  <c:v>3.0640000000000001</c:v>
                </c:pt>
                <c:pt idx="3065">
                  <c:v>3.0649999999999999</c:v>
                </c:pt>
                <c:pt idx="3066">
                  <c:v>3.0659999999999998</c:v>
                </c:pt>
                <c:pt idx="3067">
                  <c:v>3.0670000000000002</c:v>
                </c:pt>
                <c:pt idx="3068">
                  <c:v>3.0680000000000001</c:v>
                </c:pt>
                <c:pt idx="3069">
                  <c:v>3.069</c:v>
                </c:pt>
                <c:pt idx="3070">
                  <c:v>3.07</c:v>
                </c:pt>
                <c:pt idx="3071">
                  <c:v>3.0710000000000002</c:v>
                </c:pt>
                <c:pt idx="3072">
                  <c:v>3.0720000000000001</c:v>
                </c:pt>
                <c:pt idx="3073">
                  <c:v>3.073</c:v>
                </c:pt>
                <c:pt idx="3074">
                  <c:v>3.0739999999999998</c:v>
                </c:pt>
                <c:pt idx="3075">
                  <c:v>3.0750000000000002</c:v>
                </c:pt>
                <c:pt idx="3076">
                  <c:v>3.0760000000000001</c:v>
                </c:pt>
                <c:pt idx="3077">
                  <c:v>3.077</c:v>
                </c:pt>
                <c:pt idx="3078">
                  <c:v>3.0779999999999998</c:v>
                </c:pt>
                <c:pt idx="3079">
                  <c:v>3.0790000000000002</c:v>
                </c:pt>
                <c:pt idx="3080">
                  <c:v>3.08</c:v>
                </c:pt>
                <c:pt idx="3081">
                  <c:v>3.081</c:v>
                </c:pt>
                <c:pt idx="3082">
                  <c:v>3.0819999999999999</c:v>
                </c:pt>
                <c:pt idx="3083">
                  <c:v>3.0830000000000002</c:v>
                </c:pt>
                <c:pt idx="3084">
                  <c:v>3.0840000000000001</c:v>
                </c:pt>
                <c:pt idx="3085">
                  <c:v>3.085</c:v>
                </c:pt>
                <c:pt idx="3086">
                  <c:v>3.0859999999999999</c:v>
                </c:pt>
                <c:pt idx="3087">
                  <c:v>3.0870000000000002</c:v>
                </c:pt>
                <c:pt idx="3088">
                  <c:v>3.0880000000000001</c:v>
                </c:pt>
                <c:pt idx="3089">
                  <c:v>3.089</c:v>
                </c:pt>
                <c:pt idx="3090">
                  <c:v>3.09</c:v>
                </c:pt>
                <c:pt idx="3091">
                  <c:v>3.0910000000000002</c:v>
                </c:pt>
                <c:pt idx="3092">
                  <c:v>3.0920000000000001</c:v>
                </c:pt>
                <c:pt idx="3093">
                  <c:v>3.093</c:v>
                </c:pt>
                <c:pt idx="3094">
                  <c:v>3.0939999999999999</c:v>
                </c:pt>
                <c:pt idx="3095">
                  <c:v>3.0950000000000002</c:v>
                </c:pt>
                <c:pt idx="3096">
                  <c:v>3.0960000000000001</c:v>
                </c:pt>
                <c:pt idx="3097">
                  <c:v>3.097</c:v>
                </c:pt>
                <c:pt idx="3098">
                  <c:v>3.0979999999999999</c:v>
                </c:pt>
                <c:pt idx="3099">
                  <c:v>3.0990000000000002</c:v>
                </c:pt>
                <c:pt idx="3100">
                  <c:v>3.1</c:v>
                </c:pt>
                <c:pt idx="3101">
                  <c:v>3.101</c:v>
                </c:pt>
                <c:pt idx="3102">
                  <c:v>3.1019999999999999</c:v>
                </c:pt>
                <c:pt idx="3103">
                  <c:v>3.1030000000000002</c:v>
                </c:pt>
                <c:pt idx="3104">
                  <c:v>3.1040000000000001</c:v>
                </c:pt>
                <c:pt idx="3105">
                  <c:v>3.105</c:v>
                </c:pt>
                <c:pt idx="3106">
                  <c:v>3.1059999999999999</c:v>
                </c:pt>
                <c:pt idx="3107">
                  <c:v>3.1070000000000002</c:v>
                </c:pt>
                <c:pt idx="3108">
                  <c:v>3.1080000000000001</c:v>
                </c:pt>
                <c:pt idx="3109">
                  <c:v>3.109</c:v>
                </c:pt>
                <c:pt idx="3110">
                  <c:v>3.11</c:v>
                </c:pt>
                <c:pt idx="3111">
                  <c:v>3.1110000000000002</c:v>
                </c:pt>
                <c:pt idx="3112">
                  <c:v>3.1120000000000001</c:v>
                </c:pt>
                <c:pt idx="3113">
                  <c:v>3.113</c:v>
                </c:pt>
                <c:pt idx="3114">
                  <c:v>3.1139999999999999</c:v>
                </c:pt>
                <c:pt idx="3115">
                  <c:v>3.1150000000000002</c:v>
                </c:pt>
                <c:pt idx="3116">
                  <c:v>3.1160000000000001</c:v>
                </c:pt>
                <c:pt idx="3117">
                  <c:v>3.117</c:v>
                </c:pt>
                <c:pt idx="3118">
                  <c:v>3.1179999999999999</c:v>
                </c:pt>
                <c:pt idx="3119">
                  <c:v>3.1190000000000002</c:v>
                </c:pt>
                <c:pt idx="3120">
                  <c:v>3.12</c:v>
                </c:pt>
                <c:pt idx="3121">
                  <c:v>3.121</c:v>
                </c:pt>
                <c:pt idx="3122">
                  <c:v>3.1219999999999999</c:v>
                </c:pt>
                <c:pt idx="3123">
                  <c:v>3.1230000000000002</c:v>
                </c:pt>
                <c:pt idx="3124">
                  <c:v>3.1240000000000001</c:v>
                </c:pt>
                <c:pt idx="3125">
                  <c:v>3.125</c:v>
                </c:pt>
                <c:pt idx="3126">
                  <c:v>3.1259999999999999</c:v>
                </c:pt>
                <c:pt idx="3127">
                  <c:v>3.1269999999999998</c:v>
                </c:pt>
                <c:pt idx="3128">
                  <c:v>3.1280000000000001</c:v>
                </c:pt>
                <c:pt idx="3129">
                  <c:v>3.129</c:v>
                </c:pt>
                <c:pt idx="3130">
                  <c:v>3.13</c:v>
                </c:pt>
                <c:pt idx="3131">
                  <c:v>3.1309999999999998</c:v>
                </c:pt>
                <c:pt idx="3132">
                  <c:v>3.1320000000000001</c:v>
                </c:pt>
                <c:pt idx="3133">
                  <c:v>3.133</c:v>
                </c:pt>
                <c:pt idx="3134">
                  <c:v>3.1339999999999999</c:v>
                </c:pt>
                <c:pt idx="3135">
                  <c:v>3.1349999999999998</c:v>
                </c:pt>
                <c:pt idx="3136">
                  <c:v>3.1360000000000001</c:v>
                </c:pt>
                <c:pt idx="3137">
                  <c:v>3.137</c:v>
                </c:pt>
                <c:pt idx="3138">
                  <c:v>3.1379999999999999</c:v>
                </c:pt>
                <c:pt idx="3139">
                  <c:v>3.1389999999999998</c:v>
                </c:pt>
                <c:pt idx="3140">
                  <c:v>3.14</c:v>
                </c:pt>
                <c:pt idx="3141">
                  <c:v>3.141</c:v>
                </c:pt>
                <c:pt idx="3142">
                  <c:v>3.1419999999999999</c:v>
                </c:pt>
                <c:pt idx="3143">
                  <c:v>3.1429999999999998</c:v>
                </c:pt>
                <c:pt idx="3144">
                  <c:v>3.1440000000000001</c:v>
                </c:pt>
                <c:pt idx="3145">
                  <c:v>3.145</c:v>
                </c:pt>
                <c:pt idx="3146">
                  <c:v>3.1459999999999999</c:v>
                </c:pt>
                <c:pt idx="3147">
                  <c:v>3.1469999999999998</c:v>
                </c:pt>
                <c:pt idx="3148">
                  <c:v>3.1480000000000001</c:v>
                </c:pt>
                <c:pt idx="3149">
                  <c:v>3.149</c:v>
                </c:pt>
                <c:pt idx="3150">
                  <c:v>3.15</c:v>
                </c:pt>
                <c:pt idx="3151">
                  <c:v>3.1509999999999998</c:v>
                </c:pt>
                <c:pt idx="3152">
                  <c:v>3.1520000000000001</c:v>
                </c:pt>
                <c:pt idx="3153">
                  <c:v>3.153</c:v>
                </c:pt>
                <c:pt idx="3154">
                  <c:v>3.1539999999999999</c:v>
                </c:pt>
                <c:pt idx="3155">
                  <c:v>3.1549999999999998</c:v>
                </c:pt>
                <c:pt idx="3156">
                  <c:v>3.1560000000000001</c:v>
                </c:pt>
                <c:pt idx="3157">
                  <c:v>3.157</c:v>
                </c:pt>
                <c:pt idx="3158">
                  <c:v>3.1579999999999999</c:v>
                </c:pt>
                <c:pt idx="3159">
                  <c:v>3.1589999999999998</c:v>
                </c:pt>
                <c:pt idx="3160">
                  <c:v>3.16</c:v>
                </c:pt>
                <c:pt idx="3161">
                  <c:v>3.161</c:v>
                </c:pt>
                <c:pt idx="3162">
                  <c:v>3.1619999999999999</c:v>
                </c:pt>
                <c:pt idx="3163">
                  <c:v>3.1629999999999998</c:v>
                </c:pt>
                <c:pt idx="3164">
                  <c:v>3.1640000000000001</c:v>
                </c:pt>
                <c:pt idx="3165">
                  <c:v>3.165</c:v>
                </c:pt>
                <c:pt idx="3166">
                  <c:v>3.1659999999999999</c:v>
                </c:pt>
                <c:pt idx="3167">
                  <c:v>3.1669999999999998</c:v>
                </c:pt>
                <c:pt idx="3168">
                  <c:v>3.1680000000000001</c:v>
                </c:pt>
                <c:pt idx="3169">
                  <c:v>3.169</c:v>
                </c:pt>
                <c:pt idx="3170">
                  <c:v>3.17</c:v>
                </c:pt>
                <c:pt idx="3171">
                  <c:v>3.1709999999999998</c:v>
                </c:pt>
                <c:pt idx="3172">
                  <c:v>3.1720000000000002</c:v>
                </c:pt>
                <c:pt idx="3173">
                  <c:v>3.173</c:v>
                </c:pt>
                <c:pt idx="3174">
                  <c:v>3.1739999999999999</c:v>
                </c:pt>
                <c:pt idx="3175">
                  <c:v>3.1749999999999998</c:v>
                </c:pt>
                <c:pt idx="3176">
                  <c:v>3.1760000000000002</c:v>
                </c:pt>
                <c:pt idx="3177">
                  <c:v>3.177</c:v>
                </c:pt>
                <c:pt idx="3178">
                  <c:v>3.1779999999999999</c:v>
                </c:pt>
                <c:pt idx="3179">
                  <c:v>3.1789999999999998</c:v>
                </c:pt>
                <c:pt idx="3180">
                  <c:v>3.18</c:v>
                </c:pt>
                <c:pt idx="3181">
                  <c:v>3.181</c:v>
                </c:pt>
                <c:pt idx="3182">
                  <c:v>3.1819999999999999</c:v>
                </c:pt>
                <c:pt idx="3183">
                  <c:v>3.1829999999999998</c:v>
                </c:pt>
                <c:pt idx="3184">
                  <c:v>3.1840000000000002</c:v>
                </c:pt>
                <c:pt idx="3185">
                  <c:v>3.1850000000000001</c:v>
                </c:pt>
                <c:pt idx="3186">
                  <c:v>3.1859999999999999</c:v>
                </c:pt>
                <c:pt idx="3187">
                  <c:v>3.1869999999999998</c:v>
                </c:pt>
                <c:pt idx="3188">
                  <c:v>3.1880000000000002</c:v>
                </c:pt>
                <c:pt idx="3189">
                  <c:v>3.1890000000000001</c:v>
                </c:pt>
                <c:pt idx="3190">
                  <c:v>3.19</c:v>
                </c:pt>
                <c:pt idx="3191">
                  <c:v>3.1909999999999998</c:v>
                </c:pt>
                <c:pt idx="3192">
                  <c:v>3.1920000000000002</c:v>
                </c:pt>
                <c:pt idx="3193">
                  <c:v>3.1930000000000001</c:v>
                </c:pt>
                <c:pt idx="3194">
                  <c:v>3.194</c:v>
                </c:pt>
                <c:pt idx="3195">
                  <c:v>3.1949999999999998</c:v>
                </c:pt>
                <c:pt idx="3196">
                  <c:v>3.1960000000000002</c:v>
                </c:pt>
                <c:pt idx="3197">
                  <c:v>3.1970000000000001</c:v>
                </c:pt>
                <c:pt idx="3198">
                  <c:v>3.198</c:v>
                </c:pt>
                <c:pt idx="3199">
                  <c:v>3.1989999999999998</c:v>
                </c:pt>
                <c:pt idx="3200">
                  <c:v>3.2</c:v>
                </c:pt>
                <c:pt idx="3201">
                  <c:v>3.2010000000000001</c:v>
                </c:pt>
                <c:pt idx="3202">
                  <c:v>3.202</c:v>
                </c:pt>
                <c:pt idx="3203">
                  <c:v>3.2029999999999998</c:v>
                </c:pt>
                <c:pt idx="3204">
                  <c:v>3.2040000000000002</c:v>
                </c:pt>
                <c:pt idx="3205">
                  <c:v>3.2050000000000001</c:v>
                </c:pt>
                <c:pt idx="3206">
                  <c:v>3.206</c:v>
                </c:pt>
                <c:pt idx="3207">
                  <c:v>3.2069999999999999</c:v>
                </c:pt>
                <c:pt idx="3208">
                  <c:v>3.2080000000000002</c:v>
                </c:pt>
                <c:pt idx="3209">
                  <c:v>3.2090000000000001</c:v>
                </c:pt>
                <c:pt idx="3210">
                  <c:v>3.21</c:v>
                </c:pt>
                <c:pt idx="3211">
                  <c:v>3.2109999999999999</c:v>
                </c:pt>
                <c:pt idx="3212">
                  <c:v>3.2120000000000002</c:v>
                </c:pt>
                <c:pt idx="3213">
                  <c:v>3.2130000000000001</c:v>
                </c:pt>
                <c:pt idx="3214">
                  <c:v>3.214</c:v>
                </c:pt>
                <c:pt idx="3215">
                  <c:v>3.2149999999999999</c:v>
                </c:pt>
                <c:pt idx="3216">
                  <c:v>3.2160000000000002</c:v>
                </c:pt>
                <c:pt idx="3217">
                  <c:v>3.2170000000000001</c:v>
                </c:pt>
                <c:pt idx="3218">
                  <c:v>3.218</c:v>
                </c:pt>
                <c:pt idx="3219">
                  <c:v>3.2189999999999999</c:v>
                </c:pt>
                <c:pt idx="3220">
                  <c:v>3.22</c:v>
                </c:pt>
                <c:pt idx="3221">
                  <c:v>3.2210000000000001</c:v>
                </c:pt>
                <c:pt idx="3222">
                  <c:v>3.222</c:v>
                </c:pt>
                <c:pt idx="3223">
                  <c:v>3.2229999999999999</c:v>
                </c:pt>
                <c:pt idx="3224">
                  <c:v>3.2240000000000002</c:v>
                </c:pt>
                <c:pt idx="3225">
                  <c:v>3.2250000000000001</c:v>
                </c:pt>
                <c:pt idx="3226">
                  <c:v>3.226</c:v>
                </c:pt>
                <c:pt idx="3227">
                  <c:v>3.2269999999999999</c:v>
                </c:pt>
                <c:pt idx="3228">
                  <c:v>3.2280000000000002</c:v>
                </c:pt>
                <c:pt idx="3229">
                  <c:v>3.2290000000000001</c:v>
                </c:pt>
                <c:pt idx="3230">
                  <c:v>3.23</c:v>
                </c:pt>
                <c:pt idx="3231">
                  <c:v>3.2309999999999999</c:v>
                </c:pt>
                <c:pt idx="3232">
                  <c:v>3.2320000000000002</c:v>
                </c:pt>
                <c:pt idx="3233">
                  <c:v>3.2330000000000001</c:v>
                </c:pt>
                <c:pt idx="3234">
                  <c:v>3.234</c:v>
                </c:pt>
                <c:pt idx="3235">
                  <c:v>3.2349999999999999</c:v>
                </c:pt>
                <c:pt idx="3236">
                  <c:v>3.2360000000000002</c:v>
                </c:pt>
                <c:pt idx="3237">
                  <c:v>3.2370000000000001</c:v>
                </c:pt>
                <c:pt idx="3238">
                  <c:v>3.238</c:v>
                </c:pt>
                <c:pt idx="3239">
                  <c:v>3.2389999999999999</c:v>
                </c:pt>
                <c:pt idx="3240">
                  <c:v>3.24</c:v>
                </c:pt>
                <c:pt idx="3241">
                  <c:v>3.2410000000000001</c:v>
                </c:pt>
                <c:pt idx="3242">
                  <c:v>3.242</c:v>
                </c:pt>
                <c:pt idx="3243">
                  <c:v>3.2429999999999999</c:v>
                </c:pt>
                <c:pt idx="3244">
                  <c:v>3.2440000000000002</c:v>
                </c:pt>
                <c:pt idx="3245">
                  <c:v>3.2450000000000001</c:v>
                </c:pt>
                <c:pt idx="3246">
                  <c:v>3.246</c:v>
                </c:pt>
                <c:pt idx="3247">
                  <c:v>3.2469999999999999</c:v>
                </c:pt>
                <c:pt idx="3248">
                  <c:v>3.2480000000000002</c:v>
                </c:pt>
                <c:pt idx="3249">
                  <c:v>3.2490000000000001</c:v>
                </c:pt>
                <c:pt idx="3250">
                  <c:v>3.25</c:v>
                </c:pt>
                <c:pt idx="3251">
                  <c:v>3.2509999999999999</c:v>
                </c:pt>
                <c:pt idx="3252">
                  <c:v>3.2519999999999998</c:v>
                </c:pt>
                <c:pt idx="3253">
                  <c:v>3.2530000000000001</c:v>
                </c:pt>
                <c:pt idx="3254">
                  <c:v>3.254</c:v>
                </c:pt>
                <c:pt idx="3255">
                  <c:v>3.2549999999999999</c:v>
                </c:pt>
                <c:pt idx="3256">
                  <c:v>3.2559999999999998</c:v>
                </c:pt>
                <c:pt idx="3257">
                  <c:v>3.2570000000000001</c:v>
                </c:pt>
                <c:pt idx="3258">
                  <c:v>3.258</c:v>
                </c:pt>
                <c:pt idx="3259">
                  <c:v>3.2589999999999999</c:v>
                </c:pt>
                <c:pt idx="3260">
                  <c:v>3.26</c:v>
                </c:pt>
                <c:pt idx="3261">
                  <c:v>3.2610000000000001</c:v>
                </c:pt>
                <c:pt idx="3262">
                  <c:v>3.262</c:v>
                </c:pt>
                <c:pt idx="3263">
                  <c:v>3.2629999999999999</c:v>
                </c:pt>
                <c:pt idx="3264">
                  <c:v>3.2639999999999998</c:v>
                </c:pt>
                <c:pt idx="3265">
                  <c:v>3.2650000000000001</c:v>
                </c:pt>
                <c:pt idx="3266">
                  <c:v>3.266</c:v>
                </c:pt>
                <c:pt idx="3267">
                  <c:v>3.2669999999999999</c:v>
                </c:pt>
                <c:pt idx="3268">
                  <c:v>3.2679999999999998</c:v>
                </c:pt>
                <c:pt idx="3269">
                  <c:v>3.2690000000000001</c:v>
                </c:pt>
                <c:pt idx="3270">
                  <c:v>3.27</c:v>
                </c:pt>
                <c:pt idx="3271">
                  <c:v>3.2709999999999999</c:v>
                </c:pt>
                <c:pt idx="3272">
                  <c:v>3.2719999999999998</c:v>
                </c:pt>
                <c:pt idx="3273">
                  <c:v>3.2730000000000001</c:v>
                </c:pt>
                <c:pt idx="3274">
                  <c:v>3.274</c:v>
                </c:pt>
                <c:pt idx="3275">
                  <c:v>3.2749999999999999</c:v>
                </c:pt>
                <c:pt idx="3276">
                  <c:v>3.2759999999999998</c:v>
                </c:pt>
                <c:pt idx="3277">
                  <c:v>3.2770000000000001</c:v>
                </c:pt>
                <c:pt idx="3278">
                  <c:v>3.278</c:v>
                </c:pt>
                <c:pt idx="3279">
                  <c:v>3.2789999999999999</c:v>
                </c:pt>
                <c:pt idx="3280">
                  <c:v>3.28</c:v>
                </c:pt>
                <c:pt idx="3281">
                  <c:v>3.2810000000000001</c:v>
                </c:pt>
                <c:pt idx="3282">
                  <c:v>3.282</c:v>
                </c:pt>
                <c:pt idx="3283">
                  <c:v>3.2829999999999999</c:v>
                </c:pt>
                <c:pt idx="3284">
                  <c:v>3.2839999999999998</c:v>
                </c:pt>
                <c:pt idx="3285">
                  <c:v>3.2850000000000001</c:v>
                </c:pt>
                <c:pt idx="3286">
                  <c:v>3.286</c:v>
                </c:pt>
                <c:pt idx="3287">
                  <c:v>3.2869999999999999</c:v>
                </c:pt>
                <c:pt idx="3288">
                  <c:v>3.2879999999999998</c:v>
                </c:pt>
                <c:pt idx="3289">
                  <c:v>3.2890000000000001</c:v>
                </c:pt>
                <c:pt idx="3290">
                  <c:v>3.29</c:v>
                </c:pt>
                <c:pt idx="3291">
                  <c:v>3.2909999999999999</c:v>
                </c:pt>
                <c:pt idx="3292">
                  <c:v>3.2919999999999998</c:v>
                </c:pt>
                <c:pt idx="3293">
                  <c:v>3.2930000000000001</c:v>
                </c:pt>
                <c:pt idx="3294">
                  <c:v>3.294</c:v>
                </c:pt>
                <c:pt idx="3295">
                  <c:v>3.2949999999999999</c:v>
                </c:pt>
                <c:pt idx="3296">
                  <c:v>3.2959999999999998</c:v>
                </c:pt>
                <c:pt idx="3297">
                  <c:v>3.2970000000000002</c:v>
                </c:pt>
                <c:pt idx="3298">
                  <c:v>3.298</c:v>
                </c:pt>
                <c:pt idx="3299">
                  <c:v>3.2989999999999999</c:v>
                </c:pt>
                <c:pt idx="3300">
                  <c:v>3.3</c:v>
                </c:pt>
                <c:pt idx="3301">
                  <c:v>3.3010000000000002</c:v>
                </c:pt>
                <c:pt idx="3302">
                  <c:v>3.302</c:v>
                </c:pt>
                <c:pt idx="3303">
                  <c:v>3.3029999999999999</c:v>
                </c:pt>
                <c:pt idx="3304">
                  <c:v>3.3039999999999998</c:v>
                </c:pt>
                <c:pt idx="3305">
                  <c:v>3.3050000000000002</c:v>
                </c:pt>
                <c:pt idx="3306">
                  <c:v>3.306</c:v>
                </c:pt>
                <c:pt idx="3307">
                  <c:v>3.3069999999999999</c:v>
                </c:pt>
                <c:pt idx="3308">
                  <c:v>3.3079999999999998</c:v>
                </c:pt>
                <c:pt idx="3309">
                  <c:v>3.3090000000000002</c:v>
                </c:pt>
                <c:pt idx="3310">
                  <c:v>3.31</c:v>
                </c:pt>
                <c:pt idx="3311">
                  <c:v>3.3109999999999999</c:v>
                </c:pt>
                <c:pt idx="3312">
                  <c:v>3.3119999999999998</c:v>
                </c:pt>
                <c:pt idx="3313">
                  <c:v>3.3130000000000002</c:v>
                </c:pt>
                <c:pt idx="3314">
                  <c:v>3.3140000000000001</c:v>
                </c:pt>
                <c:pt idx="3315">
                  <c:v>3.3149999999999999</c:v>
                </c:pt>
                <c:pt idx="3316">
                  <c:v>3.3159999999999998</c:v>
                </c:pt>
                <c:pt idx="3317">
                  <c:v>3.3170000000000002</c:v>
                </c:pt>
                <c:pt idx="3318">
                  <c:v>3.3180000000000001</c:v>
                </c:pt>
                <c:pt idx="3319">
                  <c:v>3.319</c:v>
                </c:pt>
                <c:pt idx="3320">
                  <c:v>3.32</c:v>
                </c:pt>
                <c:pt idx="3321">
                  <c:v>3.3210000000000002</c:v>
                </c:pt>
                <c:pt idx="3322">
                  <c:v>3.3220000000000001</c:v>
                </c:pt>
                <c:pt idx="3323">
                  <c:v>3.323</c:v>
                </c:pt>
                <c:pt idx="3324">
                  <c:v>3.3239999999999998</c:v>
                </c:pt>
                <c:pt idx="3325">
                  <c:v>3.3250000000000002</c:v>
                </c:pt>
                <c:pt idx="3326">
                  <c:v>3.3260000000000001</c:v>
                </c:pt>
                <c:pt idx="3327">
                  <c:v>3.327</c:v>
                </c:pt>
                <c:pt idx="3328">
                  <c:v>3.3279999999999998</c:v>
                </c:pt>
                <c:pt idx="3329">
                  <c:v>3.3290000000000002</c:v>
                </c:pt>
                <c:pt idx="3330">
                  <c:v>3.33</c:v>
                </c:pt>
                <c:pt idx="3331">
                  <c:v>3.331</c:v>
                </c:pt>
                <c:pt idx="3332">
                  <c:v>3.3319999999999999</c:v>
                </c:pt>
                <c:pt idx="3333">
                  <c:v>3.3330000000000002</c:v>
                </c:pt>
                <c:pt idx="3334">
                  <c:v>3.3340000000000001</c:v>
                </c:pt>
                <c:pt idx="3335">
                  <c:v>3.335</c:v>
                </c:pt>
                <c:pt idx="3336">
                  <c:v>3.3359999999999999</c:v>
                </c:pt>
                <c:pt idx="3337">
                  <c:v>3.3370000000000002</c:v>
                </c:pt>
                <c:pt idx="3338">
                  <c:v>3.3380000000000001</c:v>
                </c:pt>
                <c:pt idx="3339">
                  <c:v>3.339</c:v>
                </c:pt>
                <c:pt idx="3340">
                  <c:v>3.34</c:v>
                </c:pt>
                <c:pt idx="3341">
                  <c:v>3.3410000000000002</c:v>
                </c:pt>
                <c:pt idx="3342">
                  <c:v>3.3420000000000001</c:v>
                </c:pt>
                <c:pt idx="3343">
                  <c:v>3.343</c:v>
                </c:pt>
                <c:pt idx="3344">
                  <c:v>3.3439999999999999</c:v>
                </c:pt>
                <c:pt idx="3345">
                  <c:v>3.3450000000000002</c:v>
                </c:pt>
                <c:pt idx="3346">
                  <c:v>3.3460000000000001</c:v>
                </c:pt>
                <c:pt idx="3347">
                  <c:v>3.347</c:v>
                </c:pt>
                <c:pt idx="3348">
                  <c:v>3.3479999999999999</c:v>
                </c:pt>
                <c:pt idx="3349">
                  <c:v>3.3490000000000002</c:v>
                </c:pt>
                <c:pt idx="3350">
                  <c:v>3.35</c:v>
                </c:pt>
                <c:pt idx="3351">
                  <c:v>3.351</c:v>
                </c:pt>
                <c:pt idx="3352">
                  <c:v>3.3519999999999999</c:v>
                </c:pt>
                <c:pt idx="3353">
                  <c:v>3.3530000000000002</c:v>
                </c:pt>
                <c:pt idx="3354">
                  <c:v>3.3540000000000001</c:v>
                </c:pt>
                <c:pt idx="3355">
                  <c:v>3.355</c:v>
                </c:pt>
                <c:pt idx="3356">
                  <c:v>3.3559999999999999</c:v>
                </c:pt>
                <c:pt idx="3357">
                  <c:v>3.3570000000000002</c:v>
                </c:pt>
                <c:pt idx="3358">
                  <c:v>3.3580000000000001</c:v>
                </c:pt>
                <c:pt idx="3359">
                  <c:v>3.359</c:v>
                </c:pt>
                <c:pt idx="3360">
                  <c:v>3.36</c:v>
                </c:pt>
                <c:pt idx="3361">
                  <c:v>3.3610000000000002</c:v>
                </c:pt>
                <c:pt idx="3362">
                  <c:v>3.3620000000000001</c:v>
                </c:pt>
                <c:pt idx="3363">
                  <c:v>3.363</c:v>
                </c:pt>
                <c:pt idx="3364">
                  <c:v>3.3639999999999999</c:v>
                </c:pt>
                <c:pt idx="3365">
                  <c:v>3.3650000000000002</c:v>
                </c:pt>
                <c:pt idx="3366">
                  <c:v>3.3660000000000001</c:v>
                </c:pt>
                <c:pt idx="3367">
                  <c:v>3.367</c:v>
                </c:pt>
                <c:pt idx="3368">
                  <c:v>3.3679999999999999</c:v>
                </c:pt>
                <c:pt idx="3369">
                  <c:v>3.3690000000000002</c:v>
                </c:pt>
                <c:pt idx="3370">
                  <c:v>3.37</c:v>
                </c:pt>
                <c:pt idx="3371">
                  <c:v>3.371</c:v>
                </c:pt>
                <c:pt idx="3372">
                  <c:v>3.3719999999999999</c:v>
                </c:pt>
                <c:pt idx="3373">
                  <c:v>3.3730000000000002</c:v>
                </c:pt>
                <c:pt idx="3374">
                  <c:v>3.3740000000000001</c:v>
                </c:pt>
                <c:pt idx="3375">
                  <c:v>3.375</c:v>
                </c:pt>
                <c:pt idx="3376">
                  <c:v>3.3759999999999999</c:v>
                </c:pt>
                <c:pt idx="3377">
                  <c:v>3.3769999999999998</c:v>
                </c:pt>
                <c:pt idx="3378">
                  <c:v>3.3780000000000001</c:v>
                </c:pt>
                <c:pt idx="3379">
                  <c:v>3.379</c:v>
                </c:pt>
                <c:pt idx="3380">
                  <c:v>3.38</c:v>
                </c:pt>
                <c:pt idx="3381">
                  <c:v>3.3809999999999998</c:v>
                </c:pt>
                <c:pt idx="3382">
                  <c:v>3.3820000000000001</c:v>
                </c:pt>
                <c:pt idx="3383">
                  <c:v>3.383</c:v>
                </c:pt>
                <c:pt idx="3384">
                  <c:v>3.3839999999999999</c:v>
                </c:pt>
                <c:pt idx="3385">
                  <c:v>3.3849999999999998</c:v>
                </c:pt>
                <c:pt idx="3386">
                  <c:v>3.3860000000000001</c:v>
                </c:pt>
                <c:pt idx="3387">
                  <c:v>3.387</c:v>
                </c:pt>
                <c:pt idx="3388">
                  <c:v>3.3879999999999999</c:v>
                </c:pt>
                <c:pt idx="3389">
                  <c:v>3.3889999999999998</c:v>
                </c:pt>
                <c:pt idx="3390">
                  <c:v>3.39</c:v>
                </c:pt>
                <c:pt idx="3391">
                  <c:v>3.391</c:v>
                </c:pt>
                <c:pt idx="3392">
                  <c:v>3.3919999999999999</c:v>
                </c:pt>
                <c:pt idx="3393">
                  <c:v>3.3929999999999998</c:v>
                </c:pt>
                <c:pt idx="3394">
                  <c:v>3.3940000000000001</c:v>
                </c:pt>
                <c:pt idx="3395">
                  <c:v>3.395</c:v>
                </c:pt>
                <c:pt idx="3396">
                  <c:v>3.3959999999999999</c:v>
                </c:pt>
                <c:pt idx="3397">
                  <c:v>3.3969999999999998</c:v>
                </c:pt>
                <c:pt idx="3398">
                  <c:v>3.3980000000000001</c:v>
                </c:pt>
                <c:pt idx="3399">
                  <c:v>3.399</c:v>
                </c:pt>
                <c:pt idx="3400">
                  <c:v>3.4</c:v>
                </c:pt>
                <c:pt idx="3401">
                  <c:v>3.4009999999999998</c:v>
                </c:pt>
                <c:pt idx="3402">
                  <c:v>3.4020000000000001</c:v>
                </c:pt>
                <c:pt idx="3403">
                  <c:v>3.403</c:v>
                </c:pt>
                <c:pt idx="3404">
                  <c:v>3.4039999999999999</c:v>
                </c:pt>
                <c:pt idx="3405">
                  <c:v>3.4049999999999998</c:v>
                </c:pt>
                <c:pt idx="3406">
                  <c:v>3.4060000000000001</c:v>
                </c:pt>
                <c:pt idx="3407">
                  <c:v>3.407</c:v>
                </c:pt>
                <c:pt idx="3408">
                  <c:v>3.4079999999999999</c:v>
                </c:pt>
                <c:pt idx="3409">
                  <c:v>3.4089999999999998</c:v>
                </c:pt>
                <c:pt idx="3410">
                  <c:v>3.41</c:v>
                </c:pt>
                <c:pt idx="3411">
                  <c:v>3.411</c:v>
                </c:pt>
                <c:pt idx="3412">
                  <c:v>3.4119999999999999</c:v>
                </c:pt>
                <c:pt idx="3413">
                  <c:v>3.4129999999999998</c:v>
                </c:pt>
                <c:pt idx="3414">
                  <c:v>3.4140000000000001</c:v>
                </c:pt>
                <c:pt idx="3415">
                  <c:v>3.415</c:v>
                </c:pt>
                <c:pt idx="3416">
                  <c:v>3.4159999999999999</c:v>
                </c:pt>
                <c:pt idx="3417">
                  <c:v>3.4169999999999998</c:v>
                </c:pt>
                <c:pt idx="3418">
                  <c:v>3.4180000000000001</c:v>
                </c:pt>
                <c:pt idx="3419">
                  <c:v>3.419</c:v>
                </c:pt>
                <c:pt idx="3420">
                  <c:v>3.42</c:v>
                </c:pt>
                <c:pt idx="3421">
                  <c:v>3.4209999999999998</c:v>
                </c:pt>
                <c:pt idx="3422">
                  <c:v>3.4220000000000002</c:v>
                </c:pt>
                <c:pt idx="3423">
                  <c:v>3.423</c:v>
                </c:pt>
                <c:pt idx="3424">
                  <c:v>3.4239999999999999</c:v>
                </c:pt>
                <c:pt idx="3425">
                  <c:v>3.4249999999999998</c:v>
                </c:pt>
                <c:pt idx="3426">
                  <c:v>3.4260000000000002</c:v>
                </c:pt>
                <c:pt idx="3427">
                  <c:v>3.427</c:v>
                </c:pt>
                <c:pt idx="3428">
                  <c:v>3.4279999999999999</c:v>
                </c:pt>
                <c:pt idx="3429">
                  <c:v>3.4289999999999998</c:v>
                </c:pt>
                <c:pt idx="3430">
                  <c:v>3.43</c:v>
                </c:pt>
                <c:pt idx="3431">
                  <c:v>3.431</c:v>
                </c:pt>
                <c:pt idx="3432">
                  <c:v>3.4319999999999999</c:v>
                </c:pt>
                <c:pt idx="3433">
                  <c:v>3.4329999999999998</c:v>
                </c:pt>
                <c:pt idx="3434">
                  <c:v>3.4340000000000002</c:v>
                </c:pt>
                <c:pt idx="3435">
                  <c:v>3.4350000000000001</c:v>
                </c:pt>
                <c:pt idx="3436">
                  <c:v>3.4359999999999999</c:v>
                </c:pt>
                <c:pt idx="3437">
                  <c:v>3.4369999999999998</c:v>
                </c:pt>
                <c:pt idx="3438">
                  <c:v>3.4380000000000002</c:v>
                </c:pt>
                <c:pt idx="3439">
                  <c:v>3.4390000000000001</c:v>
                </c:pt>
                <c:pt idx="3440">
                  <c:v>3.44</c:v>
                </c:pt>
                <c:pt idx="3441">
                  <c:v>3.4409999999999998</c:v>
                </c:pt>
                <c:pt idx="3442">
                  <c:v>3.4420000000000002</c:v>
                </c:pt>
                <c:pt idx="3443">
                  <c:v>3.4430000000000001</c:v>
                </c:pt>
                <c:pt idx="3444">
                  <c:v>3.444</c:v>
                </c:pt>
                <c:pt idx="3445">
                  <c:v>3.4449999999999998</c:v>
                </c:pt>
                <c:pt idx="3446">
                  <c:v>3.4460000000000002</c:v>
                </c:pt>
                <c:pt idx="3447">
                  <c:v>3.4470000000000001</c:v>
                </c:pt>
                <c:pt idx="3448">
                  <c:v>3.448</c:v>
                </c:pt>
                <c:pt idx="3449">
                  <c:v>3.4489999999999998</c:v>
                </c:pt>
                <c:pt idx="3450">
                  <c:v>3.45</c:v>
                </c:pt>
                <c:pt idx="3451">
                  <c:v>3.4510000000000001</c:v>
                </c:pt>
                <c:pt idx="3452">
                  <c:v>3.452</c:v>
                </c:pt>
                <c:pt idx="3453">
                  <c:v>3.4529999999999998</c:v>
                </c:pt>
                <c:pt idx="3454">
                  <c:v>3.4540000000000002</c:v>
                </c:pt>
                <c:pt idx="3455">
                  <c:v>3.4550000000000001</c:v>
                </c:pt>
                <c:pt idx="3456">
                  <c:v>3.456</c:v>
                </c:pt>
                <c:pt idx="3457">
                  <c:v>3.4569999999999999</c:v>
                </c:pt>
                <c:pt idx="3458">
                  <c:v>3.4580000000000002</c:v>
                </c:pt>
                <c:pt idx="3459">
                  <c:v>3.4590000000000001</c:v>
                </c:pt>
                <c:pt idx="3460">
                  <c:v>3.46</c:v>
                </c:pt>
                <c:pt idx="3461">
                  <c:v>3.4609999999999999</c:v>
                </c:pt>
                <c:pt idx="3462">
                  <c:v>3.4620000000000002</c:v>
                </c:pt>
                <c:pt idx="3463">
                  <c:v>3.4630000000000001</c:v>
                </c:pt>
                <c:pt idx="3464">
                  <c:v>3.464</c:v>
                </c:pt>
                <c:pt idx="3465">
                  <c:v>3.4649999999999999</c:v>
                </c:pt>
                <c:pt idx="3466">
                  <c:v>3.4660000000000002</c:v>
                </c:pt>
                <c:pt idx="3467">
                  <c:v>3.4670000000000001</c:v>
                </c:pt>
                <c:pt idx="3468">
                  <c:v>3.468</c:v>
                </c:pt>
                <c:pt idx="3469">
                  <c:v>3.4689999999999999</c:v>
                </c:pt>
                <c:pt idx="3470">
                  <c:v>3.47</c:v>
                </c:pt>
                <c:pt idx="3471">
                  <c:v>3.4710000000000001</c:v>
                </c:pt>
                <c:pt idx="3472">
                  <c:v>3.472</c:v>
                </c:pt>
                <c:pt idx="3473">
                  <c:v>3.4729999999999999</c:v>
                </c:pt>
                <c:pt idx="3474">
                  <c:v>3.4740000000000002</c:v>
                </c:pt>
                <c:pt idx="3475">
                  <c:v>3.4750000000000001</c:v>
                </c:pt>
                <c:pt idx="3476">
                  <c:v>3.476</c:v>
                </c:pt>
                <c:pt idx="3477">
                  <c:v>3.4769999999999999</c:v>
                </c:pt>
                <c:pt idx="3478">
                  <c:v>3.4780000000000002</c:v>
                </c:pt>
                <c:pt idx="3479">
                  <c:v>3.4790000000000001</c:v>
                </c:pt>
                <c:pt idx="3480">
                  <c:v>3.48</c:v>
                </c:pt>
                <c:pt idx="3481">
                  <c:v>3.4809999999999999</c:v>
                </c:pt>
                <c:pt idx="3482">
                  <c:v>3.4820000000000002</c:v>
                </c:pt>
                <c:pt idx="3483">
                  <c:v>3.4830000000000001</c:v>
                </c:pt>
                <c:pt idx="3484">
                  <c:v>3.484</c:v>
                </c:pt>
                <c:pt idx="3485">
                  <c:v>3.4849999999999999</c:v>
                </c:pt>
                <c:pt idx="3486">
                  <c:v>3.4860000000000002</c:v>
                </c:pt>
                <c:pt idx="3487">
                  <c:v>3.4870000000000001</c:v>
                </c:pt>
                <c:pt idx="3488">
                  <c:v>3.488</c:v>
                </c:pt>
                <c:pt idx="3489">
                  <c:v>3.4889999999999999</c:v>
                </c:pt>
                <c:pt idx="3490">
                  <c:v>3.49</c:v>
                </c:pt>
                <c:pt idx="3491">
                  <c:v>3.4910000000000001</c:v>
                </c:pt>
                <c:pt idx="3492">
                  <c:v>3.492</c:v>
                </c:pt>
                <c:pt idx="3493">
                  <c:v>3.4929999999999999</c:v>
                </c:pt>
                <c:pt idx="3494">
                  <c:v>3.4940000000000002</c:v>
                </c:pt>
                <c:pt idx="3495">
                  <c:v>3.4950000000000001</c:v>
                </c:pt>
                <c:pt idx="3496">
                  <c:v>3.496</c:v>
                </c:pt>
                <c:pt idx="3497">
                  <c:v>3.4969999999999999</c:v>
                </c:pt>
                <c:pt idx="3498">
                  <c:v>3.4980000000000002</c:v>
                </c:pt>
                <c:pt idx="3499">
                  <c:v>3.4990000000000001</c:v>
                </c:pt>
                <c:pt idx="3500">
                  <c:v>3.5</c:v>
                </c:pt>
                <c:pt idx="3501">
                  <c:v>3.5009999999999999</c:v>
                </c:pt>
                <c:pt idx="3502">
                  <c:v>3.5019999999999998</c:v>
                </c:pt>
                <c:pt idx="3503">
                  <c:v>3.5030000000000001</c:v>
                </c:pt>
                <c:pt idx="3504">
                  <c:v>3.504</c:v>
                </c:pt>
                <c:pt idx="3505">
                  <c:v>3.5049999999999999</c:v>
                </c:pt>
                <c:pt idx="3506">
                  <c:v>3.5059999999999998</c:v>
                </c:pt>
                <c:pt idx="3507">
                  <c:v>3.5070000000000001</c:v>
                </c:pt>
                <c:pt idx="3508">
                  <c:v>3.508</c:v>
                </c:pt>
                <c:pt idx="3509">
                  <c:v>3.5089999999999999</c:v>
                </c:pt>
                <c:pt idx="3510">
                  <c:v>3.51</c:v>
                </c:pt>
                <c:pt idx="3511">
                  <c:v>3.5110000000000001</c:v>
                </c:pt>
                <c:pt idx="3512">
                  <c:v>3.512</c:v>
                </c:pt>
                <c:pt idx="3513">
                  <c:v>3.5129999999999999</c:v>
                </c:pt>
                <c:pt idx="3514">
                  <c:v>3.5139999999999998</c:v>
                </c:pt>
                <c:pt idx="3515">
                  <c:v>3.5150000000000001</c:v>
                </c:pt>
                <c:pt idx="3516">
                  <c:v>3.516</c:v>
                </c:pt>
                <c:pt idx="3517">
                  <c:v>3.5169999999999999</c:v>
                </c:pt>
                <c:pt idx="3518">
                  <c:v>3.5179999999999998</c:v>
                </c:pt>
                <c:pt idx="3519">
                  <c:v>3.5190000000000001</c:v>
                </c:pt>
                <c:pt idx="3520">
                  <c:v>3.52</c:v>
                </c:pt>
                <c:pt idx="3521">
                  <c:v>3.5209999999999999</c:v>
                </c:pt>
                <c:pt idx="3522">
                  <c:v>3.5219999999999998</c:v>
                </c:pt>
                <c:pt idx="3523">
                  <c:v>3.5230000000000001</c:v>
                </c:pt>
                <c:pt idx="3524">
                  <c:v>3.524</c:v>
                </c:pt>
                <c:pt idx="3525">
                  <c:v>3.5249999999999999</c:v>
                </c:pt>
                <c:pt idx="3526">
                  <c:v>3.5259999999999998</c:v>
                </c:pt>
                <c:pt idx="3527">
                  <c:v>3.5270000000000001</c:v>
                </c:pt>
                <c:pt idx="3528">
                  <c:v>3.528</c:v>
                </c:pt>
                <c:pt idx="3529">
                  <c:v>3.5289999999999999</c:v>
                </c:pt>
                <c:pt idx="3530">
                  <c:v>3.53</c:v>
                </c:pt>
                <c:pt idx="3531">
                  <c:v>3.5310000000000001</c:v>
                </c:pt>
                <c:pt idx="3532">
                  <c:v>3.532</c:v>
                </c:pt>
                <c:pt idx="3533">
                  <c:v>3.5329999999999999</c:v>
                </c:pt>
                <c:pt idx="3534">
                  <c:v>3.5339999999999998</c:v>
                </c:pt>
                <c:pt idx="3535">
                  <c:v>3.5350000000000001</c:v>
                </c:pt>
                <c:pt idx="3536">
                  <c:v>3.536</c:v>
                </c:pt>
                <c:pt idx="3537">
                  <c:v>3.5369999999999999</c:v>
                </c:pt>
                <c:pt idx="3538">
                  <c:v>3.5379999999999998</c:v>
                </c:pt>
                <c:pt idx="3539">
                  <c:v>3.5390000000000001</c:v>
                </c:pt>
                <c:pt idx="3540">
                  <c:v>3.54</c:v>
                </c:pt>
                <c:pt idx="3541">
                  <c:v>3.5409999999999999</c:v>
                </c:pt>
                <c:pt idx="3542">
                  <c:v>3.5419999999999998</c:v>
                </c:pt>
                <c:pt idx="3543">
                  <c:v>3.5430000000000001</c:v>
                </c:pt>
                <c:pt idx="3544">
                  <c:v>3.544</c:v>
                </c:pt>
                <c:pt idx="3545">
                  <c:v>3.5449999999999999</c:v>
                </c:pt>
                <c:pt idx="3546">
                  <c:v>3.5459999999999998</c:v>
                </c:pt>
                <c:pt idx="3547">
                  <c:v>3.5470000000000002</c:v>
                </c:pt>
                <c:pt idx="3548">
                  <c:v>3.548</c:v>
                </c:pt>
                <c:pt idx="3549">
                  <c:v>3.5489999999999999</c:v>
                </c:pt>
                <c:pt idx="3550">
                  <c:v>3.55</c:v>
                </c:pt>
                <c:pt idx="3551">
                  <c:v>3.5510000000000002</c:v>
                </c:pt>
                <c:pt idx="3552">
                  <c:v>3.552</c:v>
                </c:pt>
                <c:pt idx="3553">
                  <c:v>3.5529999999999999</c:v>
                </c:pt>
                <c:pt idx="3554">
                  <c:v>3.5539999999999998</c:v>
                </c:pt>
                <c:pt idx="3555">
                  <c:v>3.5550000000000002</c:v>
                </c:pt>
                <c:pt idx="3556">
                  <c:v>3.556</c:v>
                </c:pt>
                <c:pt idx="3557">
                  <c:v>3.5569999999999999</c:v>
                </c:pt>
                <c:pt idx="3558">
                  <c:v>3.5579999999999998</c:v>
                </c:pt>
                <c:pt idx="3559">
                  <c:v>3.5590000000000002</c:v>
                </c:pt>
                <c:pt idx="3560">
                  <c:v>3.56</c:v>
                </c:pt>
                <c:pt idx="3561">
                  <c:v>3.5609999999999999</c:v>
                </c:pt>
                <c:pt idx="3562">
                  <c:v>3.5619999999999998</c:v>
                </c:pt>
                <c:pt idx="3563">
                  <c:v>3.5630000000000002</c:v>
                </c:pt>
                <c:pt idx="3564">
                  <c:v>3.5640000000000001</c:v>
                </c:pt>
                <c:pt idx="3565">
                  <c:v>3.5649999999999999</c:v>
                </c:pt>
                <c:pt idx="3566">
                  <c:v>3.5659999999999998</c:v>
                </c:pt>
                <c:pt idx="3567">
                  <c:v>3.5670000000000002</c:v>
                </c:pt>
                <c:pt idx="3568">
                  <c:v>3.5680000000000001</c:v>
                </c:pt>
                <c:pt idx="3569">
                  <c:v>3.569</c:v>
                </c:pt>
                <c:pt idx="3570">
                  <c:v>3.57</c:v>
                </c:pt>
                <c:pt idx="3571">
                  <c:v>3.5710000000000002</c:v>
                </c:pt>
                <c:pt idx="3572">
                  <c:v>3.5720000000000001</c:v>
                </c:pt>
                <c:pt idx="3573">
                  <c:v>3.573</c:v>
                </c:pt>
                <c:pt idx="3574">
                  <c:v>3.5739999999999998</c:v>
                </c:pt>
                <c:pt idx="3575">
                  <c:v>3.5750000000000002</c:v>
                </c:pt>
                <c:pt idx="3576">
                  <c:v>3.5760000000000001</c:v>
                </c:pt>
                <c:pt idx="3577">
                  <c:v>3.577</c:v>
                </c:pt>
                <c:pt idx="3578">
                  <c:v>3.5779999999999998</c:v>
                </c:pt>
                <c:pt idx="3579">
                  <c:v>3.5790000000000002</c:v>
                </c:pt>
                <c:pt idx="3580">
                  <c:v>3.58</c:v>
                </c:pt>
                <c:pt idx="3581">
                  <c:v>3.581</c:v>
                </c:pt>
                <c:pt idx="3582">
                  <c:v>3.5819999999999999</c:v>
                </c:pt>
                <c:pt idx="3583">
                  <c:v>3.5830000000000002</c:v>
                </c:pt>
                <c:pt idx="3584">
                  <c:v>3.5840000000000001</c:v>
                </c:pt>
                <c:pt idx="3585">
                  <c:v>3.585</c:v>
                </c:pt>
                <c:pt idx="3586">
                  <c:v>3.5859999999999999</c:v>
                </c:pt>
                <c:pt idx="3587">
                  <c:v>3.5870000000000002</c:v>
                </c:pt>
                <c:pt idx="3588">
                  <c:v>3.5880000000000001</c:v>
                </c:pt>
                <c:pt idx="3589">
                  <c:v>3.589</c:v>
                </c:pt>
                <c:pt idx="3590">
                  <c:v>3.59</c:v>
                </c:pt>
                <c:pt idx="3591">
                  <c:v>3.5910000000000002</c:v>
                </c:pt>
                <c:pt idx="3592">
                  <c:v>3.5920000000000001</c:v>
                </c:pt>
                <c:pt idx="3593">
                  <c:v>3.593</c:v>
                </c:pt>
                <c:pt idx="3594">
                  <c:v>3.5939999999999999</c:v>
                </c:pt>
                <c:pt idx="3595">
                  <c:v>3.5950000000000002</c:v>
                </c:pt>
                <c:pt idx="3596">
                  <c:v>3.5960000000000001</c:v>
                </c:pt>
                <c:pt idx="3597">
                  <c:v>3.597</c:v>
                </c:pt>
                <c:pt idx="3598">
                  <c:v>3.5979999999999999</c:v>
                </c:pt>
                <c:pt idx="3599">
                  <c:v>3.5990000000000002</c:v>
                </c:pt>
                <c:pt idx="3600">
                  <c:v>3.6</c:v>
                </c:pt>
                <c:pt idx="3601">
                  <c:v>3.601</c:v>
                </c:pt>
                <c:pt idx="3602">
                  <c:v>3.6019999999999999</c:v>
                </c:pt>
                <c:pt idx="3603">
                  <c:v>3.6030000000000002</c:v>
                </c:pt>
                <c:pt idx="3604">
                  <c:v>3.6040000000000001</c:v>
                </c:pt>
                <c:pt idx="3605">
                  <c:v>3.605</c:v>
                </c:pt>
                <c:pt idx="3606">
                  <c:v>3.6059999999999999</c:v>
                </c:pt>
                <c:pt idx="3607">
                  <c:v>3.6070000000000002</c:v>
                </c:pt>
                <c:pt idx="3608">
                  <c:v>3.6080000000000001</c:v>
                </c:pt>
                <c:pt idx="3609">
                  <c:v>3.609</c:v>
                </c:pt>
                <c:pt idx="3610">
                  <c:v>3.61</c:v>
                </c:pt>
                <c:pt idx="3611">
                  <c:v>3.6110000000000002</c:v>
                </c:pt>
                <c:pt idx="3612">
                  <c:v>3.6120000000000001</c:v>
                </c:pt>
                <c:pt idx="3613">
                  <c:v>3.613</c:v>
                </c:pt>
                <c:pt idx="3614">
                  <c:v>3.6139999999999999</c:v>
                </c:pt>
                <c:pt idx="3615">
                  <c:v>3.6150000000000002</c:v>
                </c:pt>
                <c:pt idx="3616">
                  <c:v>3.6160000000000001</c:v>
                </c:pt>
                <c:pt idx="3617">
                  <c:v>3.617</c:v>
                </c:pt>
                <c:pt idx="3618">
                  <c:v>3.6179999999999999</c:v>
                </c:pt>
                <c:pt idx="3619">
                  <c:v>3.6190000000000002</c:v>
                </c:pt>
                <c:pt idx="3620">
                  <c:v>3.62</c:v>
                </c:pt>
                <c:pt idx="3621">
                  <c:v>3.621</c:v>
                </c:pt>
                <c:pt idx="3622">
                  <c:v>3.6219999999999999</c:v>
                </c:pt>
                <c:pt idx="3623">
                  <c:v>3.6230000000000002</c:v>
                </c:pt>
                <c:pt idx="3624">
                  <c:v>3.6240000000000001</c:v>
                </c:pt>
                <c:pt idx="3625">
                  <c:v>3.625</c:v>
                </c:pt>
                <c:pt idx="3626">
                  <c:v>3.6259999999999999</c:v>
                </c:pt>
                <c:pt idx="3627">
                  <c:v>3.6269999999999998</c:v>
                </c:pt>
                <c:pt idx="3628">
                  <c:v>3.6280000000000001</c:v>
                </c:pt>
                <c:pt idx="3629">
                  <c:v>3.629</c:v>
                </c:pt>
                <c:pt idx="3630">
                  <c:v>3.63</c:v>
                </c:pt>
                <c:pt idx="3631">
                  <c:v>3.6309999999999998</c:v>
                </c:pt>
                <c:pt idx="3632">
                  <c:v>3.6320000000000001</c:v>
                </c:pt>
                <c:pt idx="3633">
                  <c:v>3.633</c:v>
                </c:pt>
                <c:pt idx="3634">
                  <c:v>3.6339999999999999</c:v>
                </c:pt>
                <c:pt idx="3635">
                  <c:v>3.6349999999999998</c:v>
                </c:pt>
                <c:pt idx="3636">
                  <c:v>3.6360000000000001</c:v>
                </c:pt>
                <c:pt idx="3637">
                  <c:v>3.637</c:v>
                </c:pt>
                <c:pt idx="3638">
                  <c:v>3.6379999999999999</c:v>
                </c:pt>
                <c:pt idx="3639">
                  <c:v>3.6389999999999998</c:v>
                </c:pt>
                <c:pt idx="3640">
                  <c:v>3.64</c:v>
                </c:pt>
                <c:pt idx="3641">
                  <c:v>3.641</c:v>
                </c:pt>
                <c:pt idx="3642">
                  <c:v>3.6419999999999999</c:v>
                </c:pt>
                <c:pt idx="3643">
                  <c:v>3.6429999999999998</c:v>
                </c:pt>
                <c:pt idx="3644">
                  <c:v>3.6440000000000001</c:v>
                </c:pt>
                <c:pt idx="3645">
                  <c:v>3.645</c:v>
                </c:pt>
                <c:pt idx="3646">
                  <c:v>3.6459999999999999</c:v>
                </c:pt>
                <c:pt idx="3647">
                  <c:v>3.6469999999999998</c:v>
                </c:pt>
                <c:pt idx="3648">
                  <c:v>3.6480000000000001</c:v>
                </c:pt>
                <c:pt idx="3649">
                  <c:v>3.649</c:v>
                </c:pt>
                <c:pt idx="3650">
                  <c:v>3.65</c:v>
                </c:pt>
                <c:pt idx="3651">
                  <c:v>3.6509999999999998</c:v>
                </c:pt>
                <c:pt idx="3652">
                  <c:v>3.6520000000000001</c:v>
                </c:pt>
                <c:pt idx="3653">
                  <c:v>3.653</c:v>
                </c:pt>
                <c:pt idx="3654">
                  <c:v>3.6539999999999999</c:v>
                </c:pt>
                <c:pt idx="3655">
                  <c:v>3.6549999999999998</c:v>
                </c:pt>
                <c:pt idx="3656">
                  <c:v>3.6560000000000001</c:v>
                </c:pt>
                <c:pt idx="3657">
                  <c:v>3.657</c:v>
                </c:pt>
                <c:pt idx="3658">
                  <c:v>3.6579999999999999</c:v>
                </c:pt>
                <c:pt idx="3659">
                  <c:v>3.6589999999999998</c:v>
                </c:pt>
                <c:pt idx="3660">
                  <c:v>3.66</c:v>
                </c:pt>
                <c:pt idx="3661">
                  <c:v>3.661</c:v>
                </c:pt>
                <c:pt idx="3662">
                  <c:v>3.6619999999999999</c:v>
                </c:pt>
                <c:pt idx="3663">
                  <c:v>3.6629999999999998</c:v>
                </c:pt>
                <c:pt idx="3664">
                  <c:v>3.6640000000000001</c:v>
                </c:pt>
                <c:pt idx="3665">
                  <c:v>3.665</c:v>
                </c:pt>
                <c:pt idx="3666">
                  <c:v>3.6659999999999999</c:v>
                </c:pt>
                <c:pt idx="3667">
                  <c:v>3.6669999999999998</c:v>
                </c:pt>
                <c:pt idx="3668">
                  <c:v>3.6680000000000001</c:v>
                </c:pt>
                <c:pt idx="3669">
                  <c:v>3.669</c:v>
                </c:pt>
                <c:pt idx="3670">
                  <c:v>3.67</c:v>
                </c:pt>
                <c:pt idx="3671">
                  <c:v>3.6709999999999998</c:v>
                </c:pt>
                <c:pt idx="3672">
                  <c:v>3.6720000000000002</c:v>
                </c:pt>
                <c:pt idx="3673">
                  <c:v>3.673</c:v>
                </c:pt>
                <c:pt idx="3674">
                  <c:v>3.6739999999999999</c:v>
                </c:pt>
                <c:pt idx="3675">
                  <c:v>3.6749999999999998</c:v>
                </c:pt>
                <c:pt idx="3676">
                  <c:v>3.6760000000000002</c:v>
                </c:pt>
                <c:pt idx="3677">
                  <c:v>3.677</c:v>
                </c:pt>
                <c:pt idx="3678">
                  <c:v>3.6779999999999999</c:v>
                </c:pt>
                <c:pt idx="3679">
                  <c:v>3.6789999999999998</c:v>
                </c:pt>
                <c:pt idx="3680">
                  <c:v>3.68</c:v>
                </c:pt>
                <c:pt idx="3681">
                  <c:v>3.681</c:v>
                </c:pt>
                <c:pt idx="3682">
                  <c:v>3.6819999999999999</c:v>
                </c:pt>
                <c:pt idx="3683">
                  <c:v>3.6829999999999998</c:v>
                </c:pt>
                <c:pt idx="3684">
                  <c:v>3.6840000000000002</c:v>
                </c:pt>
                <c:pt idx="3685">
                  <c:v>3.6850000000000001</c:v>
                </c:pt>
                <c:pt idx="3686">
                  <c:v>3.6859999999999999</c:v>
                </c:pt>
                <c:pt idx="3687">
                  <c:v>3.6869999999999998</c:v>
                </c:pt>
                <c:pt idx="3688">
                  <c:v>3.6880000000000002</c:v>
                </c:pt>
                <c:pt idx="3689">
                  <c:v>3.6890000000000001</c:v>
                </c:pt>
                <c:pt idx="3690">
                  <c:v>3.69</c:v>
                </c:pt>
                <c:pt idx="3691">
                  <c:v>3.6909999999999998</c:v>
                </c:pt>
                <c:pt idx="3692">
                  <c:v>3.6920000000000002</c:v>
                </c:pt>
                <c:pt idx="3693">
                  <c:v>3.6930000000000001</c:v>
                </c:pt>
                <c:pt idx="3694">
                  <c:v>3.694</c:v>
                </c:pt>
                <c:pt idx="3695">
                  <c:v>3.6949999999999998</c:v>
                </c:pt>
                <c:pt idx="3696">
                  <c:v>3.6960000000000002</c:v>
                </c:pt>
                <c:pt idx="3697">
                  <c:v>3.6970000000000001</c:v>
                </c:pt>
                <c:pt idx="3698">
                  <c:v>3.698</c:v>
                </c:pt>
                <c:pt idx="3699">
                  <c:v>3.6989999999999998</c:v>
                </c:pt>
                <c:pt idx="3700">
                  <c:v>3.7</c:v>
                </c:pt>
                <c:pt idx="3701">
                  <c:v>3.7010000000000001</c:v>
                </c:pt>
                <c:pt idx="3702">
                  <c:v>3.702</c:v>
                </c:pt>
                <c:pt idx="3703">
                  <c:v>3.7029999999999998</c:v>
                </c:pt>
                <c:pt idx="3704">
                  <c:v>3.7040000000000002</c:v>
                </c:pt>
                <c:pt idx="3705">
                  <c:v>3.7050000000000001</c:v>
                </c:pt>
                <c:pt idx="3706">
                  <c:v>3.706</c:v>
                </c:pt>
                <c:pt idx="3707">
                  <c:v>3.7069999999999999</c:v>
                </c:pt>
                <c:pt idx="3708">
                  <c:v>3.7080000000000002</c:v>
                </c:pt>
                <c:pt idx="3709">
                  <c:v>3.7090000000000001</c:v>
                </c:pt>
                <c:pt idx="3710">
                  <c:v>3.71</c:v>
                </c:pt>
                <c:pt idx="3711">
                  <c:v>3.7109999999999999</c:v>
                </c:pt>
                <c:pt idx="3712">
                  <c:v>3.7120000000000002</c:v>
                </c:pt>
                <c:pt idx="3713">
                  <c:v>3.7130000000000001</c:v>
                </c:pt>
                <c:pt idx="3714">
                  <c:v>3.714</c:v>
                </c:pt>
                <c:pt idx="3715">
                  <c:v>3.7149999999999999</c:v>
                </c:pt>
                <c:pt idx="3716">
                  <c:v>3.7160000000000002</c:v>
                </c:pt>
                <c:pt idx="3717">
                  <c:v>3.7170000000000001</c:v>
                </c:pt>
                <c:pt idx="3718">
                  <c:v>3.718</c:v>
                </c:pt>
                <c:pt idx="3719">
                  <c:v>3.7189999999999999</c:v>
                </c:pt>
                <c:pt idx="3720">
                  <c:v>3.72</c:v>
                </c:pt>
                <c:pt idx="3721">
                  <c:v>3.7210000000000001</c:v>
                </c:pt>
                <c:pt idx="3722">
                  <c:v>3.722</c:v>
                </c:pt>
                <c:pt idx="3723">
                  <c:v>3.7229999999999999</c:v>
                </c:pt>
                <c:pt idx="3724">
                  <c:v>3.7240000000000002</c:v>
                </c:pt>
                <c:pt idx="3725">
                  <c:v>3.7250000000000001</c:v>
                </c:pt>
                <c:pt idx="3726">
                  <c:v>3.726</c:v>
                </c:pt>
                <c:pt idx="3727">
                  <c:v>3.7269999999999999</c:v>
                </c:pt>
                <c:pt idx="3728">
                  <c:v>3.7280000000000002</c:v>
                </c:pt>
                <c:pt idx="3729">
                  <c:v>3.7290000000000001</c:v>
                </c:pt>
                <c:pt idx="3730">
                  <c:v>3.73</c:v>
                </c:pt>
                <c:pt idx="3731">
                  <c:v>3.7309999999999999</c:v>
                </c:pt>
                <c:pt idx="3732">
                  <c:v>3.7320000000000002</c:v>
                </c:pt>
                <c:pt idx="3733">
                  <c:v>3.7330000000000001</c:v>
                </c:pt>
                <c:pt idx="3734">
                  <c:v>3.734</c:v>
                </c:pt>
                <c:pt idx="3735">
                  <c:v>3.7349999999999999</c:v>
                </c:pt>
                <c:pt idx="3736">
                  <c:v>3.7360000000000002</c:v>
                </c:pt>
                <c:pt idx="3737">
                  <c:v>3.7370000000000001</c:v>
                </c:pt>
                <c:pt idx="3738">
                  <c:v>3.738</c:v>
                </c:pt>
                <c:pt idx="3739">
                  <c:v>3.7389999999999999</c:v>
                </c:pt>
                <c:pt idx="3740">
                  <c:v>3.74</c:v>
                </c:pt>
                <c:pt idx="3741">
                  <c:v>3.7410000000000001</c:v>
                </c:pt>
                <c:pt idx="3742">
                  <c:v>3.742</c:v>
                </c:pt>
                <c:pt idx="3743">
                  <c:v>3.7429999999999999</c:v>
                </c:pt>
                <c:pt idx="3744">
                  <c:v>3.7440000000000002</c:v>
                </c:pt>
                <c:pt idx="3745">
                  <c:v>3.7450000000000001</c:v>
                </c:pt>
                <c:pt idx="3746">
                  <c:v>3.746</c:v>
                </c:pt>
                <c:pt idx="3747">
                  <c:v>3.7469999999999999</c:v>
                </c:pt>
                <c:pt idx="3748">
                  <c:v>3.7480000000000002</c:v>
                </c:pt>
                <c:pt idx="3749">
                  <c:v>3.7490000000000001</c:v>
                </c:pt>
                <c:pt idx="3750">
                  <c:v>3.75</c:v>
                </c:pt>
                <c:pt idx="3751">
                  <c:v>3.7509999999999999</c:v>
                </c:pt>
                <c:pt idx="3752">
                  <c:v>3.7519999999999998</c:v>
                </c:pt>
                <c:pt idx="3753">
                  <c:v>3.7530000000000001</c:v>
                </c:pt>
                <c:pt idx="3754">
                  <c:v>3.754</c:v>
                </c:pt>
                <c:pt idx="3755">
                  <c:v>3.7549999999999999</c:v>
                </c:pt>
                <c:pt idx="3756">
                  <c:v>3.7559999999999998</c:v>
                </c:pt>
                <c:pt idx="3757">
                  <c:v>3.7570000000000001</c:v>
                </c:pt>
                <c:pt idx="3758">
                  <c:v>3.758</c:v>
                </c:pt>
                <c:pt idx="3759">
                  <c:v>3.7589999999999999</c:v>
                </c:pt>
                <c:pt idx="3760">
                  <c:v>3.76</c:v>
                </c:pt>
                <c:pt idx="3761">
                  <c:v>3.7610000000000001</c:v>
                </c:pt>
                <c:pt idx="3762">
                  <c:v>3.762</c:v>
                </c:pt>
                <c:pt idx="3763">
                  <c:v>3.7629999999999999</c:v>
                </c:pt>
                <c:pt idx="3764">
                  <c:v>3.7639999999999998</c:v>
                </c:pt>
                <c:pt idx="3765">
                  <c:v>3.7650000000000001</c:v>
                </c:pt>
                <c:pt idx="3766">
                  <c:v>3.766</c:v>
                </c:pt>
                <c:pt idx="3767">
                  <c:v>3.7669999999999999</c:v>
                </c:pt>
                <c:pt idx="3768">
                  <c:v>3.7679999999999998</c:v>
                </c:pt>
                <c:pt idx="3769">
                  <c:v>3.7690000000000001</c:v>
                </c:pt>
                <c:pt idx="3770">
                  <c:v>3.77</c:v>
                </c:pt>
                <c:pt idx="3771">
                  <c:v>3.7709999999999999</c:v>
                </c:pt>
                <c:pt idx="3772">
                  <c:v>3.7719999999999998</c:v>
                </c:pt>
                <c:pt idx="3773">
                  <c:v>3.7730000000000001</c:v>
                </c:pt>
                <c:pt idx="3774">
                  <c:v>3.774</c:v>
                </c:pt>
                <c:pt idx="3775">
                  <c:v>3.7749999999999999</c:v>
                </c:pt>
                <c:pt idx="3776">
                  <c:v>3.7759999999999998</c:v>
                </c:pt>
                <c:pt idx="3777">
                  <c:v>3.7770000000000001</c:v>
                </c:pt>
                <c:pt idx="3778">
                  <c:v>3.778</c:v>
                </c:pt>
                <c:pt idx="3779">
                  <c:v>3.7789999999999999</c:v>
                </c:pt>
                <c:pt idx="3780">
                  <c:v>3.78</c:v>
                </c:pt>
                <c:pt idx="3781">
                  <c:v>3.7810000000000001</c:v>
                </c:pt>
                <c:pt idx="3782">
                  <c:v>3.782</c:v>
                </c:pt>
                <c:pt idx="3783">
                  <c:v>3.7829999999999999</c:v>
                </c:pt>
                <c:pt idx="3784">
                  <c:v>3.7839999999999998</c:v>
                </c:pt>
                <c:pt idx="3785">
                  <c:v>3.7850000000000001</c:v>
                </c:pt>
                <c:pt idx="3786">
                  <c:v>3.786</c:v>
                </c:pt>
                <c:pt idx="3787">
                  <c:v>3.7869999999999999</c:v>
                </c:pt>
                <c:pt idx="3788">
                  <c:v>3.7879999999999998</c:v>
                </c:pt>
                <c:pt idx="3789">
                  <c:v>3.7890000000000001</c:v>
                </c:pt>
                <c:pt idx="3790">
                  <c:v>3.79</c:v>
                </c:pt>
                <c:pt idx="3791">
                  <c:v>3.7909999999999999</c:v>
                </c:pt>
                <c:pt idx="3792">
                  <c:v>3.7919999999999998</c:v>
                </c:pt>
                <c:pt idx="3793">
                  <c:v>3.7930000000000001</c:v>
                </c:pt>
                <c:pt idx="3794">
                  <c:v>3.794</c:v>
                </c:pt>
                <c:pt idx="3795">
                  <c:v>3.7949999999999999</c:v>
                </c:pt>
                <c:pt idx="3796">
                  <c:v>3.7959999999999998</c:v>
                </c:pt>
                <c:pt idx="3797">
                  <c:v>3.7970000000000002</c:v>
                </c:pt>
                <c:pt idx="3798">
                  <c:v>3.798</c:v>
                </c:pt>
                <c:pt idx="3799">
                  <c:v>3.7989999999999999</c:v>
                </c:pt>
                <c:pt idx="3800">
                  <c:v>3.8</c:v>
                </c:pt>
                <c:pt idx="3801">
                  <c:v>3.8010000000000002</c:v>
                </c:pt>
                <c:pt idx="3802">
                  <c:v>3.802</c:v>
                </c:pt>
                <c:pt idx="3803">
                  <c:v>3.8029999999999999</c:v>
                </c:pt>
                <c:pt idx="3804">
                  <c:v>3.8039999999999998</c:v>
                </c:pt>
                <c:pt idx="3805">
                  <c:v>3.8050000000000002</c:v>
                </c:pt>
                <c:pt idx="3806">
                  <c:v>3.806</c:v>
                </c:pt>
                <c:pt idx="3807">
                  <c:v>3.8069999999999999</c:v>
                </c:pt>
                <c:pt idx="3808">
                  <c:v>3.8079999999999998</c:v>
                </c:pt>
                <c:pt idx="3809">
                  <c:v>3.8090000000000002</c:v>
                </c:pt>
                <c:pt idx="3810">
                  <c:v>3.81</c:v>
                </c:pt>
                <c:pt idx="3811">
                  <c:v>3.8109999999999999</c:v>
                </c:pt>
                <c:pt idx="3812">
                  <c:v>3.8119999999999998</c:v>
                </c:pt>
                <c:pt idx="3813">
                  <c:v>3.8130000000000002</c:v>
                </c:pt>
                <c:pt idx="3814">
                  <c:v>3.8140000000000001</c:v>
                </c:pt>
                <c:pt idx="3815">
                  <c:v>3.8149999999999999</c:v>
                </c:pt>
                <c:pt idx="3816">
                  <c:v>3.8159999999999998</c:v>
                </c:pt>
                <c:pt idx="3817">
                  <c:v>3.8170000000000002</c:v>
                </c:pt>
                <c:pt idx="3818">
                  <c:v>3.8180000000000001</c:v>
                </c:pt>
                <c:pt idx="3819">
                  <c:v>3.819</c:v>
                </c:pt>
                <c:pt idx="3820">
                  <c:v>3.82</c:v>
                </c:pt>
                <c:pt idx="3821">
                  <c:v>3.8210000000000002</c:v>
                </c:pt>
                <c:pt idx="3822">
                  <c:v>3.8220000000000001</c:v>
                </c:pt>
                <c:pt idx="3823">
                  <c:v>3.823</c:v>
                </c:pt>
                <c:pt idx="3824">
                  <c:v>3.8239999999999998</c:v>
                </c:pt>
                <c:pt idx="3825">
                  <c:v>3.8250000000000002</c:v>
                </c:pt>
                <c:pt idx="3826">
                  <c:v>3.8260000000000001</c:v>
                </c:pt>
                <c:pt idx="3827">
                  <c:v>3.827</c:v>
                </c:pt>
                <c:pt idx="3828">
                  <c:v>3.8279999999999998</c:v>
                </c:pt>
                <c:pt idx="3829">
                  <c:v>3.8290000000000002</c:v>
                </c:pt>
                <c:pt idx="3830">
                  <c:v>3.83</c:v>
                </c:pt>
                <c:pt idx="3831">
                  <c:v>3.831</c:v>
                </c:pt>
                <c:pt idx="3832">
                  <c:v>3.8319999999999999</c:v>
                </c:pt>
                <c:pt idx="3833">
                  <c:v>3.8330000000000002</c:v>
                </c:pt>
                <c:pt idx="3834">
                  <c:v>3.8340000000000001</c:v>
                </c:pt>
                <c:pt idx="3835">
                  <c:v>3.835</c:v>
                </c:pt>
                <c:pt idx="3836">
                  <c:v>3.8359999999999999</c:v>
                </c:pt>
                <c:pt idx="3837">
                  <c:v>3.8370000000000002</c:v>
                </c:pt>
                <c:pt idx="3838">
                  <c:v>3.8380000000000001</c:v>
                </c:pt>
                <c:pt idx="3839">
                  <c:v>3.839</c:v>
                </c:pt>
                <c:pt idx="3840">
                  <c:v>3.84</c:v>
                </c:pt>
                <c:pt idx="3841">
                  <c:v>3.8410000000000002</c:v>
                </c:pt>
                <c:pt idx="3842">
                  <c:v>3.8420000000000001</c:v>
                </c:pt>
                <c:pt idx="3843">
                  <c:v>3.843</c:v>
                </c:pt>
                <c:pt idx="3844">
                  <c:v>3.8439999999999999</c:v>
                </c:pt>
                <c:pt idx="3845">
                  <c:v>3.8450000000000002</c:v>
                </c:pt>
                <c:pt idx="3846">
                  <c:v>3.8460000000000001</c:v>
                </c:pt>
                <c:pt idx="3847">
                  <c:v>3.847</c:v>
                </c:pt>
                <c:pt idx="3848">
                  <c:v>3.8479999999999999</c:v>
                </c:pt>
                <c:pt idx="3849">
                  <c:v>3.8490000000000002</c:v>
                </c:pt>
                <c:pt idx="3850">
                  <c:v>3.85</c:v>
                </c:pt>
                <c:pt idx="3851">
                  <c:v>3.851</c:v>
                </c:pt>
                <c:pt idx="3852">
                  <c:v>3.8519999999999999</c:v>
                </c:pt>
                <c:pt idx="3853">
                  <c:v>3.8530000000000002</c:v>
                </c:pt>
                <c:pt idx="3854">
                  <c:v>3.8540000000000001</c:v>
                </c:pt>
                <c:pt idx="3855">
                  <c:v>3.855</c:v>
                </c:pt>
                <c:pt idx="3856">
                  <c:v>3.8559999999999999</c:v>
                </c:pt>
                <c:pt idx="3857">
                  <c:v>3.8570000000000002</c:v>
                </c:pt>
                <c:pt idx="3858">
                  <c:v>3.8580000000000001</c:v>
                </c:pt>
                <c:pt idx="3859">
                  <c:v>3.859</c:v>
                </c:pt>
                <c:pt idx="3860">
                  <c:v>3.86</c:v>
                </c:pt>
                <c:pt idx="3861">
                  <c:v>3.8610000000000002</c:v>
                </c:pt>
                <c:pt idx="3862">
                  <c:v>3.8620000000000001</c:v>
                </c:pt>
                <c:pt idx="3863">
                  <c:v>3.863</c:v>
                </c:pt>
                <c:pt idx="3864">
                  <c:v>3.8639999999999999</c:v>
                </c:pt>
                <c:pt idx="3865">
                  <c:v>3.8650000000000002</c:v>
                </c:pt>
                <c:pt idx="3866">
                  <c:v>3.8660000000000001</c:v>
                </c:pt>
                <c:pt idx="3867">
                  <c:v>3.867</c:v>
                </c:pt>
                <c:pt idx="3868">
                  <c:v>3.8679999999999999</c:v>
                </c:pt>
                <c:pt idx="3869">
                  <c:v>3.8690000000000002</c:v>
                </c:pt>
                <c:pt idx="3870">
                  <c:v>3.87</c:v>
                </c:pt>
                <c:pt idx="3871">
                  <c:v>3.871</c:v>
                </c:pt>
                <c:pt idx="3872">
                  <c:v>3.8719999999999999</c:v>
                </c:pt>
                <c:pt idx="3873">
                  <c:v>3.8730000000000002</c:v>
                </c:pt>
                <c:pt idx="3874">
                  <c:v>3.8740000000000001</c:v>
                </c:pt>
                <c:pt idx="3875">
                  <c:v>3.875</c:v>
                </c:pt>
                <c:pt idx="3876">
                  <c:v>3.8759999999999999</c:v>
                </c:pt>
                <c:pt idx="3877">
                  <c:v>3.8769999999999998</c:v>
                </c:pt>
                <c:pt idx="3878">
                  <c:v>3.8780000000000001</c:v>
                </c:pt>
                <c:pt idx="3879">
                  <c:v>3.879</c:v>
                </c:pt>
                <c:pt idx="3880">
                  <c:v>3.88</c:v>
                </c:pt>
                <c:pt idx="3881">
                  <c:v>3.8809999999999998</c:v>
                </c:pt>
                <c:pt idx="3882">
                  <c:v>3.8820000000000001</c:v>
                </c:pt>
                <c:pt idx="3883">
                  <c:v>3.883</c:v>
                </c:pt>
                <c:pt idx="3884">
                  <c:v>3.8839999999999999</c:v>
                </c:pt>
                <c:pt idx="3885">
                  <c:v>3.8849999999999998</c:v>
                </c:pt>
                <c:pt idx="3886">
                  <c:v>3.8860000000000001</c:v>
                </c:pt>
                <c:pt idx="3887">
                  <c:v>3.887</c:v>
                </c:pt>
                <c:pt idx="3888">
                  <c:v>3.8879999999999999</c:v>
                </c:pt>
                <c:pt idx="3889">
                  <c:v>3.8889999999999998</c:v>
                </c:pt>
                <c:pt idx="3890">
                  <c:v>3.89</c:v>
                </c:pt>
                <c:pt idx="3891">
                  <c:v>3.891</c:v>
                </c:pt>
                <c:pt idx="3892">
                  <c:v>3.8919999999999999</c:v>
                </c:pt>
                <c:pt idx="3893">
                  <c:v>3.8929999999999998</c:v>
                </c:pt>
                <c:pt idx="3894">
                  <c:v>3.8940000000000001</c:v>
                </c:pt>
                <c:pt idx="3895">
                  <c:v>3.895</c:v>
                </c:pt>
                <c:pt idx="3896">
                  <c:v>3.8959999999999999</c:v>
                </c:pt>
                <c:pt idx="3897">
                  <c:v>3.8969999999999998</c:v>
                </c:pt>
                <c:pt idx="3898">
                  <c:v>3.8980000000000001</c:v>
                </c:pt>
                <c:pt idx="3899">
                  <c:v>3.899</c:v>
                </c:pt>
                <c:pt idx="3900">
                  <c:v>3.9</c:v>
                </c:pt>
                <c:pt idx="3901">
                  <c:v>3.9009999999999998</c:v>
                </c:pt>
                <c:pt idx="3902">
                  <c:v>3.9020000000000001</c:v>
                </c:pt>
                <c:pt idx="3903">
                  <c:v>3.903</c:v>
                </c:pt>
                <c:pt idx="3904">
                  <c:v>3.9039999999999999</c:v>
                </c:pt>
                <c:pt idx="3905">
                  <c:v>3.9049999999999998</c:v>
                </c:pt>
                <c:pt idx="3906">
                  <c:v>3.9060000000000001</c:v>
                </c:pt>
                <c:pt idx="3907">
                  <c:v>3.907</c:v>
                </c:pt>
                <c:pt idx="3908">
                  <c:v>3.9079999999999999</c:v>
                </c:pt>
                <c:pt idx="3909">
                  <c:v>3.9089999999999998</c:v>
                </c:pt>
                <c:pt idx="3910">
                  <c:v>3.91</c:v>
                </c:pt>
                <c:pt idx="3911">
                  <c:v>3.911</c:v>
                </c:pt>
                <c:pt idx="3912">
                  <c:v>3.9119999999999999</c:v>
                </c:pt>
                <c:pt idx="3913">
                  <c:v>3.9129999999999998</c:v>
                </c:pt>
                <c:pt idx="3914">
                  <c:v>3.9140000000000001</c:v>
                </c:pt>
                <c:pt idx="3915">
                  <c:v>3.915</c:v>
                </c:pt>
                <c:pt idx="3916">
                  <c:v>3.9159999999999999</c:v>
                </c:pt>
                <c:pt idx="3917">
                  <c:v>3.9169999999999998</c:v>
                </c:pt>
                <c:pt idx="3918">
                  <c:v>3.9180000000000001</c:v>
                </c:pt>
                <c:pt idx="3919">
                  <c:v>3.919</c:v>
                </c:pt>
                <c:pt idx="3920">
                  <c:v>3.92</c:v>
                </c:pt>
                <c:pt idx="3921">
                  <c:v>3.9209999999999998</c:v>
                </c:pt>
                <c:pt idx="3922">
                  <c:v>3.9220000000000002</c:v>
                </c:pt>
                <c:pt idx="3923">
                  <c:v>3.923</c:v>
                </c:pt>
                <c:pt idx="3924">
                  <c:v>3.9239999999999999</c:v>
                </c:pt>
                <c:pt idx="3925">
                  <c:v>3.9249999999999998</c:v>
                </c:pt>
                <c:pt idx="3926">
                  <c:v>3.9260000000000002</c:v>
                </c:pt>
                <c:pt idx="3927">
                  <c:v>3.927</c:v>
                </c:pt>
                <c:pt idx="3928">
                  <c:v>3.9279999999999999</c:v>
                </c:pt>
                <c:pt idx="3929">
                  <c:v>3.9289999999999998</c:v>
                </c:pt>
                <c:pt idx="3930">
                  <c:v>3.93</c:v>
                </c:pt>
                <c:pt idx="3931">
                  <c:v>3.931</c:v>
                </c:pt>
                <c:pt idx="3932">
                  <c:v>3.9319999999999999</c:v>
                </c:pt>
                <c:pt idx="3933">
                  <c:v>3.9329999999999998</c:v>
                </c:pt>
                <c:pt idx="3934">
                  <c:v>3.9340000000000002</c:v>
                </c:pt>
                <c:pt idx="3935">
                  <c:v>3.9350000000000001</c:v>
                </c:pt>
                <c:pt idx="3936">
                  <c:v>3.9359999999999999</c:v>
                </c:pt>
                <c:pt idx="3937">
                  <c:v>3.9369999999999998</c:v>
                </c:pt>
                <c:pt idx="3938">
                  <c:v>3.9380000000000002</c:v>
                </c:pt>
                <c:pt idx="3939">
                  <c:v>3.9390000000000001</c:v>
                </c:pt>
                <c:pt idx="3940">
                  <c:v>3.94</c:v>
                </c:pt>
                <c:pt idx="3941">
                  <c:v>3.9409999999999998</c:v>
                </c:pt>
                <c:pt idx="3942">
                  <c:v>3.9420000000000002</c:v>
                </c:pt>
                <c:pt idx="3943">
                  <c:v>3.9430000000000001</c:v>
                </c:pt>
                <c:pt idx="3944">
                  <c:v>3.944</c:v>
                </c:pt>
                <c:pt idx="3945">
                  <c:v>3.9449999999999998</c:v>
                </c:pt>
                <c:pt idx="3946">
                  <c:v>3.9460000000000002</c:v>
                </c:pt>
                <c:pt idx="3947">
                  <c:v>3.9470000000000001</c:v>
                </c:pt>
                <c:pt idx="3948">
                  <c:v>3.948</c:v>
                </c:pt>
                <c:pt idx="3949">
                  <c:v>3.9489999999999998</c:v>
                </c:pt>
                <c:pt idx="3950">
                  <c:v>3.95</c:v>
                </c:pt>
                <c:pt idx="3951">
                  <c:v>3.9510000000000001</c:v>
                </c:pt>
                <c:pt idx="3952">
                  <c:v>3.952</c:v>
                </c:pt>
                <c:pt idx="3953">
                  <c:v>3.9529999999999998</c:v>
                </c:pt>
                <c:pt idx="3954">
                  <c:v>3.9540000000000002</c:v>
                </c:pt>
                <c:pt idx="3955">
                  <c:v>3.9550000000000001</c:v>
                </c:pt>
                <c:pt idx="3956">
                  <c:v>3.956</c:v>
                </c:pt>
                <c:pt idx="3957">
                  <c:v>3.9569999999999999</c:v>
                </c:pt>
                <c:pt idx="3958">
                  <c:v>3.9580000000000002</c:v>
                </c:pt>
                <c:pt idx="3959">
                  <c:v>3.9590000000000001</c:v>
                </c:pt>
                <c:pt idx="3960">
                  <c:v>3.96</c:v>
                </c:pt>
                <c:pt idx="3961">
                  <c:v>3.9609999999999999</c:v>
                </c:pt>
                <c:pt idx="3962">
                  <c:v>3.9620000000000002</c:v>
                </c:pt>
                <c:pt idx="3963">
                  <c:v>3.9630000000000001</c:v>
                </c:pt>
                <c:pt idx="3964">
                  <c:v>3.964</c:v>
                </c:pt>
                <c:pt idx="3965">
                  <c:v>3.9649999999999999</c:v>
                </c:pt>
                <c:pt idx="3966">
                  <c:v>3.9660000000000002</c:v>
                </c:pt>
                <c:pt idx="3967">
                  <c:v>3.9670000000000001</c:v>
                </c:pt>
                <c:pt idx="3968">
                  <c:v>3.968</c:v>
                </c:pt>
                <c:pt idx="3969">
                  <c:v>3.9689999999999999</c:v>
                </c:pt>
                <c:pt idx="3970">
                  <c:v>3.97</c:v>
                </c:pt>
                <c:pt idx="3971">
                  <c:v>3.9710000000000001</c:v>
                </c:pt>
                <c:pt idx="3972">
                  <c:v>3.972</c:v>
                </c:pt>
                <c:pt idx="3973">
                  <c:v>3.9729999999999999</c:v>
                </c:pt>
                <c:pt idx="3974">
                  <c:v>3.9740000000000002</c:v>
                </c:pt>
                <c:pt idx="3975">
                  <c:v>3.9750000000000001</c:v>
                </c:pt>
                <c:pt idx="3976">
                  <c:v>3.976</c:v>
                </c:pt>
                <c:pt idx="3977">
                  <c:v>3.9769999999999999</c:v>
                </c:pt>
                <c:pt idx="3978">
                  <c:v>3.9780000000000002</c:v>
                </c:pt>
                <c:pt idx="3979">
                  <c:v>3.9790000000000001</c:v>
                </c:pt>
                <c:pt idx="3980">
                  <c:v>3.98</c:v>
                </c:pt>
                <c:pt idx="3981">
                  <c:v>3.9809999999999999</c:v>
                </c:pt>
                <c:pt idx="3982">
                  <c:v>3.9820000000000002</c:v>
                </c:pt>
                <c:pt idx="3983">
                  <c:v>3.9830000000000001</c:v>
                </c:pt>
                <c:pt idx="3984">
                  <c:v>3.984</c:v>
                </c:pt>
                <c:pt idx="3985">
                  <c:v>3.9849999999999999</c:v>
                </c:pt>
                <c:pt idx="3986">
                  <c:v>3.9860000000000002</c:v>
                </c:pt>
                <c:pt idx="3987">
                  <c:v>3.9870000000000001</c:v>
                </c:pt>
                <c:pt idx="3988">
                  <c:v>3.988</c:v>
                </c:pt>
                <c:pt idx="3989">
                  <c:v>3.9889999999999999</c:v>
                </c:pt>
                <c:pt idx="3990">
                  <c:v>3.99</c:v>
                </c:pt>
                <c:pt idx="3991">
                  <c:v>3.9910000000000001</c:v>
                </c:pt>
                <c:pt idx="3992">
                  <c:v>3.992</c:v>
                </c:pt>
                <c:pt idx="3993">
                  <c:v>3.9929999999999999</c:v>
                </c:pt>
                <c:pt idx="3994">
                  <c:v>3.9940000000000002</c:v>
                </c:pt>
                <c:pt idx="3995">
                  <c:v>3.9950000000000001</c:v>
                </c:pt>
                <c:pt idx="3996">
                  <c:v>3.996</c:v>
                </c:pt>
                <c:pt idx="3997">
                  <c:v>3.9969999999999999</c:v>
                </c:pt>
                <c:pt idx="3998">
                  <c:v>3.9980000000000002</c:v>
                </c:pt>
                <c:pt idx="3999">
                  <c:v>3.9990000000000001</c:v>
                </c:pt>
                <c:pt idx="4000">
                  <c:v>4</c:v>
                </c:pt>
                <c:pt idx="4001">
                  <c:v>4.0010000000000003</c:v>
                </c:pt>
                <c:pt idx="4002">
                  <c:v>4.0019999999999998</c:v>
                </c:pt>
                <c:pt idx="4003">
                  <c:v>4.0030000000000001</c:v>
                </c:pt>
                <c:pt idx="4004">
                  <c:v>4.0039999999999996</c:v>
                </c:pt>
                <c:pt idx="4005">
                  <c:v>4.0049999999999999</c:v>
                </c:pt>
                <c:pt idx="4006">
                  <c:v>4.0060000000000002</c:v>
                </c:pt>
                <c:pt idx="4007">
                  <c:v>4.0069999999999997</c:v>
                </c:pt>
                <c:pt idx="4008">
                  <c:v>4.008</c:v>
                </c:pt>
                <c:pt idx="4009">
                  <c:v>4.0090000000000003</c:v>
                </c:pt>
                <c:pt idx="4010">
                  <c:v>4.01</c:v>
                </c:pt>
                <c:pt idx="4011">
                  <c:v>4.0110000000000001</c:v>
                </c:pt>
                <c:pt idx="4012">
                  <c:v>4.0119999999999996</c:v>
                </c:pt>
                <c:pt idx="4013">
                  <c:v>4.0129999999999999</c:v>
                </c:pt>
                <c:pt idx="4014">
                  <c:v>4.0140000000000002</c:v>
                </c:pt>
                <c:pt idx="4015">
                  <c:v>4.0149999999999997</c:v>
                </c:pt>
                <c:pt idx="4016">
                  <c:v>4.016</c:v>
                </c:pt>
                <c:pt idx="4017">
                  <c:v>4.0170000000000003</c:v>
                </c:pt>
                <c:pt idx="4018">
                  <c:v>4.0179999999999998</c:v>
                </c:pt>
                <c:pt idx="4019">
                  <c:v>4.0190000000000001</c:v>
                </c:pt>
                <c:pt idx="4020">
                  <c:v>4.0199999999999996</c:v>
                </c:pt>
                <c:pt idx="4021">
                  <c:v>4.0209999999999999</c:v>
                </c:pt>
                <c:pt idx="4022">
                  <c:v>4.0220000000000002</c:v>
                </c:pt>
                <c:pt idx="4023">
                  <c:v>4.0229999999999997</c:v>
                </c:pt>
                <c:pt idx="4024">
                  <c:v>4.024</c:v>
                </c:pt>
                <c:pt idx="4025">
                  <c:v>4.0250000000000004</c:v>
                </c:pt>
                <c:pt idx="4026">
                  <c:v>4.0259999999999998</c:v>
                </c:pt>
                <c:pt idx="4027">
                  <c:v>4.0270000000000001</c:v>
                </c:pt>
                <c:pt idx="4028">
                  <c:v>4.0279999999999996</c:v>
                </c:pt>
                <c:pt idx="4029">
                  <c:v>4.0289999999999999</c:v>
                </c:pt>
                <c:pt idx="4030">
                  <c:v>4.03</c:v>
                </c:pt>
                <c:pt idx="4031">
                  <c:v>4.0309999999999997</c:v>
                </c:pt>
                <c:pt idx="4032">
                  <c:v>4.032</c:v>
                </c:pt>
                <c:pt idx="4033">
                  <c:v>4.0330000000000004</c:v>
                </c:pt>
                <c:pt idx="4034">
                  <c:v>4.0339999999999998</c:v>
                </c:pt>
                <c:pt idx="4035">
                  <c:v>4.0350000000000001</c:v>
                </c:pt>
                <c:pt idx="4036">
                  <c:v>4.0359999999999996</c:v>
                </c:pt>
                <c:pt idx="4037">
                  <c:v>4.0369999999999999</c:v>
                </c:pt>
                <c:pt idx="4038">
                  <c:v>4.0380000000000003</c:v>
                </c:pt>
                <c:pt idx="4039">
                  <c:v>4.0389999999999997</c:v>
                </c:pt>
                <c:pt idx="4040">
                  <c:v>4.04</c:v>
                </c:pt>
                <c:pt idx="4041">
                  <c:v>4.0410000000000004</c:v>
                </c:pt>
                <c:pt idx="4042">
                  <c:v>4.0419999999999998</c:v>
                </c:pt>
                <c:pt idx="4043">
                  <c:v>4.0430000000000001</c:v>
                </c:pt>
                <c:pt idx="4044">
                  <c:v>4.0439999999999996</c:v>
                </c:pt>
                <c:pt idx="4045">
                  <c:v>4.0449999999999999</c:v>
                </c:pt>
                <c:pt idx="4046">
                  <c:v>4.0460000000000003</c:v>
                </c:pt>
                <c:pt idx="4047">
                  <c:v>4.0469999999999997</c:v>
                </c:pt>
                <c:pt idx="4048">
                  <c:v>4.048</c:v>
                </c:pt>
                <c:pt idx="4049">
                  <c:v>4.0490000000000004</c:v>
                </c:pt>
                <c:pt idx="4050">
                  <c:v>4.05</c:v>
                </c:pt>
                <c:pt idx="4051">
                  <c:v>4.0510000000000002</c:v>
                </c:pt>
                <c:pt idx="4052">
                  <c:v>4.0519999999999996</c:v>
                </c:pt>
                <c:pt idx="4053">
                  <c:v>4.0529999999999999</c:v>
                </c:pt>
                <c:pt idx="4054">
                  <c:v>4.0540000000000003</c:v>
                </c:pt>
                <c:pt idx="4055">
                  <c:v>4.0549999999999997</c:v>
                </c:pt>
                <c:pt idx="4056">
                  <c:v>4.056</c:v>
                </c:pt>
                <c:pt idx="4057">
                  <c:v>4.0570000000000004</c:v>
                </c:pt>
                <c:pt idx="4058">
                  <c:v>4.0579999999999998</c:v>
                </c:pt>
                <c:pt idx="4059">
                  <c:v>4.0590000000000002</c:v>
                </c:pt>
                <c:pt idx="4060">
                  <c:v>4.0599999999999996</c:v>
                </c:pt>
                <c:pt idx="4061">
                  <c:v>4.0609999999999999</c:v>
                </c:pt>
                <c:pt idx="4062">
                  <c:v>4.0620000000000003</c:v>
                </c:pt>
                <c:pt idx="4063">
                  <c:v>4.0629999999999997</c:v>
                </c:pt>
                <c:pt idx="4064">
                  <c:v>4.0640000000000001</c:v>
                </c:pt>
                <c:pt idx="4065">
                  <c:v>4.0650000000000004</c:v>
                </c:pt>
                <c:pt idx="4066">
                  <c:v>4.0659999999999998</c:v>
                </c:pt>
                <c:pt idx="4067">
                  <c:v>4.0670000000000002</c:v>
                </c:pt>
                <c:pt idx="4068">
                  <c:v>4.0679999999999996</c:v>
                </c:pt>
                <c:pt idx="4069">
                  <c:v>4.069</c:v>
                </c:pt>
                <c:pt idx="4070">
                  <c:v>4.07</c:v>
                </c:pt>
                <c:pt idx="4071">
                  <c:v>4.0709999999999997</c:v>
                </c:pt>
                <c:pt idx="4072">
                  <c:v>4.0720000000000001</c:v>
                </c:pt>
                <c:pt idx="4073">
                  <c:v>4.0730000000000004</c:v>
                </c:pt>
                <c:pt idx="4074">
                  <c:v>4.0739999999999998</c:v>
                </c:pt>
                <c:pt idx="4075">
                  <c:v>4.0750000000000002</c:v>
                </c:pt>
                <c:pt idx="4076">
                  <c:v>4.0759999999999996</c:v>
                </c:pt>
                <c:pt idx="4077">
                  <c:v>4.077</c:v>
                </c:pt>
                <c:pt idx="4078">
                  <c:v>4.0780000000000003</c:v>
                </c:pt>
                <c:pt idx="4079">
                  <c:v>4.0789999999999997</c:v>
                </c:pt>
                <c:pt idx="4080">
                  <c:v>4.08</c:v>
                </c:pt>
                <c:pt idx="4081">
                  <c:v>4.0810000000000004</c:v>
                </c:pt>
                <c:pt idx="4082">
                  <c:v>4.0819999999999999</c:v>
                </c:pt>
                <c:pt idx="4083">
                  <c:v>4.0830000000000002</c:v>
                </c:pt>
                <c:pt idx="4084">
                  <c:v>4.0839999999999996</c:v>
                </c:pt>
                <c:pt idx="4085">
                  <c:v>4.085</c:v>
                </c:pt>
                <c:pt idx="4086">
                  <c:v>4.0860000000000003</c:v>
                </c:pt>
                <c:pt idx="4087">
                  <c:v>4.0869999999999997</c:v>
                </c:pt>
                <c:pt idx="4088">
                  <c:v>4.0880000000000001</c:v>
                </c:pt>
                <c:pt idx="4089">
                  <c:v>4.0890000000000004</c:v>
                </c:pt>
                <c:pt idx="4090">
                  <c:v>4.09</c:v>
                </c:pt>
                <c:pt idx="4091">
                  <c:v>4.0910000000000002</c:v>
                </c:pt>
                <c:pt idx="4092">
                  <c:v>4.0919999999999996</c:v>
                </c:pt>
                <c:pt idx="4093">
                  <c:v>4.093</c:v>
                </c:pt>
                <c:pt idx="4094">
                  <c:v>4.0940000000000003</c:v>
                </c:pt>
                <c:pt idx="4095">
                  <c:v>4.0949999999999998</c:v>
                </c:pt>
                <c:pt idx="4096">
                  <c:v>4.0960000000000001</c:v>
                </c:pt>
                <c:pt idx="4097">
                  <c:v>4.0970000000000004</c:v>
                </c:pt>
                <c:pt idx="4098">
                  <c:v>4.0979999999999999</c:v>
                </c:pt>
                <c:pt idx="4099">
                  <c:v>4.0990000000000002</c:v>
                </c:pt>
                <c:pt idx="4100">
                  <c:v>4.0999999999999996</c:v>
                </c:pt>
                <c:pt idx="4101">
                  <c:v>4.101</c:v>
                </c:pt>
                <c:pt idx="4102">
                  <c:v>4.1020000000000003</c:v>
                </c:pt>
                <c:pt idx="4103">
                  <c:v>4.1029999999999998</c:v>
                </c:pt>
                <c:pt idx="4104">
                  <c:v>4.1040000000000001</c:v>
                </c:pt>
                <c:pt idx="4105">
                  <c:v>4.1050000000000004</c:v>
                </c:pt>
                <c:pt idx="4106">
                  <c:v>4.1059999999999999</c:v>
                </c:pt>
                <c:pt idx="4107">
                  <c:v>4.1070000000000002</c:v>
                </c:pt>
                <c:pt idx="4108">
                  <c:v>4.1079999999999997</c:v>
                </c:pt>
                <c:pt idx="4109">
                  <c:v>4.109</c:v>
                </c:pt>
                <c:pt idx="4110">
                  <c:v>4.1100000000000003</c:v>
                </c:pt>
                <c:pt idx="4111">
                  <c:v>4.1109999999999998</c:v>
                </c:pt>
                <c:pt idx="4112">
                  <c:v>4.1120000000000001</c:v>
                </c:pt>
                <c:pt idx="4113">
                  <c:v>4.1130000000000004</c:v>
                </c:pt>
                <c:pt idx="4114">
                  <c:v>4.1139999999999999</c:v>
                </c:pt>
                <c:pt idx="4115">
                  <c:v>4.1150000000000002</c:v>
                </c:pt>
                <c:pt idx="4116">
                  <c:v>4.1159999999999997</c:v>
                </c:pt>
                <c:pt idx="4117">
                  <c:v>4.117</c:v>
                </c:pt>
                <c:pt idx="4118">
                  <c:v>4.1180000000000003</c:v>
                </c:pt>
                <c:pt idx="4119">
                  <c:v>4.1189999999999998</c:v>
                </c:pt>
                <c:pt idx="4120">
                  <c:v>4.12</c:v>
                </c:pt>
                <c:pt idx="4121">
                  <c:v>4.1210000000000004</c:v>
                </c:pt>
                <c:pt idx="4122">
                  <c:v>4.1219999999999999</c:v>
                </c:pt>
                <c:pt idx="4123">
                  <c:v>4.1230000000000002</c:v>
                </c:pt>
                <c:pt idx="4124">
                  <c:v>4.1239999999999997</c:v>
                </c:pt>
                <c:pt idx="4125">
                  <c:v>4.125</c:v>
                </c:pt>
                <c:pt idx="4126">
                  <c:v>4.1260000000000003</c:v>
                </c:pt>
                <c:pt idx="4127">
                  <c:v>4.1269999999999998</c:v>
                </c:pt>
                <c:pt idx="4128">
                  <c:v>4.1280000000000001</c:v>
                </c:pt>
                <c:pt idx="4129">
                  <c:v>4.1289999999999996</c:v>
                </c:pt>
                <c:pt idx="4130">
                  <c:v>4.13</c:v>
                </c:pt>
                <c:pt idx="4131">
                  <c:v>4.1310000000000002</c:v>
                </c:pt>
                <c:pt idx="4132">
                  <c:v>4.1319999999999997</c:v>
                </c:pt>
                <c:pt idx="4133">
                  <c:v>4.133</c:v>
                </c:pt>
                <c:pt idx="4134">
                  <c:v>4.1340000000000003</c:v>
                </c:pt>
                <c:pt idx="4135">
                  <c:v>4.1349999999999998</c:v>
                </c:pt>
                <c:pt idx="4136">
                  <c:v>4.1360000000000001</c:v>
                </c:pt>
                <c:pt idx="4137">
                  <c:v>4.1369999999999996</c:v>
                </c:pt>
                <c:pt idx="4138">
                  <c:v>4.1379999999999999</c:v>
                </c:pt>
                <c:pt idx="4139">
                  <c:v>4.1390000000000002</c:v>
                </c:pt>
                <c:pt idx="4140">
                  <c:v>4.1399999999999997</c:v>
                </c:pt>
                <c:pt idx="4141">
                  <c:v>4.141</c:v>
                </c:pt>
                <c:pt idx="4142">
                  <c:v>4.1420000000000003</c:v>
                </c:pt>
                <c:pt idx="4143">
                  <c:v>4.1429999999999998</c:v>
                </c:pt>
                <c:pt idx="4144">
                  <c:v>4.1440000000000001</c:v>
                </c:pt>
                <c:pt idx="4145">
                  <c:v>4.1449999999999996</c:v>
                </c:pt>
                <c:pt idx="4146">
                  <c:v>4.1459999999999999</c:v>
                </c:pt>
                <c:pt idx="4147">
                  <c:v>4.1470000000000002</c:v>
                </c:pt>
                <c:pt idx="4148">
                  <c:v>4.1479999999999997</c:v>
                </c:pt>
                <c:pt idx="4149">
                  <c:v>4.149</c:v>
                </c:pt>
                <c:pt idx="4150">
                  <c:v>4.1500000000000004</c:v>
                </c:pt>
                <c:pt idx="4151">
                  <c:v>4.1509999999999998</c:v>
                </c:pt>
                <c:pt idx="4152">
                  <c:v>4.1520000000000001</c:v>
                </c:pt>
                <c:pt idx="4153">
                  <c:v>4.1529999999999996</c:v>
                </c:pt>
                <c:pt idx="4154">
                  <c:v>4.1539999999999999</c:v>
                </c:pt>
                <c:pt idx="4155">
                  <c:v>4.1550000000000002</c:v>
                </c:pt>
                <c:pt idx="4156">
                  <c:v>4.1559999999999997</c:v>
                </c:pt>
                <c:pt idx="4157">
                  <c:v>4.157</c:v>
                </c:pt>
                <c:pt idx="4158">
                  <c:v>4.1580000000000004</c:v>
                </c:pt>
                <c:pt idx="4159">
                  <c:v>4.1589999999999998</c:v>
                </c:pt>
                <c:pt idx="4160">
                  <c:v>4.16</c:v>
                </c:pt>
                <c:pt idx="4161">
                  <c:v>4.1609999999999996</c:v>
                </c:pt>
                <c:pt idx="4162">
                  <c:v>4.1619999999999999</c:v>
                </c:pt>
                <c:pt idx="4163">
                  <c:v>4.1630000000000003</c:v>
                </c:pt>
                <c:pt idx="4164">
                  <c:v>4.1639999999999997</c:v>
                </c:pt>
                <c:pt idx="4165">
                  <c:v>4.165</c:v>
                </c:pt>
                <c:pt idx="4166">
                  <c:v>4.1660000000000004</c:v>
                </c:pt>
                <c:pt idx="4167">
                  <c:v>4.1669999999999998</c:v>
                </c:pt>
                <c:pt idx="4168">
                  <c:v>4.1680000000000001</c:v>
                </c:pt>
                <c:pt idx="4169">
                  <c:v>4.1689999999999996</c:v>
                </c:pt>
                <c:pt idx="4170">
                  <c:v>4.17</c:v>
                </c:pt>
                <c:pt idx="4171">
                  <c:v>4.1710000000000003</c:v>
                </c:pt>
                <c:pt idx="4172">
                  <c:v>4.1719999999999997</c:v>
                </c:pt>
                <c:pt idx="4173">
                  <c:v>4.173</c:v>
                </c:pt>
                <c:pt idx="4174">
                  <c:v>4.1740000000000004</c:v>
                </c:pt>
                <c:pt idx="4175">
                  <c:v>4.1749999999999998</c:v>
                </c:pt>
                <c:pt idx="4176">
                  <c:v>4.1760000000000002</c:v>
                </c:pt>
                <c:pt idx="4177">
                  <c:v>4.1769999999999996</c:v>
                </c:pt>
                <c:pt idx="4178">
                  <c:v>4.1779999999999999</c:v>
                </c:pt>
                <c:pt idx="4179">
                  <c:v>4.1790000000000003</c:v>
                </c:pt>
                <c:pt idx="4180">
                  <c:v>4.18</c:v>
                </c:pt>
                <c:pt idx="4181">
                  <c:v>4.181</c:v>
                </c:pt>
                <c:pt idx="4182">
                  <c:v>4.1820000000000004</c:v>
                </c:pt>
                <c:pt idx="4183">
                  <c:v>4.1829999999999998</c:v>
                </c:pt>
                <c:pt idx="4184">
                  <c:v>4.1840000000000002</c:v>
                </c:pt>
                <c:pt idx="4185">
                  <c:v>4.1849999999999996</c:v>
                </c:pt>
                <c:pt idx="4186">
                  <c:v>4.1859999999999999</c:v>
                </c:pt>
                <c:pt idx="4187">
                  <c:v>4.1870000000000003</c:v>
                </c:pt>
                <c:pt idx="4188">
                  <c:v>4.1879999999999997</c:v>
                </c:pt>
                <c:pt idx="4189">
                  <c:v>4.1890000000000001</c:v>
                </c:pt>
                <c:pt idx="4190">
                  <c:v>4.1900000000000004</c:v>
                </c:pt>
                <c:pt idx="4191">
                  <c:v>4.1909999999999998</c:v>
                </c:pt>
                <c:pt idx="4192">
                  <c:v>4.1920000000000002</c:v>
                </c:pt>
                <c:pt idx="4193">
                  <c:v>4.1929999999999996</c:v>
                </c:pt>
                <c:pt idx="4194">
                  <c:v>4.194</c:v>
                </c:pt>
                <c:pt idx="4195">
                  <c:v>4.1950000000000003</c:v>
                </c:pt>
                <c:pt idx="4196">
                  <c:v>4.1959999999999997</c:v>
                </c:pt>
                <c:pt idx="4197">
                  <c:v>4.1970000000000001</c:v>
                </c:pt>
                <c:pt idx="4198">
                  <c:v>4.1980000000000004</c:v>
                </c:pt>
                <c:pt idx="4199">
                  <c:v>4.1989999999999998</c:v>
                </c:pt>
                <c:pt idx="4200">
                  <c:v>4.2</c:v>
                </c:pt>
                <c:pt idx="4201">
                  <c:v>4.2009999999999996</c:v>
                </c:pt>
                <c:pt idx="4202">
                  <c:v>4.202</c:v>
                </c:pt>
                <c:pt idx="4203">
                  <c:v>4.2030000000000003</c:v>
                </c:pt>
                <c:pt idx="4204">
                  <c:v>4.2039999999999997</c:v>
                </c:pt>
                <c:pt idx="4205">
                  <c:v>4.2050000000000001</c:v>
                </c:pt>
                <c:pt idx="4206">
                  <c:v>4.2060000000000004</c:v>
                </c:pt>
                <c:pt idx="4207">
                  <c:v>4.2069999999999999</c:v>
                </c:pt>
                <c:pt idx="4208">
                  <c:v>4.2080000000000002</c:v>
                </c:pt>
                <c:pt idx="4209">
                  <c:v>4.2089999999999996</c:v>
                </c:pt>
                <c:pt idx="4210">
                  <c:v>4.21</c:v>
                </c:pt>
                <c:pt idx="4211">
                  <c:v>4.2110000000000003</c:v>
                </c:pt>
                <c:pt idx="4212">
                  <c:v>4.2119999999999997</c:v>
                </c:pt>
                <c:pt idx="4213">
                  <c:v>4.2130000000000001</c:v>
                </c:pt>
                <c:pt idx="4214">
                  <c:v>4.2140000000000004</c:v>
                </c:pt>
                <c:pt idx="4215">
                  <c:v>4.2149999999999999</c:v>
                </c:pt>
                <c:pt idx="4216">
                  <c:v>4.2160000000000002</c:v>
                </c:pt>
                <c:pt idx="4217">
                  <c:v>4.2169999999999996</c:v>
                </c:pt>
                <c:pt idx="4218">
                  <c:v>4.218</c:v>
                </c:pt>
                <c:pt idx="4219">
                  <c:v>4.2190000000000003</c:v>
                </c:pt>
                <c:pt idx="4220">
                  <c:v>4.22</c:v>
                </c:pt>
                <c:pt idx="4221">
                  <c:v>4.2210000000000001</c:v>
                </c:pt>
                <c:pt idx="4222">
                  <c:v>4.2220000000000004</c:v>
                </c:pt>
                <c:pt idx="4223">
                  <c:v>4.2229999999999999</c:v>
                </c:pt>
                <c:pt idx="4224">
                  <c:v>4.2240000000000002</c:v>
                </c:pt>
                <c:pt idx="4225">
                  <c:v>4.2249999999999996</c:v>
                </c:pt>
                <c:pt idx="4226">
                  <c:v>4.226</c:v>
                </c:pt>
                <c:pt idx="4227">
                  <c:v>4.2270000000000003</c:v>
                </c:pt>
                <c:pt idx="4228">
                  <c:v>4.2279999999999998</c:v>
                </c:pt>
                <c:pt idx="4229">
                  <c:v>4.2290000000000001</c:v>
                </c:pt>
                <c:pt idx="4230">
                  <c:v>4.2300000000000004</c:v>
                </c:pt>
                <c:pt idx="4231">
                  <c:v>4.2309999999999999</c:v>
                </c:pt>
                <c:pt idx="4232">
                  <c:v>4.2320000000000002</c:v>
                </c:pt>
                <c:pt idx="4233">
                  <c:v>4.2329999999999997</c:v>
                </c:pt>
                <c:pt idx="4234">
                  <c:v>4.234</c:v>
                </c:pt>
                <c:pt idx="4235">
                  <c:v>4.2350000000000003</c:v>
                </c:pt>
                <c:pt idx="4236">
                  <c:v>4.2359999999999998</c:v>
                </c:pt>
                <c:pt idx="4237">
                  <c:v>4.2370000000000001</c:v>
                </c:pt>
                <c:pt idx="4238">
                  <c:v>4.2380000000000004</c:v>
                </c:pt>
                <c:pt idx="4239">
                  <c:v>4.2389999999999999</c:v>
                </c:pt>
                <c:pt idx="4240">
                  <c:v>4.24</c:v>
                </c:pt>
                <c:pt idx="4241">
                  <c:v>4.2409999999999997</c:v>
                </c:pt>
                <c:pt idx="4242">
                  <c:v>4.242</c:v>
                </c:pt>
                <c:pt idx="4243">
                  <c:v>4.2430000000000003</c:v>
                </c:pt>
                <c:pt idx="4244">
                  <c:v>4.2439999999999998</c:v>
                </c:pt>
                <c:pt idx="4245">
                  <c:v>4.2450000000000001</c:v>
                </c:pt>
                <c:pt idx="4246">
                  <c:v>4.2460000000000004</c:v>
                </c:pt>
                <c:pt idx="4247">
                  <c:v>4.2469999999999999</c:v>
                </c:pt>
                <c:pt idx="4248">
                  <c:v>4.2480000000000002</c:v>
                </c:pt>
                <c:pt idx="4249">
                  <c:v>4.2489999999999997</c:v>
                </c:pt>
                <c:pt idx="4250">
                  <c:v>4.25</c:v>
                </c:pt>
                <c:pt idx="4251">
                  <c:v>4.2510000000000003</c:v>
                </c:pt>
                <c:pt idx="4252">
                  <c:v>4.2519999999999998</c:v>
                </c:pt>
                <c:pt idx="4253">
                  <c:v>4.2530000000000001</c:v>
                </c:pt>
                <c:pt idx="4254">
                  <c:v>4.2539999999999996</c:v>
                </c:pt>
                <c:pt idx="4255">
                  <c:v>4.2549999999999999</c:v>
                </c:pt>
                <c:pt idx="4256">
                  <c:v>4.2560000000000002</c:v>
                </c:pt>
                <c:pt idx="4257">
                  <c:v>4.2569999999999997</c:v>
                </c:pt>
                <c:pt idx="4258">
                  <c:v>4.258</c:v>
                </c:pt>
                <c:pt idx="4259">
                  <c:v>4.2590000000000003</c:v>
                </c:pt>
                <c:pt idx="4260">
                  <c:v>4.26</c:v>
                </c:pt>
                <c:pt idx="4261">
                  <c:v>4.2610000000000001</c:v>
                </c:pt>
                <c:pt idx="4262">
                  <c:v>4.2619999999999996</c:v>
                </c:pt>
                <c:pt idx="4263">
                  <c:v>4.2629999999999999</c:v>
                </c:pt>
                <c:pt idx="4264">
                  <c:v>4.2640000000000002</c:v>
                </c:pt>
                <c:pt idx="4265">
                  <c:v>4.2649999999999997</c:v>
                </c:pt>
                <c:pt idx="4266">
                  <c:v>4.266</c:v>
                </c:pt>
                <c:pt idx="4267">
                  <c:v>4.2670000000000003</c:v>
                </c:pt>
                <c:pt idx="4268">
                  <c:v>4.2679999999999998</c:v>
                </c:pt>
                <c:pt idx="4269">
                  <c:v>4.2690000000000001</c:v>
                </c:pt>
                <c:pt idx="4270">
                  <c:v>4.2699999999999996</c:v>
                </c:pt>
                <c:pt idx="4271">
                  <c:v>4.2709999999999999</c:v>
                </c:pt>
                <c:pt idx="4272">
                  <c:v>4.2720000000000002</c:v>
                </c:pt>
                <c:pt idx="4273">
                  <c:v>4.2729999999999997</c:v>
                </c:pt>
                <c:pt idx="4274">
                  <c:v>4.274</c:v>
                </c:pt>
                <c:pt idx="4275">
                  <c:v>4.2750000000000004</c:v>
                </c:pt>
                <c:pt idx="4276">
                  <c:v>4.2759999999999998</c:v>
                </c:pt>
                <c:pt idx="4277">
                  <c:v>4.2770000000000001</c:v>
                </c:pt>
                <c:pt idx="4278">
                  <c:v>4.2779999999999996</c:v>
                </c:pt>
                <c:pt idx="4279">
                  <c:v>4.2789999999999999</c:v>
                </c:pt>
                <c:pt idx="4280">
                  <c:v>4.28</c:v>
                </c:pt>
                <c:pt idx="4281">
                  <c:v>4.2809999999999997</c:v>
                </c:pt>
                <c:pt idx="4282">
                  <c:v>4.282</c:v>
                </c:pt>
                <c:pt idx="4283">
                  <c:v>4.2830000000000004</c:v>
                </c:pt>
                <c:pt idx="4284">
                  <c:v>4.2839999999999998</c:v>
                </c:pt>
                <c:pt idx="4285">
                  <c:v>4.2850000000000001</c:v>
                </c:pt>
                <c:pt idx="4286">
                  <c:v>4.2859999999999996</c:v>
                </c:pt>
                <c:pt idx="4287">
                  <c:v>4.2869999999999999</c:v>
                </c:pt>
                <c:pt idx="4288">
                  <c:v>4.2880000000000003</c:v>
                </c:pt>
                <c:pt idx="4289">
                  <c:v>4.2889999999999997</c:v>
                </c:pt>
                <c:pt idx="4290">
                  <c:v>4.29</c:v>
                </c:pt>
                <c:pt idx="4291">
                  <c:v>4.2910000000000004</c:v>
                </c:pt>
                <c:pt idx="4292">
                  <c:v>4.2919999999999998</c:v>
                </c:pt>
                <c:pt idx="4293">
                  <c:v>4.2930000000000001</c:v>
                </c:pt>
                <c:pt idx="4294">
                  <c:v>4.2939999999999996</c:v>
                </c:pt>
                <c:pt idx="4295">
                  <c:v>4.2949999999999999</c:v>
                </c:pt>
                <c:pt idx="4296">
                  <c:v>4.2960000000000003</c:v>
                </c:pt>
                <c:pt idx="4297">
                  <c:v>4.2969999999999997</c:v>
                </c:pt>
                <c:pt idx="4298">
                  <c:v>4.298</c:v>
                </c:pt>
                <c:pt idx="4299">
                  <c:v>4.2990000000000004</c:v>
                </c:pt>
                <c:pt idx="4300">
                  <c:v>4.3</c:v>
                </c:pt>
                <c:pt idx="4301">
                  <c:v>4.3010000000000002</c:v>
                </c:pt>
                <c:pt idx="4302">
                  <c:v>4.3019999999999996</c:v>
                </c:pt>
                <c:pt idx="4303">
                  <c:v>4.3029999999999999</c:v>
                </c:pt>
                <c:pt idx="4304">
                  <c:v>4.3040000000000003</c:v>
                </c:pt>
                <c:pt idx="4305">
                  <c:v>4.3049999999999997</c:v>
                </c:pt>
                <c:pt idx="4306">
                  <c:v>4.306</c:v>
                </c:pt>
                <c:pt idx="4307">
                  <c:v>4.3070000000000004</c:v>
                </c:pt>
                <c:pt idx="4308">
                  <c:v>4.3079999999999998</c:v>
                </c:pt>
                <c:pt idx="4309">
                  <c:v>4.3090000000000002</c:v>
                </c:pt>
                <c:pt idx="4310">
                  <c:v>4.3099999999999996</c:v>
                </c:pt>
                <c:pt idx="4311">
                  <c:v>4.3109999999999999</c:v>
                </c:pt>
                <c:pt idx="4312">
                  <c:v>4.3120000000000003</c:v>
                </c:pt>
                <c:pt idx="4313">
                  <c:v>4.3129999999999997</c:v>
                </c:pt>
                <c:pt idx="4314">
                  <c:v>4.3140000000000001</c:v>
                </c:pt>
                <c:pt idx="4315">
                  <c:v>4.3150000000000004</c:v>
                </c:pt>
                <c:pt idx="4316">
                  <c:v>4.3159999999999998</c:v>
                </c:pt>
                <c:pt idx="4317">
                  <c:v>4.3170000000000002</c:v>
                </c:pt>
                <c:pt idx="4318">
                  <c:v>4.3179999999999996</c:v>
                </c:pt>
                <c:pt idx="4319">
                  <c:v>4.319</c:v>
                </c:pt>
                <c:pt idx="4320">
                  <c:v>4.32</c:v>
                </c:pt>
                <c:pt idx="4321">
                  <c:v>4.3209999999999997</c:v>
                </c:pt>
                <c:pt idx="4322">
                  <c:v>4.3220000000000001</c:v>
                </c:pt>
                <c:pt idx="4323">
                  <c:v>4.3230000000000004</c:v>
                </c:pt>
                <c:pt idx="4324">
                  <c:v>4.3239999999999998</c:v>
                </c:pt>
                <c:pt idx="4325">
                  <c:v>4.3250000000000002</c:v>
                </c:pt>
                <c:pt idx="4326">
                  <c:v>4.3259999999999996</c:v>
                </c:pt>
                <c:pt idx="4327">
                  <c:v>4.327</c:v>
                </c:pt>
                <c:pt idx="4328">
                  <c:v>4.3280000000000003</c:v>
                </c:pt>
                <c:pt idx="4329">
                  <c:v>4.3289999999999997</c:v>
                </c:pt>
                <c:pt idx="4330">
                  <c:v>4.33</c:v>
                </c:pt>
                <c:pt idx="4331">
                  <c:v>4.3310000000000004</c:v>
                </c:pt>
                <c:pt idx="4332">
                  <c:v>4.3319999999999999</c:v>
                </c:pt>
                <c:pt idx="4333">
                  <c:v>4.3330000000000002</c:v>
                </c:pt>
                <c:pt idx="4334">
                  <c:v>4.3339999999999996</c:v>
                </c:pt>
                <c:pt idx="4335">
                  <c:v>4.335</c:v>
                </c:pt>
                <c:pt idx="4336">
                  <c:v>4.3360000000000003</c:v>
                </c:pt>
                <c:pt idx="4337">
                  <c:v>4.3369999999999997</c:v>
                </c:pt>
                <c:pt idx="4338">
                  <c:v>4.3380000000000001</c:v>
                </c:pt>
                <c:pt idx="4339">
                  <c:v>4.3390000000000004</c:v>
                </c:pt>
                <c:pt idx="4340">
                  <c:v>4.34</c:v>
                </c:pt>
                <c:pt idx="4341">
                  <c:v>4.3410000000000002</c:v>
                </c:pt>
                <c:pt idx="4342">
                  <c:v>4.3419999999999996</c:v>
                </c:pt>
                <c:pt idx="4343">
                  <c:v>4.343</c:v>
                </c:pt>
                <c:pt idx="4344">
                  <c:v>4.3440000000000003</c:v>
                </c:pt>
                <c:pt idx="4345">
                  <c:v>4.3449999999999998</c:v>
                </c:pt>
                <c:pt idx="4346">
                  <c:v>4.3460000000000001</c:v>
                </c:pt>
                <c:pt idx="4347">
                  <c:v>4.3470000000000004</c:v>
                </c:pt>
                <c:pt idx="4348">
                  <c:v>4.3479999999999999</c:v>
                </c:pt>
                <c:pt idx="4349">
                  <c:v>4.3490000000000002</c:v>
                </c:pt>
                <c:pt idx="4350">
                  <c:v>4.3499999999999996</c:v>
                </c:pt>
                <c:pt idx="4351">
                  <c:v>4.351</c:v>
                </c:pt>
                <c:pt idx="4352">
                  <c:v>4.3520000000000003</c:v>
                </c:pt>
                <c:pt idx="4353">
                  <c:v>4.3529999999999998</c:v>
                </c:pt>
                <c:pt idx="4354">
                  <c:v>4.3540000000000001</c:v>
                </c:pt>
                <c:pt idx="4355">
                  <c:v>4.3550000000000004</c:v>
                </c:pt>
                <c:pt idx="4356">
                  <c:v>4.3559999999999999</c:v>
                </c:pt>
                <c:pt idx="4357">
                  <c:v>4.3570000000000002</c:v>
                </c:pt>
                <c:pt idx="4358">
                  <c:v>4.3579999999999997</c:v>
                </c:pt>
                <c:pt idx="4359">
                  <c:v>4.359</c:v>
                </c:pt>
                <c:pt idx="4360">
                  <c:v>4.3600000000000003</c:v>
                </c:pt>
                <c:pt idx="4361">
                  <c:v>4.3609999999999998</c:v>
                </c:pt>
                <c:pt idx="4362">
                  <c:v>4.3620000000000001</c:v>
                </c:pt>
                <c:pt idx="4363">
                  <c:v>4.3630000000000004</c:v>
                </c:pt>
                <c:pt idx="4364">
                  <c:v>4.3639999999999999</c:v>
                </c:pt>
                <c:pt idx="4365">
                  <c:v>4.3650000000000002</c:v>
                </c:pt>
                <c:pt idx="4366">
                  <c:v>4.3659999999999997</c:v>
                </c:pt>
                <c:pt idx="4367">
                  <c:v>4.367</c:v>
                </c:pt>
                <c:pt idx="4368">
                  <c:v>4.3680000000000003</c:v>
                </c:pt>
                <c:pt idx="4369">
                  <c:v>4.3689999999999998</c:v>
                </c:pt>
                <c:pt idx="4370">
                  <c:v>4.37</c:v>
                </c:pt>
                <c:pt idx="4371">
                  <c:v>4.3710000000000004</c:v>
                </c:pt>
                <c:pt idx="4372">
                  <c:v>4.3719999999999999</c:v>
                </c:pt>
                <c:pt idx="4373">
                  <c:v>4.3730000000000002</c:v>
                </c:pt>
                <c:pt idx="4374">
                  <c:v>4.3739999999999997</c:v>
                </c:pt>
                <c:pt idx="4375">
                  <c:v>4.375</c:v>
                </c:pt>
                <c:pt idx="4376">
                  <c:v>4.3760000000000003</c:v>
                </c:pt>
                <c:pt idx="4377">
                  <c:v>4.3769999999999998</c:v>
                </c:pt>
                <c:pt idx="4378">
                  <c:v>4.3780000000000001</c:v>
                </c:pt>
                <c:pt idx="4379">
                  <c:v>4.3789999999999996</c:v>
                </c:pt>
                <c:pt idx="4380">
                  <c:v>4.38</c:v>
                </c:pt>
                <c:pt idx="4381">
                  <c:v>4.3810000000000002</c:v>
                </c:pt>
                <c:pt idx="4382">
                  <c:v>4.3819999999999997</c:v>
                </c:pt>
                <c:pt idx="4383">
                  <c:v>4.383</c:v>
                </c:pt>
                <c:pt idx="4384">
                  <c:v>4.3840000000000003</c:v>
                </c:pt>
                <c:pt idx="4385">
                  <c:v>4.3849999999999998</c:v>
                </c:pt>
                <c:pt idx="4386">
                  <c:v>4.3860000000000001</c:v>
                </c:pt>
                <c:pt idx="4387">
                  <c:v>4.3869999999999996</c:v>
                </c:pt>
                <c:pt idx="4388">
                  <c:v>4.3879999999999999</c:v>
                </c:pt>
                <c:pt idx="4389">
                  <c:v>4.3890000000000002</c:v>
                </c:pt>
                <c:pt idx="4390">
                  <c:v>4.3899999999999997</c:v>
                </c:pt>
                <c:pt idx="4391">
                  <c:v>4.391</c:v>
                </c:pt>
                <c:pt idx="4392">
                  <c:v>4.3920000000000003</c:v>
                </c:pt>
                <c:pt idx="4393">
                  <c:v>4.3929999999999998</c:v>
                </c:pt>
                <c:pt idx="4394">
                  <c:v>4.3940000000000001</c:v>
                </c:pt>
                <c:pt idx="4395">
                  <c:v>4.3949999999999996</c:v>
                </c:pt>
                <c:pt idx="4396">
                  <c:v>4.3959999999999999</c:v>
                </c:pt>
                <c:pt idx="4397">
                  <c:v>4.3970000000000002</c:v>
                </c:pt>
                <c:pt idx="4398">
                  <c:v>4.3979999999999997</c:v>
                </c:pt>
                <c:pt idx="4399">
                  <c:v>4.399</c:v>
                </c:pt>
                <c:pt idx="4400">
                  <c:v>4.4000000000000004</c:v>
                </c:pt>
                <c:pt idx="4401">
                  <c:v>4.4009999999999998</c:v>
                </c:pt>
                <c:pt idx="4402">
                  <c:v>4.4020000000000001</c:v>
                </c:pt>
                <c:pt idx="4403">
                  <c:v>4.4029999999999996</c:v>
                </c:pt>
                <c:pt idx="4404">
                  <c:v>4.4039999999999999</c:v>
                </c:pt>
                <c:pt idx="4405">
                  <c:v>4.4050000000000002</c:v>
                </c:pt>
                <c:pt idx="4406">
                  <c:v>4.4059999999999997</c:v>
                </c:pt>
                <c:pt idx="4407">
                  <c:v>4.407</c:v>
                </c:pt>
                <c:pt idx="4408">
                  <c:v>4.4080000000000004</c:v>
                </c:pt>
                <c:pt idx="4409">
                  <c:v>4.4089999999999998</c:v>
                </c:pt>
                <c:pt idx="4410">
                  <c:v>4.41</c:v>
                </c:pt>
                <c:pt idx="4411">
                  <c:v>4.4109999999999996</c:v>
                </c:pt>
                <c:pt idx="4412">
                  <c:v>4.4119999999999999</c:v>
                </c:pt>
                <c:pt idx="4413">
                  <c:v>4.4130000000000003</c:v>
                </c:pt>
                <c:pt idx="4414">
                  <c:v>4.4139999999999997</c:v>
                </c:pt>
                <c:pt idx="4415">
                  <c:v>4.415</c:v>
                </c:pt>
                <c:pt idx="4416">
                  <c:v>4.4160000000000004</c:v>
                </c:pt>
                <c:pt idx="4417">
                  <c:v>4.4169999999999998</c:v>
                </c:pt>
                <c:pt idx="4418">
                  <c:v>4.4180000000000001</c:v>
                </c:pt>
                <c:pt idx="4419">
                  <c:v>4.4189999999999996</c:v>
                </c:pt>
                <c:pt idx="4420">
                  <c:v>4.42</c:v>
                </c:pt>
                <c:pt idx="4421">
                  <c:v>4.4210000000000003</c:v>
                </c:pt>
                <c:pt idx="4422">
                  <c:v>4.4219999999999997</c:v>
                </c:pt>
                <c:pt idx="4423">
                  <c:v>4.423</c:v>
                </c:pt>
                <c:pt idx="4424">
                  <c:v>4.4240000000000004</c:v>
                </c:pt>
                <c:pt idx="4425">
                  <c:v>4.4249999999999998</c:v>
                </c:pt>
                <c:pt idx="4426">
                  <c:v>4.4260000000000002</c:v>
                </c:pt>
                <c:pt idx="4427">
                  <c:v>4.4269999999999996</c:v>
                </c:pt>
                <c:pt idx="4428">
                  <c:v>4.4279999999999999</c:v>
                </c:pt>
                <c:pt idx="4429">
                  <c:v>4.4290000000000003</c:v>
                </c:pt>
                <c:pt idx="4430">
                  <c:v>4.43</c:v>
                </c:pt>
                <c:pt idx="4431">
                  <c:v>4.431</c:v>
                </c:pt>
                <c:pt idx="4432">
                  <c:v>4.4320000000000004</c:v>
                </c:pt>
                <c:pt idx="4433">
                  <c:v>4.4329999999999998</c:v>
                </c:pt>
                <c:pt idx="4434">
                  <c:v>4.4340000000000002</c:v>
                </c:pt>
                <c:pt idx="4435">
                  <c:v>4.4349999999999996</c:v>
                </c:pt>
                <c:pt idx="4436">
                  <c:v>4.4359999999999999</c:v>
                </c:pt>
                <c:pt idx="4437">
                  <c:v>4.4370000000000003</c:v>
                </c:pt>
                <c:pt idx="4438">
                  <c:v>4.4379999999999997</c:v>
                </c:pt>
                <c:pt idx="4439">
                  <c:v>4.4390000000000001</c:v>
                </c:pt>
                <c:pt idx="4440">
                  <c:v>4.4400000000000004</c:v>
                </c:pt>
                <c:pt idx="4441">
                  <c:v>4.4409999999999998</c:v>
                </c:pt>
                <c:pt idx="4442">
                  <c:v>4.4420000000000002</c:v>
                </c:pt>
                <c:pt idx="4443">
                  <c:v>4.4429999999999996</c:v>
                </c:pt>
                <c:pt idx="4444">
                  <c:v>4.444</c:v>
                </c:pt>
                <c:pt idx="4445">
                  <c:v>4.4450000000000003</c:v>
                </c:pt>
                <c:pt idx="4446">
                  <c:v>4.4459999999999997</c:v>
                </c:pt>
                <c:pt idx="4447">
                  <c:v>4.4470000000000001</c:v>
                </c:pt>
                <c:pt idx="4448">
                  <c:v>4.4480000000000004</c:v>
                </c:pt>
                <c:pt idx="4449">
                  <c:v>4.4489999999999998</c:v>
                </c:pt>
                <c:pt idx="4450">
                  <c:v>4.45</c:v>
                </c:pt>
                <c:pt idx="4451">
                  <c:v>4.4509999999999996</c:v>
                </c:pt>
                <c:pt idx="4452">
                  <c:v>4.452</c:v>
                </c:pt>
                <c:pt idx="4453">
                  <c:v>4.4530000000000003</c:v>
                </c:pt>
                <c:pt idx="4454">
                  <c:v>4.4539999999999997</c:v>
                </c:pt>
                <c:pt idx="4455">
                  <c:v>4.4550000000000001</c:v>
                </c:pt>
                <c:pt idx="4456">
                  <c:v>4.4560000000000004</c:v>
                </c:pt>
                <c:pt idx="4457">
                  <c:v>4.4569999999999999</c:v>
                </c:pt>
                <c:pt idx="4458">
                  <c:v>4.4580000000000002</c:v>
                </c:pt>
                <c:pt idx="4459">
                  <c:v>4.4589999999999996</c:v>
                </c:pt>
                <c:pt idx="4460">
                  <c:v>4.46</c:v>
                </c:pt>
                <c:pt idx="4461">
                  <c:v>4.4610000000000003</c:v>
                </c:pt>
                <c:pt idx="4462">
                  <c:v>4.4619999999999997</c:v>
                </c:pt>
                <c:pt idx="4463">
                  <c:v>4.4630000000000001</c:v>
                </c:pt>
                <c:pt idx="4464">
                  <c:v>4.4640000000000004</c:v>
                </c:pt>
                <c:pt idx="4465">
                  <c:v>4.4649999999999999</c:v>
                </c:pt>
                <c:pt idx="4466">
                  <c:v>4.4660000000000002</c:v>
                </c:pt>
                <c:pt idx="4467">
                  <c:v>4.4669999999999996</c:v>
                </c:pt>
                <c:pt idx="4468">
                  <c:v>4.468</c:v>
                </c:pt>
                <c:pt idx="4469">
                  <c:v>4.4690000000000003</c:v>
                </c:pt>
                <c:pt idx="4470">
                  <c:v>4.47</c:v>
                </c:pt>
                <c:pt idx="4471">
                  <c:v>4.4710000000000001</c:v>
                </c:pt>
                <c:pt idx="4472">
                  <c:v>4.4720000000000004</c:v>
                </c:pt>
                <c:pt idx="4473">
                  <c:v>4.4729999999999999</c:v>
                </c:pt>
                <c:pt idx="4474">
                  <c:v>4.4740000000000002</c:v>
                </c:pt>
                <c:pt idx="4475">
                  <c:v>4.4749999999999996</c:v>
                </c:pt>
                <c:pt idx="4476">
                  <c:v>4.476</c:v>
                </c:pt>
                <c:pt idx="4477">
                  <c:v>4.4770000000000003</c:v>
                </c:pt>
                <c:pt idx="4478">
                  <c:v>4.4779999999999998</c:v>
                </c:pt>
                <c:pt idx="4479">
                  <c:v>4.4790000000000001</c:v>
                </c:pt>
                <c:pt idx="4480">
                  <c:v>4.4800000000000004</c:v>
                </c:pt>
                <c:pt idx="4481">
                  <c:v>4.4809999999999999</c:v>
                </c:pt>
                <c:pt idx="4482">
                  <c:v>4.4820000000000002</c:v>
                </c:pt>
                <c:pt idx="4483">
                  <c:v>4.4829999999999997</c:v>
                </c:pt>
                <c:pt idx="4484">
                  <c:v>4.484</c:v>
                </c:pt>
                <c:pt idx="4485">
                  <c:v>4.4850000000000003</c:v>
                </c:pt>
                <c:pt idx="4486">
                  <c:v>4.4859999999999998</c:v>
                </c:pt>
                <c:pt idx="4487">
                  <c:v>4.4870000000000001</c:v>
                </c:pt>
                <c:pt idx="4488">
                  <c:v>4.4880000000000004</c:v>
                </c:pt>
                <c:pt idx="4489">
                  <c:v>4.4889999999999999</c:v>
                </c:pt>
                <c:pt idx="4490">
                  <c:v>4.49</c:v>
                </c:pt>
                <c:pt idx="4491">
                  <c:v>4.4909999999999997</c:v>
                </c:pt>
                <c:pt idx="4492">
                  <c:v>4.492</c:v>
                </c:pt>
                <c:pt idx="4493">
                  <c:v>4.4930000000000003</c:v>
                </c:pt>
                <c:pt idx="4494">
                  <c:v>4.4939999999999998</c:v>
                </c:pt>
                <c:pt idx="4495">
                  <c:v>4.4950000000000001</c:v>
                </c:pt>
                <c:pt idx="4496">
                  <c:v>4.4960000000000004</c:v>
                </c:pt>
                <c:pt idx="4497">
                  <c:v>4.4969999999999999</c:v>
                </c:pt>
                <c:pt idx="4498">
                  <c:v>4.4980000000000002</c:v>
                </c:pt>
                <c:pt idx="4499">
                  <c:v>4.4989999999999997</c:v>
                </c:pt>
                <c:pt idx="4500">
                  <c:v>4.5</c:v>
                </c:pt>
                <c:pt idx="4501">
                  <c:v>4.5010000000000003</c:v>
                </c:pt>
                <c:pt idx="4502">
                  <c:v>4.5019999999999998</c:v>
                </c:pt>
                <c:pt idx="4503">
                  <c:v>4.5030000000000001</c:v>
                </c:pt>
                <c:pt idx="4504">
                  <c:v>4.5039999999999996</c:v>
                </c:pt>
                <c:pt idx="4505">
                  <c:v>4.5049999999999999</c:v>
                </c:pt>
                <c:pt idx="4506">
                  <c:v>4.5060000000000002</c:v>
                </c:pt>
                <c:pt idx="4507">
                  <c:v>4.5069999999999997</c:v>
                </c:pt>
                <c:pt idx="4508">
                  <c:v>4.508</c:v>
                </c:pt>
                <c:pt idx="4509">
                  <c:v>4.5090000000000003</c:v>
                </c:pt>
                <c:pt idx="4510">
                  <c:v>4.51</c:v>
                </c:pt>
                <c:pt idx="4511">
                  <c:v>4.5110000000000001</c:v>
                </c:pt>
                <c:pt idx="4512">
                  <c:v>4.5119999999999996</c:v>
                </c:pt>
                <c:pt idx="4513">
                  <c:v>4.5129999999999999</c:v>
                </c:pt>
                <c:pt idx="4514">
                  <c:v>4.5140000000000002</c:v>
                </c:pt>
                <c:pt idx="4515">
                  <c:v>4.5149999999999997</c:v>
                </c:pt>
                <c:pt idx="4516">
                  <c:v>4.516</c:v>
                </c:pt>
                <c:pt idx="4517">
                  <c:v>4.5170000000000003</c:v>
                </c:pt>
                <c:pt idx="4518">
                  <c:v>4.5179999999999998</c:v>
                </c:pt>
                <c:pt idx="4519">
                  <c:v>4.5190000000000001</c:v>
                </c:pt>
                <c:pt idx="4520">
                  <c:v>4.5199999999999996</c:v>
                </c:pt>
                <c:pt idx="4521">
                  <c:v>4.5209999999999999</c:v>
                </c:pt>
                <c:pt idx="4522">
                  <c:v>4.5220000000000002</c:v>
                </c:pt>
                <c:pt idx="4523">
                  <c:v>4.5229999999999997</c:v>
                </c:pt>
                <c:pt idx="4524">
                  <c:v>4.524</c:v>
                </c:pt>
                <c:pt idx="4525">
                  <c:v>4.5250000000000004</c:v>
                </c:pt>
                <c:pt idx="4526">
                  <c:v>4.5259999999999998</c:v>
                </c:pt>
                <c:pt idx="4527">
                  <c:v>4.5270000000000001</c:v>
                </c:pt>
                <c:pt idx="4528">
                  <c:v>4.5279999999999996</c:v>
                </c:pt>
                <c:pt idx="4529">
                  <c:v>4.5289999999999999</c:v>
                </c:pt>
                <c:pt idx="4530">
                  <c:v>4.53</c:v>
                </c:pt>
                <c:pt idx="4531">
                  <c:v>4.5309999999999997</c:v>
                </c:pt>
                <c:pt idx="4532">
                  <c:v>4.532</c:v>
                </c:pt>
                <c:pt idx="4533">
                  <c:v>4.5330000000000004</c:v>
                </c:pt>
                <c:pt idx="4534">
                  <c:v>4.5339999999999998</c:v>
                </c:pt>
                <c:pt idx="4535">
                  <c:v>4.5350000000000001</c:v>
                </c:pt>
                <c:pt idx="4536">
                  <c:v>4.5359999999999996</c:v>
                </c:pt>
                <c:pt idx="4537">
                  <c:v>4.5369999999999999</c:v>
                </c:pt>
                <c:pt idx="4538">
                  <c:v>4.5380000000000003</c:v>
                </c:pt>
                <c:pt idx="4539">
                  <c:v>4.5389999999999997</c:v>
                </c:pt>
                <c:pt idx="4540">
                  <c:v>4.54</c:v>
                </c:pt>
                <c:pt idx="4541">
                  <c:v>4.5410000000000004</c:v>
                </c:pt>
                <c:pt idx="4542">
                  <c:v>4.5419999999999998</c:v>
                </c:pt>
                <c:pt idx="4543">
                  <c:v>4.5430000000000001</c:v>
                </c:pt>
                <c:pt idx="4544">
                  <c:v>4.5439999999999996</c:v>
                </c:pt>
                <c:pt idx="4545">
                  <c:v>4.5449999999999999</c:v>
                </c:pt>
                <c:pt idx="4546">
                  <c:v>4.5460000000000003</c:v>
                </c:pt>
                <c:pt idx="4547">
                  <c:v>4.5469999999999997</c:v>
                </c:pt>
                <c:pt idx="4548">
                  <c:v>4.548</c:v>
                </c:pt>
                <c:pt idx="4549">
                  <c:v>4.5490000000000004</c:v>
                </c:pt>
                <c:pt idx="4550">
                  <c:v>4.55</c:v>
                </c:pt>
                <c:pt idx="4551">
                  <c:v>4.5510000000000002</c:v>
                </c:pt>
                <c:pt idx="4552">
                  <c:v>4.5519999999999996</c:v>
                </c:pt>
                <c:pt idx="4553">
                  <c:v>4.5529999999999999</c:v>
                </c:pt>
                <c:pt idx="4554">
                  <c:v>4.5540000000000003</c:v>
                </c:pt>
                <c:pt idx="4555">
                  <c:v>4.5549999999999997</c:v>
                </c:pt>
                <c:pt idx="4556">
                  <c:v>4.556</c:v>
                </c:pt>
                <c:pt idx="4557">
                  <c:v>4.5570000000000004</c:v>
                </c:pt>
                <c:pt idx="4558">
                  <c:v>4.5579999999999998</c:v>
                </c:pt>
                <c:pt idx="4559">
                  <c:v>4.5590000000000002</c:v>
                </c:pt>
                <c:pt idx="4560">
                  <c:v>4.5599999999999996</c:v>
                </c:pt>
                <c:pt idx="4561">
                  <c:v>4.5609999999999999</c:v>
                </c:pt>
                <c:pt idx="4562">
                  <c:v>4.5620000000000003</c:v>
                </c:pt>
                <c:pt idx="4563">
                  <c:v>4.5629999999999997</c:v>
                </c:pt>
                <c:pt idx="4564">
                  <c:v>4.5640000000000001</c:v>
                </c:pt>
                <c:pt idx="4565">
                  <c:v>4.5650000000000004</c:v>
                </c:pt>
                <c:pt idx="4566">
                  <c:v>4.5659999999999998</c:v>
                </c:pt>
                <c:pt idx="4567">
                  <c:v>4.5670000000000002</c:v>
                </c:pt>
                <c:pt idx="4568">
                  <c:v>4.5679999999999996</c:v>
                </c:pt>
                <c:pt idx="4569">
                  <c:v>4.569</c:v>
                </c:pt>
                <c:pt idx="4570">
                  <c:v>4.57</c:v>
                </c:pt>
                <c:pt idx="4571">
                  <c:v>4.5709999999999997</c:v>
                </c:pt>
                <c:pt idx="4572">
                  <c:v>4.5720000000000001</c:v>
                </c:pt>
                <c:pt idx="4573">
                  <c:v>4.5730000000000004</c:v>
                </c:pt>
                <c:pt idx="4574">
                  <c:v>4.5739999999999998</c:v>
                </c:pt>
                <c:pt idx="4575">
                  <c:v>4.5750000000000002</c:v>
                </c:pt>
                <c:pt idx="4576">
                  <c:v>4.5759999999999996</c:v>
                </c:pt>
                <c:pt idx="4577">
                  <c:v>4.577</c:v>
                </c:pt>
                <c:pt idx="4578">
                  <c:v>4.5780000000000003</c:v>
                </c:pt>
                <c:pt idx="4579">
                  <c:v>4.5789999999999997</c:v>
                </c:pt>
                <c:pt idx="4580">
                  <c:v>4.58</c:v>
                </c:pt>
                <c:pt idx="4581">
                  <c:v>4.5810000000000004</c:v>
                </c:pt>
                <c:pt idx="4582">
                  <c:v>4.5819999999999999</c:v>
                </c:pt>
                <c:pt idx="4583">
                  <c:v>4.5830000000000002</c:v>
                </c:pt>
                <c:pt idx="4584">
                  <c:v>4.5839999999999996</c:v>
                </c:pt>
                <c:pt idx="4585">
                  <c:v>4.585</c:v>
                </c:pt>
                <c:pt idx="4586">
                  <c:v>4.5860000000000003</c:v>
                </c:pt>
                <c:pt idx="4587">
                  <c:v>4.5869999999999997</c:v>
                </c:pt>
                <c:pt idx="4588">
                  <c:v>4.5880000000000001</c:v>
                </c:pt>
                <c:pt idx="4589">
                  <c:v>4.5890000000000004</c:v>
                </c:pt>
                <c:pt idx="4590">
                  <c:v>4.59</c:v>
                </c:pt>
                <c:pt idx="4591">
                  <c:v>4.5910000000000002</c:v>
                </c:pt>
                <c:pt idx="4592">
                  <c:v>4.5919999999999996</c:v>
                </c:pt>
                <c:pt idx="4593">
                  <c:v>4.593</c:v>
                </c:pt>
                <c:pt idx="4594">
                  <c:v>4.5940000000000003</c:v>
                </c:pt>
                <c:pt idx="4595">
                  <c:v>4.5949999999999998</c:v>
                </c:pt>
                <c:pt idx="4596">
                  <c:v>4.5960000000000001</c:v>
                </c:pt>
                <c:pt idx="4597">
                  <c:v>4.5970000000000004</c:v>
                </c:pt>
                <c:pt idx="4598">
                  <c:v>4.5979999999999999</c:v>
                </c:pt>
                <c:pt idx="4599">
                  <c:v>4.5990000000000002</c:v>
                </c:pt>
                <c:pt idx="4600">
                  <c:v>4.5999999999999996</c:v>
                </c:pt>
                <c:pt idx="4601">
                  <c:v>4.601</c:v>
                </c:pt>
                <c:pt idx="4602">
                  <c:v>4.6020000000000003</c:v>
                </c:pt>
                <c:pt idx="4603">
                  <c:v>4.6029999999999998</c:v>
                </c:pt>
                <c:pt idx="4604">
                  <c:v>4.6040000000000001</c:v>
                </c:pt>
                <c:pt idx="4605">
                  <c:v>4.6050000000000004</c:v>
                </c:pt>
                <c:pt idx="4606">
                  <c:v>4.6059999999999999</c:v>
                </c:pt>
                <c:pt idx="4607">
                  <c:v>4.6070000000000002</c:v>
                </c:pt>
                <c:pt idx="4608">
                  <c:v>4.6079999999999997</c:v>
                </c:pt>
                <c:pt idx="4609">
                  <c:v>4.609</c:v>
                </c:pt>
                <c:pt idx="4610">
                  <c:v>4.6100000000000003</c:v>
                </c:pt>
                <c:pt idx="4611">
                  <c:v>4.6109999999999998</c:v>
                </c:pt>
                <c:pt idx="4612">
                  <c:v>4.6120000000000001</c:v>
                </c:pt>
                <c:pt idx="4613">
                  <c:v>4.6130000000000004</c:v>
                </c:pt>
                <c:pt idx="4614">
                  <c:v>4.6139999999999999</c:v>
                </c:pt>
                <c:pt idx="4615">
                  <c:v>4.6150000000000002</c:v>
                </c:pt>
                <c:pt idx="4616">
                  <c:v>4.6159999999999997</c:v>
                </c:pt>
                <c:pt idx="4617">
                  <c:v>4.617</c:v>
                </c:pt>
                <c:pt idx="4618">
                  <c:v>4.6180000000000003</c:v>
                </c:pt>
                <c:pt idx="4619">
                  <c:v>4.6189999999999998</c:v>
                </c:pt>
                <c:pt idx="4620">
                  <c:v>4.62</c:v>
                </c:pt>
                <c:pt idx="4621">
                  <c:v>4.6210000000000004</c:v>
                </c:pt>
                <c:pt idx="4622">
                  <c:v>4.6219999999999999</c:v>
                </c:pt>
                <c:pt idx="4623">
                  <c:v>4.6230000000000002</c:v>
                </c:pt>
                <c:pt idx="4624">
                  <c:v>4.6239999999999997</c:v>
                </c:pt>
                <c:pt idx="4625">
                  <c:v>4.625</c:v>
                </c:pt>
                <c:pt idx="4626">
                  <c:v>4.6260000000000003</c:v>
                </c:pt>
                <c:pt idx="4627">
                  <c:v>4.6269999999999998</c:v>
                </c:pt>
                <c:pt idx="4628">
                  <c:v>4.6280000000000001</c:v>
                </c:pt>
                <c:pt idx="4629">
                  <c:v>4.6289999999999996</c:v>
                </c:pt>
                <c:pt idx="4630">
                  <c:v>4.63</c:v>
                </c:pt>
                <c:pt idx="4631">
                  <c:v>4.6310000000000002</c:v>
                </c:pt>
                <c:pt idx="4632">
                  <c:v>4.6319999999999997</c:v>
                </c:pt>
                <c:pt idx="4633">
                  <c:v>4.633</c:v>
                </c:pt>
                <c:pt idx="4634">
                  <c:v>4.6340000000000003</c:v>
                </c:pt>
                <c:pt idx="4635">
                  <c:v>4.6349999999999998</c:v>
                </c:pt>
                <c:pt idx="4636">
                  <c:v>4.6360000000000001</c:v>
                </c:pt>
                <c:pt idx="4637">
                  <c:v>4.6369999999999996</c:v>
                </c:pt>
                <c:pt idx="4638">
                  <c:v>4.6379999999999999</c:v>
                </c:pt>
                <c:pt idx="4639">
                  <c:v>4.6390000000000002</c:v>
                </c:pt>
                <c:pt idx="4640">
                  <c:v>4.6399999999999997</c:v>
                </c:pt>
                <c:pt idx="4641">
                  <c:v>4.641</c:v>
                </c:pt>
                <c:pt idx="4642">
                  <c:v>4.6420000000000003</c:v>
                </c:pt>
                <c:pt idx="4643">
                  <c:v>4.6429999999999998</c:v>
                </c:pt>
                <c:pt idx="4644">
                  <c:v>4.6440000000000001</c:v>
                </c:pt>
                <c:pt idx="4645">
                  <c:v>4.6449999999999996</c:v>
                </c:pt>
                <c:pt idx="4646">
                  <c:v>4.6459999999999999</c:v>
                </c:pt>
                <c:pt idx="4647">
                  <c:v>4.6470000000000002</c:v>
                </c:pt>
                <c:pt idx="4648">
                  <c:v>4.6479999999999997</c:v>
                </c:pt>
                <c:pt idx="4649">
                  <c:v>4.649</c:v>
                </c:pt>
                <c:pt idx="4650">
                  <c:v>4.6500000000000004</c:v>
                </c:pt>
                <c:pt idx="4651">
                  <c:v>4.6509999999999998</c:v>
                </c:pt>
                <c:pt idx="4652">
                  <c:v>4.6520000000000001</c:v>
                </c:pt>
                <c:pt idx="4653">
                  <c:v>4.6529999999999996</c:v>
                </c:pt>
                <c:pt idx="4654">
                  <c:v>4.6539999999999999</c:v>
                </c:pt>
                <c:pt idx="4655">
                  <c:v>4.6550000000000002</c:v>
                </c:pt>
                <c:pt idx="4656">
                  <c:v>4.6559999999999997</c:v>
                </c:pt>
                <c:pt idx="4657">
                  <c:v>4.657</c:v>
                </c:pt>
                <c:pt idx="4658">
                  <c:v>4.6580000000000004</c:v>
                </c:pt>
                <c:pt idx="4659">
                  <c:v>4.6589999999999998</c:v>
                </c:pt>
                <c:pt idx="4660">
                  <c:v>4.66</c:v>
                </c:pt>
                <c:pt idx="4661">
                  <c:v>4.6609999999999996</c:v>
                </c:pt>
                <c:pt idx="4662">
                  <c:v>4.6619999999999999</c:v>
                </c:pt>
                <c:pt idx="4663">
                  <c:v>4.6630000000000003</c:v>
                </c:pt>
                <c:pt idx="4664">
                  <c:v>4.6639999999999997</c:v>
                </c:pt>
                <c:pt idx="4665">
                  <c:v>4.665</c:v>
                </c:pt>
                <c:pt idx="4666">
                  <c:v>4.6660000000000004</c:v>
                </c:pt>
                <c:pt idx="4667">
                  <c:v>4.6669999999999998</c:v>
                </c:pt>
                <c:pt idx="4668">
                  <c:v>4.6680000000000001</c:v>
                </c:pt>
                <c:pt idx="4669">
                  <c:v>4.6689999999999996</c:v>
                </c:pt>
                <c:pt idx="4670">
                  <c:v>4.67</c:v>
                </c:pt>
                <c:pt idx="4671">
                  <c:v>4.6710000000000003</c:v>
                </c:pt>
                <c:pt idx="4672">
                  <c:v>4.6719999999999997</c:v>
                </c:pt>
                <c:pt idx="4673">
                  <c:v>4.673</c:v>
                </c:pt>
                <c:pt idx="4674">
                  <c:v>4.6740000000000004</c:v>
                </c:pt>
                <c:pt idx="4675">
                  <c:v>4.6749999999999998</c:v>
                </c:pt>
                <c:pt idx="4676">
                  <c:v>4.6760000000000002</c:v>
                </c:pt>
                <c:pt idx="4677">
                  <c:v>4.6769999999999996</c:v>
                </c:pt>
                <c:pt idx="4678">
                  <c:v>4.6779999999999999</c:v>
                </c:pt>
                <c:pt idx="4679">
                  <c:v>4.6790000000000003</c:v>
                </c:pt>
                <c:pt idx="4680">
                  <c:v>4.68</c:v>
                </c:pt>
                <c:pt idx="4681">
                  <c:v>4.681</c:v>
                </c:pt>
                <c:pt idx="4682">
                  <c:v>4.6820000000000004</c:v>
                </c:pt>
                <c:pt idx="4683">
                  <c:v>4.6829999999999998</c:v>
                </c:pt>
                <c:pt idx="4684">
                  <c:v>4.6840000000000002</c:v>
                </c:pt>
                <c:pt idx="4685">
                  <c:v>4.6849999999999996</c:v>
                </c:pt>
                <c:pt idx="4686">
                  <c:v>4.6859999999999999</c:v>
                </c:pt>
                <c:pt idx="4687">
                  <c:v>4.6870000000000003</c:v>
                </c:pt>
                <c:pt idx="4688">
                  <c:v>4.6879999999999997</c:v>
                </c:pt>
                <c:pt idx="4689">
                  <c:v>4.6890000000000001</c:v>
                </c:pt>
                <c:pt idx="4690">
                  <c:v>4.6900000000000004</c:v>
                </c:pt>
                <c:pt idx="4691">
                  <c:v>4.6909999999999998</c:v>
                </c:pt>
                <c:pt idx="4692">
                  <c:v>4.6920000000000002</c:v>
                </c:pt>
                <c:pt idx="4693">
                  <c:v>4.6929999999999996</c:v>
                </c:pt>
                <c:pt idx="4694">
                  <c:v>4.694</c:v>
                </c:pt>
                <c:pt idx="4695">
                  <c:v>4.6950000000000003</c:v>
                </c:pt>
                <c:pt idx="4696">
                  <c:v>4.6959999999999997</c:v>
                </c:pt>
                <c:pt idx="4697">
                  <c:v>4.6970000000000001</c:v>
                </c:pt>
                <c:pt idx="4698">
                  <c:v>4.6980000000000004</c:v>
                </c:pt>
                <c:pt idx="4699">
                  <c:v>4.6989999999999998</c:v>
                </c:pt>
                <c:pt idx="4700">
                  <c:v>4.7</c:v>
                </c:pt>
                <c:pt idx="4701">
                  <c:v>4.7009999999999996</c:v>
                </c:pt>
                <c:pt idx="4702">
                  <c:v>4.702</c:v>
                </c:pt>
                <c:pt idx="4703">
                  <c:v>4.7030000000000003</c:v>
                </c:pt>
                <c:pt idx="4704">
                  <c:v>4.7039999999999997</c:v>
                </c:pt>
                <c:pt idx="4705">
                  <c:v>4.7050000000000001</c:v>
                </c:pt>
                <c:pt idx="4706">
                  <c:v>4.7060000000000004</c:v>
                </c:pt>
                <c:pt idx="4707">
                  <c:v>4.7069999999999999</c:v>
                </c:pt>
                <c:pt idx="4708">
                  <c:v>4.7080000000000002</c:v>
                </c:pt>
                <c:pt idx="4709">
                  <c:v>4.7089999999999996</c:v>
                </c:pt>
                <c:pt idx="4710">
                  <c:v>4.71</c:v>
                </c:pt>
                <c:pt idx="4711">
                  <c:v>4.7110000000000003</c:v>
                </c:pt>
                <c:pt idx="4712">
                  <c:v>4.7119999999999997</c:v>
                </c:pt>
                <c:pt idx="4713">
                  <c:v>4.7130000000000001</c:v>
                </c:pt>
                <c:pt idx="4714">
                  <c:v>4.7140000000000004</c:v>
                </c:pt>
                <c:pt idx="4715">
                  <c:v>4.7149999999999999</c:v>
                </c:pt>
                <c:pt idx="4716">
                  <c:v>4.7160000000000002</c:v>
                </c:pt>
                <c:pt idx="4717">
                  <c:v>4.7169999999999996</c:v>
                </c:pt>
                <c:pt idx="4718">
                  <c:v>4.718</c:v>
                </c:pt>
                <c:pt idx="4719">
                  <c:v>4.7190000000000003</c:v>
                </c:pt>
                <c:pt idx="4720">
                  <c:v>4.72</c:v>
                </c:pt>
                <c:pt idx="4721">
                  <c:v>4.7210000000000001</c:v>
                </c:pt>
                <c:pt idx="4722">
                  <c:v>4.7220000000000004</c:v>
                </c:pt>
                <c:pt idx="4723">
                  <c:v>4.7229999999999999</c:v>
                </c:pt>
                <c:pt idx="4724">
                  <c:v>4.7240000000000002</c:v>
                </c:pt>
                <c:pt idx="4725">
                  <c:v>4.7249999999999996</c:v>
                </c:pt>
                <c:pt idx="4726">
                  <c:v>4.726</c:v>
                </c:pt>
                <c:pt idx="4727">
                  <c:v>4.7270000000000003</c:v>
                </c:pt>
                <c:pt idx="4728">
                  <c:v>4.7279999999999998</c:v>
                </c:pt>
                <c:pt idx="4729">
                  <c:v>4.7290000000000001</c:v>
                </c:pt>
                <c:pt idx="4730">
                  <c:v>4.7300000000000004</c:v>
                </c:pt>
                <c:pt idx="4731">
                  <c:v>4.7309999999999999</c:v>
                </c:pt>
                <c:pt idx="4732">
                  <c:v>4.7320000000000002</c:v>
                </c:pt>
                <c:pt idx="4733">
                  <c:v>4.7329999999999997</c:v>
                </c:pt>
                <c:pt idx="4734">
                  <c:v>4.734</c:v>
                </c:pt>
                <c:pt idx="4735">
                  <c:v>4.7350000000000003</c:v>
                </c:pt>
                <c:pt idx="4736">
                  <c:v>4.7359999999999998</c:v>
                </c:pt>
                <c:pt idx="4737">
                  <c:v>4.7370000000000001</c:v>
                </c:pt>
                <c:pt idx="4738">
                  <c:v>4.7380000000000004</c:v>
                </c:pt>
                <c:pt idx="4739">
                  <c:v>4.7389999999999999</c:v>
                </c:pt>
                <c:pt idx="4740">
                  <c:v>4.74</c:v>
                </c:pt>
                <c:pt idx="4741">
                  <c:v>4.7409999999999997</c:v>
                </c:pt>
                <c:pt idx="4742">
                  <c:v>4.742</c:v>
                </c:pt>
                <c:pt idx="4743">
                  <c:v>4.7430000000000003</c:v>
                </c:pt>
                <c:pt idx="4744">
                  <c:v>4.7439999999999998</c:v>
                </c:pt>
                <c:pt idx="4745">
                  <c:v>4.7450000000000001</c:v>
                </c:pt>
                <c:pt idx="4746">
                  <c:v>4.7460000000000004</c:v>
                </c:pt>
                <c:pt idx="4747">
                  <c:v>4.7469999999999999</c:v>
                </c:pt>
                <c:pt idx="4748">
                  <c:v>4.7480000000000002</c:v>
                </c:pt>
                <c:pt idx="4749">
                  <c:v>4.7489999999999997</c:v>
                </c:pt>
                <c:pt idx="4750">
                  <c:v>4.75</c:v>
                </c:pt>
                <c:pt idx="4751">
                  <c:v>4.7510000000000003</c:v>
                </c:pt>
                <c:pt idx="4752">
                  <c:v>4.7519999999999998</c:v>
                </c:pt>
                <c:pt idx="4753">
                  <c:v>4.7530000000000001</c:v>
                </c:pt>
                <c:pt idx="4754">
                  <c:v>4.7539999999999996</c:v>
                </c:pt>
                <c:pt idx="4755">
                  <c:v>4.7549999999999999</c:v>
                </c:pt>
                <c:pt idx="4756">
                  <c:v>4.7560000000000002</c:v>
                </c:pt>
                <c:pt idx="4757">
                  <c:v>4.7569999999999997</c:v>
                </c:pt>
                <c:pt idx="4758">
                  <c:v>4.758</c:v>
                </c:pt>
                <c:pt idx="4759">
                  <c:v>4.7590000000000003</c:v>
                </c:pt>
                <c:pt idx="4760">
                  <c:v>4.76</c:v>
                </c:pt>
                <c:pt idx="4761">
                  <c:v>4.7610000000000001</c:v>
                </c:pt>
                <c:pt idx="4762">
                  <c:v>4.7619999999999996</c:v>
                </c:pt>
                <c:pt idx="4763">
                  <c:v>4.7629999999999999</c:v>
                </c:pt>
                <c:pt idx="4764">
                  <c:v>4.7640000000000002</c:v>
                </c:pt>
                <c:pt idx="4765">
                  <c:v>4.7649999999999997</c:v>
                </c:pt>
                <c:pt idx="4766">
                  <c:v>4.766</c:v>
                </c:pt>
                <c:pt idx="4767">
                  <c:v>4.7670000000000003</c:v>
                </c:pt>
                <c:pt idx="4768">
                  <c:v>4.7679999999999998</c:v>
                </c:pt>
                <c:pt idx="4769">
                  <c:v>4.7690000000000001</c:v>
                </c:pt>
                <c:pt idx="4770">
                  <c:v>4.7699999999999996</c:v>
                </c:pt>
                <c:pt idx="4771">
                  <c:v>4.7709999999999999</c:v>
                </c:pt>
                <c:pt idx="4772">
                  <c:v>4.7720000000000002</c:v>
                </c:pt>
                <c:pt idx="4773">
                  <c:v>4.7729999999999997</c:v>
                </c:pt>
                <c:pt idx="4774">
                  <c:v>4.774</c:v>
                </c:pt>
                <c:pt idx="4775">
                  <c:v>4.7750000000000004</c:v>
                </c:pt>
                <c:pt idx="4776">
                  <c:v>4.7759999999999998</c:v>
                </c:pt>
                <c:pt idx="4777">
                  <c:v>4.7770000000000001</c:v>
                </c:pt>
                <c:pt idx="4778">
                  <c:v>4.7779999999999996</c:v>
                </c:pt>
                <c:pt idx="4779">
                  <c:v>4.7789999999999999</c:v>
                </c:pt>
                <c:pt idx="4780">
                  <c:v>4.78</c:v>
                </c:pt>
                <c:pt idx="4781">
                  <c:v>4.7809999999999997</c:v>
                </c:pt>
                <c:pt idx="4782">
                  <c:v>4.782</c:v>
                </c:pt>
                <c:pt idx="4783">
                  <c:v>4.7830000000000004</c:v>
                </c:pt>
                <c:pt idx="4784">
                  <c:v>4.7839999999999998</c:v>
                </c:pt>
                <c:pt idx="4785">
                  <c:v>4.7850000000000001</c:v>
                </c:pt>
                <c:pt idx="4786">
                  <c:v>4.7859999999999996</c:v>
                </c:pt>
                <c:pt idx="4787">
                  <c:v>4.7869999999999999</c:v>
                </c:pt>
                <c:pt idx="4788">
                  <c:v>4.7880000000000003</c:v>
                </c:pt>
                <c:pt idx="4789">
                  <c:v>4.7889999999999997</c:v>
                </c:pt>
                <c:pt idx="4790">
                  <c:v>4.79</c:v>
                </c:pt>
                <c:pt idx="4791">
                  <c:v>4.7910000000000004</c:v>
                </c:pt>
                <c:pt idx="4792">
                  <c:v>4.7919999999999998</c:v>
                </c:pt>
                <c:pt idx="4793">
                  <c:v>4.7930000000000001</c:v>
                </c:pt>
                <c:pt idx="4794">
                  <c:v>4.7939999999999996</c:v>
                </c:pt>
                <c:pt idx="4795">
                  <c:v>4.7949999999999999</c:v>
                </c:pt>
                <c:pt idx="4796">
                  <c:v>4.7960000000000003</c:v>
                </c:pt>
                <c:pt idx="4797">
                  <c:v>4.7969999999999997</c:v>
                </c:pt>
                <c:pt idx="4798">
                  <c:v>4.798</c:v>
                </c:pt>
                <c:pt idx="4799">
                  <c:v>4.7990000000000004</c:v>
                </c:pt>
                <c:pt idx="4800">
                  <c:v>4.8</c:v>
                </c:pt>
                <c:pt idx="4801">
                  <c:v>4.8010000000000002</c:v>
                </c:pt>
                <c:pt idx="4802">
                  <c:v>4.8019999999999996</c:v>
                </c:pt>
                <c:pt idx="4803">
                  <c:v>4.8029999999999999</c:v>
                </c:pt>
                <c:pt idx="4804">
                  <c:v>4.8040000000000003</c:v>
                </c:pt>
                <c:pt idx="4805">
                  <c:v>4.8049999999999997</c:v>
                </c:pt>
                <c:pt idx="4806">
                  <c:v>4.806</c:v>
                </c:pt>
                <c:pt idx="4807">
                  <c:v>4.8070000000000004</c:v>
                </c:pt>
                <c:pt idx="4808">
                  <c:v>4.8079999999999998</c:v>
                </c:pt>
                <c:pt idx="4809">
                  <c:v>4.8090000000000002</c:v>
                </c:pt>
                <c:pt idx="4810">
                  <c:v>4.8099999999999996</c:v>
                </c:pt>
                <c:pt idx="4811">
                  <c:v>4.8109999999999999</c:v>
                </c:pt>
                <c:pt idx="4812">
                  <c:v>4.8120000000000003</c:v>
                </c:pt>
                <c:pt idx="4813">
                  <c:v>4.8129999999999997</c:v>
                </c:pt>
                <c:pt idx="4814">
                  <c:v>4.8140000000000001</c:v>
                </c:pt>
                <c:pt idx="4815">
                  <c:v>4.8150000000000004</c:v>
                </c:pt>
                <c:pt idx="4816">
                  <c:v>4.8159999999999998</c:v>
                </c:pt>
                <c:pt idx="4817">
                  <c:v>4.8170000000000002</c:v>
                </c:pt>
                <c:pt idx="4818">
                  <c:v>4.8179999999999996</c:v>
                </c:pt>
                <c:pt idx="4819">
                  <c:v>4.819</c:v>
                </c:pt>
                <c:pt idx="4820">
                  <c:v>4.82</c:v>
                </c:pt>
                <c:pt idx="4821">
                  <c:v>4.8209999999999997</c:v>
                </c:pt>
                <c:pt idx="4822">
                  <c:v>4.8220000000000001</c:v>
                </c:pt>
                <c:pt idx="4823">
                  <c:v>4.8230000000000004</c:v>
                </c:pt>
                <c:pt idx="4824">
                  <c:v>4.8239999999999998</c:v>
                </c:pt>
                <c:pt idx="4825">
                  <c:v>4.8250000000000002</c:v>
                </c:pt>
                <c:pt idx="4826">
                  <c:v>4.8259999999999996</c:v>
                </c:pt>
                <c:pt idx="4827">
                  <c:v>4.827</c:v>
                </c:pt>
                <c:pt idx="4828">
                  <c:v>4.8280000000000003</c:v>
                </c:pt>
                <c:pt idx="4829">
                  <c:v>4.8289999999999997</c:v>
                </c:pt>
                <c:pt idx="4830">
                  <c:v>4.83</c:v>
                </c:pt>
                <c:pt idx="4831">
                  <c:v>4.8310000000000004</c:v>
                </c:pt>
                <c:pt idx="4832">
                  <c:v>4.8319999999999999</c:v>
                </c:pt>
                <c:pt idx="4833">
                  <c:v>4.8330000000000002</c:v>
                </c:pt>
                <c:pt idx="4834">
                  <c:v>4.8339999999999996</c:v>
                </c:pt>
                <c:pt idx="4835">
                  <c:v>4.835</c:v>
                </c:pt>
                <c:pt idx="4836">
                  <c:v>4.8360000000000003</c:v>
                </c:pt>
                <c:pt idx="4837">
                  <c:v>4.8369999999999997</c:v>
                </c:pt>
                <c:pt idx="4838">
                  <c:v>4.8380000000000001</c:v>
                </c:pt>
                <c:pt idx="4839">
                  <c:v>4.8390000000000004</c:v>
                </c:pt>
                <c:pt idx="4840">
                  <c:v>4.84</c:v>
                </c:pt>
                <c:pt idx="4841">
                  <c:v>4.8410000000000002</c:v>
                </c:pt>
                <c:pt idx="4842">
                  <c:v>4.8419999999999996</c:v>
                </c:pt>
                <c:pt idx="4843">
                  <c:v>4.843</c:v>
                </c:pt>
                <c:pt idx="4844">
                  <c:v>4.8440000000000003</c:v>
                </c:pt>
                <c:pt idx="4845">
                  <c:v>4.8449999999999998</c:v>
                </c:pt>
                <c:pt idx="4846">
                  <c:v>4.8460000000000001</c:v>
                </c:pt>
                <c:pt idx="4847">
                  <c:v>4.8470000000000004</c:v>
                </c:pt>
                <c:pt idx="4848">
                  <c:v>4.8479999999999999</c:v>
                </c:pt>
                <c:pt idx="4849">
                  <c:v>4.8490000000000002</c:v>
                </c:pt>
                <c:pt idx="4850">
                  <c:v>4.8499999999999996</c:v>
                </c:pt>
                <c:pt idx="4851">
                  <c:v>4.851</c:v>
                </c:pt>
                <c:pt idx="4852">
                  <c:v>4.8520000000000003</c:v>
                </c:pt>
                <c:pt idx="4853">
                  <c:v>4.8529999999999998</c:v>
                </c:pt>
                <c:pt idx="4854">
                  <c:v>4.8540000000000001</c:v>
                </c:pt>
                <c:pt idx="4855">
                  <c:v>4.8550000000000004</c:v>
                </c:pt>
                <c:pt idx="4856">
                  <c:v>4.8559999999999999</c:v>
                </c:pt>
                <c:pt idx="4857">
                  <c:v>4.8570000000000002</c:v>
                </c:pt>
                <c:pt idx="4858">
                  <c:v>4.8579999999999997</c:v>
                </c:pt>
                <c:pt idx="4859">
                  <c:v>4.859</c:v>
                </c:pt>
                <c:pt idx="4860">
                  <c:v>4.8600000000000003</c:v>
                </c:pt>
                <c:pt idx="4861">
                  <c:v>4.8609999999999998</c:v>
                </c:pt>
                <c:pt idx="4862">
                  <c:v>4.8620000000000001</c:v>
                </c:pt>
                <c:pt idx="4863">
                  <c:v>4.8630000000000004</c:v>
                </c:pt>
                <c:pt idx="4864">
                  <c:v>4.8639999999999999</c:v>
                </c:pt>
                <c:pt idx="4865">
                  <c:v>4.8650000000000002</c:v>
                </c:pt>
                <c:pt idx="4866">
                  <c:v>4.8659999999999997</c:v>
                </c:pt>
                <c:pt idx="4867">
                  <c:v>4.867</c:v>
                </c:pt>
                <c:pt idx="4868">
                  <c:v>4.8680000000000003</c:v>
                </c:pt>
                <c:pt idx="4869">
                  <c:v>4.8689999999999998</c:v>
                </c:pt>
                <c:pt idx="4870">
                  <c:v>4.87</c:v>
                </c:pt>
                <c:pt idx="4871">
                  <c:v>4.8710000000000004</c:v>
                </c:pt>
                <c:pt idx="4872">
                  <c:v>4.8719999999999999</c:v>
                </c:pt>
                <c:pt idx="4873">
                  <c:v>4.8730000000000002</c:v>
                </c:pt>
                <c:pt idx="4874">
                  <c:v>4.8739999999999997</c:v>
                </c:pt>
                <c:pt idx="4875">
                  <c:v>4.875</c:v>
                </c:pt>
                <c:pt idx="4876">
                  <c:v>4.8760000000000003</c:v>
                </c:pt>
                <c:pt idx="4877">
                  <c:v>4.8769999999999998</c:v>
                </c:pt>
                <c:pt idx="4878">
                  <c:v>4.8780000000000001</c:v>
                </c:pt>
                <c:pt idx="4879">
                  <c:v>4.8789999999999996</c:v>
                </c:pt>
                <c:pt idx="4880">
                  <c:v>4.88</c:v>
                </c:pt>
                <c:pt idx="4881">
                  <c:v>4.8810000000000002</c:v>
                </c:pt>
                <c:pt idx="4882">
                  <c:v>4.8819999999999997</c:v>
                </c:pt>
                <c:pt idx="4883">
                  <c:v>4.883</c:v>
                </c:pt>
                <c:pt idx="4884">
                  <c:v>4.8840000000000003</c:v>
                </c:pt>
                <c:pt idx="4885">
                  <c:v>4.8849999999999998</c:v>
                </c:pt>
                <c:pt idx="4886">
                  <c:v>4.8860000000000001</c:v>
                </c:pt>
                <c:pt idx="4887">
                  <c:v>4.8869999999999996</c:v>
                </c:pt>
                <c:pt idx="4888">
                  <c:v>4.8879999999999999</c:v>
                </c:pt>
                <c:pt idx="4889">
                  <c:v>4.8890000000000002</c:v>
                </c:pt>
                <c:pt idx="4890">
                  <c:v>4.8899999999999997</c:v>
                </c:pt>
                <c:pt idx="4891">
                  <c:v>4.891</c:v>
                </c:pt>
                <c:pt idx="4892">
                  <c:v>4.8920000000000003</c:v>
                </c:pt>
                <c:pt idx="4893">
                  <c:v>4.8929999999999998</c:v>
                </c:pt>
                <c:pt idx="4894">
                  <c:v>4.8940000000000001</c:v>
                </c:pt>
                <c:pt idx="4895">
                  <c:v>4.8949999999999996</c:v>
                </c:pt>
                <c:pt idx="4896">
                  <c:v>4.8959999999999999</c:v>
                </c:pt>
                <c:pt idx="4897">
                  <c:v>4.8970000000000002</c:v>
                </c:pt>
                <c:pt idx="4898">
                  <c:v>4.8979999999999997</c:v>
                </c:pt>
                <c:pt idx="4899">
                  <c:v>4.899</c:v>
                </c:pt>
                <c:pt idx="4900">
                  <c:v>4.9000000000000004</c:v>
                </c:pt>
                <c:pt idx="4901">
                  <c:v>4.9009999999999998</c:v>
                </c:pt>
                <c:pt idx="4902">
                  <c:v>4.9020000000000001</c:v>
                </c:pt>
                <c:pt idx="4903">
                  <c:v>4.9029999999999996</c:v>
                </c:pt>
                <c:pt idx="4904">
                  <c:v>4.9039999999999999</c:v>
                </c:pt>
                <c:pt idx="4905">
                  <c:v>4.9050000000000002</c:v>
                </c:pt>
                <c:pt idx="4906">
                  <c:v>4.9059999999999997</c:v>
                </c:pt>
                <c:pt idx="4907">
                  <c:v>4.907</c:v>
                </c:pt>
                <c:pt idx="4908">
                  <c:v>4.9080000000000004</c:v>
                </c:pt>
                <c:pt idx="4909">
                  <c:v>4.9089999999999998</c:v>
                </c:pt>
                <c:pt idx="4910">
                  <c:v>4.91</c:v>
                </c:pt>
                <c:pt idx="4911">
                  <c:v>4.9109999999999996</c:v>
                </c:pt>
                <c:pt idx="4912">
                  <c:v>4.9119999999999999</c:v>
                </c:pt>
                <c:pt idx="4913">
                  <c:v>4.9130000000000003</c:v>
                </c:pt>
                <c:pt idx="4914">
                  <c:v>4.9139999999999997</c:v>
                </c:pt>
                <c:pt idx="4915">
                  <c:v>4.915</c:v>
                </c:pt>
                <c:pt idx="4916">
                  <c:v>4.9160000000000004</c:v>
                </c:pt>
                <c:pt idx="4917">
                  <c:v>4.9169999999999998</c:v>
                </c:pt>
                <c:pt idx="4918">
                  <c:v>4.9180000000000001</c:v>
                </c:pt>
                <c:pt idx="4919">
                  <c:v>4.9189999999999996</c:v>
                </c:pt>
                <c:pt idx="4920">
                  <c:v>4.92</c:v>
                </c:pt>
                <c:pt idx="4921">
                  <c:v>4.9210000000000003</c:v>
                </c:pt>
                <c:pt idx="4922">
                  <c:v>4.9219999999999997</c:v>
                </c:pt>
                <c:pt idx="4923">
                  <c:v>4.923</c:v>
                </c:pt>
                <c:pt idx="4924">
                  <c:v>4.9240000000000004</c:v>
                </c:pt>
                <c:pt idx="4925">
                  <c:v>4.9249999999999998</c:v>
                </c:pt>
                <c:pt idx="4926">
                  <c:v>4.9260000000000002</c:v>
                </c:pt>
                <c:pt idx="4927">
                  <c:v>4.9269999999999996</c:v>
                </c:pt>
                <c:pt idx="4928">
                  <c:v>4.9279999999999999</c:v>
                </c:pt>
                <c:pt idx="4929">
                  <c:v>4.9290000000000003</c:v>
                </c:pt>
                <c:pt idx="4930">
                  <c:v>4.93</c:v>
                </c:pt>
                <c:pt idx="4931">
                  <c:v>4.931</c:v>
                </c:pt>
                <c:pt idx="4932">
                  <c:v>4.9320000000000004</c:v>
                </c:pt>
                <c:pt idx="4933">
                  <c:v>4.9329999999999998</c:v>
                </c:pt>
                <c:pt idx="4934">
                  <c:v>4.9340000000000002</c:v>
                </c:pt>
                <c:pt idx="4935">
                  <c:v>4.9349999999999996</c:v>
                </c:pt>
                <c:pt idx="4936">
                  <c:v>4.9359999999999999</c:v>
                </c:pt>
                <c:pt idx="4937">
                  <c:v>4.9370000000000003</c:v>
                </c:pt>
                <c:pt idx="4938">
                  <c:v>4.9379999999999997</c:v>
                </c:pt>
                <c:pt idx="4939">
                  <c:v>4.9390000000000001</c:v>
                </c:pt>
                <c:pt idx="4940">
                  <c:v>4.9400000000000004</c:v>
                </c:pt>
                <c:pt idx="4941">
                  <c:v>4.9409999999999998</c:v>
                </c:pt>
                <c:pt idx="4942">
                  <c:v>4.9420000000000002</c:v>
                </c:pt>
                <c:pt idx="4943">
                  <c:v>4.9429999999999996</c:v>
                </c:pt>
                <c:pt idx="4944">
                  <c:v>4.944</c:v>
                </c:pt>
                <c:pt idx="4945">
                  <c:v>4.9450000000000003</c:v>
                </c:pt>
                <c:pt idx="4946">
                  <c:v>4.9459999999999997</c:v>
                </c:pt>
                <c:pt idx="4947">
                  <c:v>4.9470000000000001</c:v>
                </c:pt>
                <c:pt idx="4948">
                  <c:v>4.9480000000000004</c:v>
                </c:pt>
                <c:pt idx="4949">
                  <c:v>4.9489999999999998</c:v>
                </c:pt>
                <c:pt idx="4950">
                  <c:v>4.95</c:v>
                </c:pt>
                <c:pt idx="4951">
                  <c:v>4.9509999999999996</c:v>
                </c:pt>
                <c:pt idx="4952">
                  <c:v>4.952</c:v>
                </c:pt>
                <c:pt idx="4953">
                  <c:v>4.9530000000000003</c:v>
                </c:pt>
                <c:pt idx="4954">
                  <c:v>4.9539999999999997</c:v>
                </c:pt>
                <c:pt idx="4955">
                  <c:v>4.9550000000000001</c:v>
                </c:pt>
                <c:pt idx="4956">
                  <c:v>4.9560000000000004</c:v>
                </c:pt>
                <c:pt idx="4957">
                  <c:v>4.9569999999999999</c:v>
                </c:pt>
                <c:pt idx="4958">
                  <c:v>4.9580000000000002</c:v>
                </c:pt>
                <c:pt idx="4959">
                  <c:v>4.9589999999999996</c:v>
                </c:pt>
                <c:pt idx="4960">
                  <c:v>4.96</c:v>
                </c:pt>
                <c:pt idx="4961">
                  <c:v>4.9610000000000003</c:v>
                </c:pt>
                <c:pt idx="4962">
                  <c:v>4.9619999999999997</c:v>
                </c:pt>
                <c:pt idx="4963">
                  <c:v>4.9630000000000001</c:v>
                </c:pt>
                <c:pt idx="4964">
                  <c:v>4.9640000000000004</c:v>
                </c:pt>
                <c:pt idx="4965">
                  <c:v>4.9649999999999999</c:v>
                </c:pt>
                <c:pt idx="4966">
                  <c:v>4.9660000000000002</c:v>
                </c:pt>
                <c:pt idx="4967">
                  <c:v>4.9669999999999996</c:v>
                </c:pt>
                <c:pt idx="4968">
                  <c:v>4.968</c:v>
                </c:pt>
                <c:pt idx="4969">
                  <c:v>4.9690000000000003</c:v>
                </c:pt>
                <c:pt idx="4970">
                  <c:v>4.97</c:v>
                </c:pt>
                <c:pt idx="4971">
                  <c:v>4.9710000000000001</c:v>
                </c:pt>
                <c:pt idx="4972">
                  <c:v>4.9720000000000004</c:v>
                </c:pt>
                <c:pt idx="4973">
                  <c:v>4.9729999999999999</c:v>
                </c:pt>
                <c:pt idx="4974">
                  <c:v>4.9740000000000002</c:v>
                </c:pt>
                <c:pt idx="4975">
                  <c:v>4.9749999999999996</c:v>
                </c:pt>
                <c:pt idx="4976">
                  <c:v>4.976</c:v>
                </c:pt>
                <c:pt idx="4977">
                  <c:v>4.9770000000000003</c:v>
                </c:pt>
                <c:pt idx="4978">
                  <c:v>4.9779999999999998</c:v>
                </c:pt>
                <c:pt idx="4979">
                  <c:v>4.9790000000000001</c:v>
                </c:pt>
                <c:pt idx="4980">
                  <c:v>4.9800000000000004</c:v>
                </c:pt>
                <c:pt idx="4981">
                  <c:v>4.9809999999999999</c:v>
                </c:pt>
                <c:pt idx="4982">
                  <c:v>4.9820000000000002</c:v>
                </c:pt>
                <c:pt idx="4983">
                  <c:v>4.9829999999999997</c:v>
                </c:pt>
                <c:pt idx="4984">
                  <c:v>4.984</c:v>
                </c:pt>
                <c:pt idx="4985">
                  <c:v>4.9850000000000003</c:v>
                </c:pt>
                <c:pt idx="4986">
                  <c:v>4.9859999999999998</c:v>
                </c:pt>
                <c:pt idx="4987">
                  <c:v>4.9870000000000001</c:v>
                </c:pt>
                <c:pt idx="4988">
                  <c:v>4.9880000000000004</c:v>
                </c:pt>
                <c:pt idx="4989">
                  <c:v>4.9889999999999999</c:v>
                </c:pt>
                <c:pt idx="4990">
                  <c:v>4.99</c:v>
                </c:pt>
                <c:pt idx="4991">
                  <c:v>4.9909999999999997</c:v>
                </c:pt>
                <c:pt idx="4992">
                  <c:v>4.992</c:v>
                </c:pt>
                <c:pt idx="4993">
                  <c:v>4.9930000000000003</c:v>
                </c:pt>
                <c:pt idx="4994">
                  <c:v>4.9939999999999998</c:v>
                </c:pt>
                <c:pt idx="4995">
                  <c:v>4.9950000000000001</c:v>
                </c:pt>
                <c:pt idx="4996">
                  <c:v>4.9960000000000004</c:v>
                </c:pt>
                <c:pt idx="4997">
                  <c:v>4.9969999999999999</c:v>
                </c:pt>
                <c:pt idx="4998">
                  <c:v>4.9980000000000002</c:v>
                </c:pt>
                <c:pt idx="4999">
                  <c:v>4.9989999999999997</c:v>
                </c:pt>
              </c:numCache>
            </c:numRef>
          </c:xVal>
          <c:yVal>
            <c:numRef>
              <c:f>'4-Pin vs 3-Pin waveform'!$O$3:$O$5002</c:f>
              <c:numCache>
                <c:formatCode>General</c:formatCode>
                <c:ptCount val="5000"/>
                <c:pt idx="0">
                  <c:v>0.13500000000000001</c:v>
                </c:pt>
                <c:pt idx="1">
                  <c:v>6.8000000000000005E-2</c:v>
                </c:pt>
                <c:pt idx="2">
                  <c:v>0.40799999999999997</c:v>
                </c:pt>
                <c:pt idx="3">
                  <c:v>-0.13700000000000001</c:v>
                </c:pt>
                <c:pt idx="4">
                  <c:v>0.20300000000000001</c:v>
                </c:pt>
                <c:pt idx="5">
                  <c:v>-0.27200000000000002</c:v>
                </c:pt>
                <c:pt idx="6">
                  <c:v>6.8000000000000005E-2</c:v>
                </c:pt>
                <c:pt idx="7">
                  <c:v>6.8000000000000005E-2</c:v>
                </c:pt>
                <c:pt idx="8">
                  <c:v>0.40799999999999997</c:v>
                </c:pt>
                <c:pt idx="9">
                  <c:v>0.40799999999999997</c:v>
                </c:pt>
                <c:pt idx="10">
                  <c:v>-1E-3</c:v>
                </c:pt>
                <c:pt idx="11">
                  <c:v>0.33900000000000002</c:v>
                </c:pt>
                <c:pt idx="12">
                  <c:v>0.13500000000000001</c:v>
                </c:pt>
                <c:pt idx="13">
                  <c:v>6.8000000000000005E-2</c:v>
                </c:pt>
                <c:pt idx="14">
                  <c:v>6.8000000000000005E-2</c:v>
                </c:pt>
                <c:pt idx="15">
                  <c:v>-6.9000000000000006E-2</c:v>
                </c:pt>
                <c:pt idx="16">
                  <c:v>0.20300000000000001</c:v>
                </c:pt>
                <c:pt idx="17">
                  <c:v>0.33900000000000002</c:v>
                </c:pt>
                <c:pt idx="18">
                  <c:v>-1E-3</c:v>
                </c:pt>
                <c:pt idx="19">
                  <c:v>0.33900000000000002</c:v>
                </c:pt>
                <c:pt idx="20">
                  <c:v>0.27100000000000002</c:v>
                </c:pt>
                <c:pt idx="21">
                  <c:v>0.27100000000000002</c:v>
                </c:pt>
                <c:pt idx="22">
                  <c:v>0.13500000000000001</c:v>
                </c:pt>
                <c:pt idx="23">
                  <c:v>0.20300000000000001</c:v>
                </c:pt>
                <c:pt idx="24">
                  <c:v>6.8000000000000005E-2</c:v>
                </c:pt>
                <c:pt idx="25">
                  <c:v>0.20300000000000001</c:v>
                </c:pt>
                <c:pt idx="26">
                  <c:v>-6.9000000000000006E-2</c:v>
                </c:pt>
                <c:pt idx="27">
                  <c:v>0.40799999999999997</c:v>
                </c:pt>
                <c:pt idx="28">
                  <c:v>-0.13700000000000001</c:v>
                </c:pt>
                <c:pt idx="29">
                  <c:v>-6.9000000000000006E-2</c:v>
                </c:pt>
                <c:pt idx="30">
                  <c:v>0.20300000000000001</c:v>
                </c:pt>
                <c:pt idx="31">
                  <c:v>0.13500000000000001</c:v>
                </c:pt>
                <c:pt idx="32">
                  <c:v>0.33900000000000002</c:v>
                </c:pt>
                <c:pt idx="33">
                  <c:v>0.13500000000000001</c:v>
                </c:pt>
                <c:pt idx="34">
                  <c:v>0.33900000000000002</c:v>
                </c:pt>
                <c:pt idx="35">
                  <c:v>6.8000000000000005E-2</c:v>
                </c:pt>
                <c:pt idx="36">
                  <c:v>-1E-3</c:v>
                </c:pt>
                <c:pt idx="37">
                  <c:v>0.13500000000000001</c:v>
                </c:pt>
                <c:pt idx="38">
                  <c:v>-1E-3</c:v>
                </c:pt>
                <c:pt idx="39">
                  <c:v>0.33900000000000002</c:v>
                </c:pt>
                <c:pt idx="40">
                  <c:v>0.33900000000000002</c:v>
                </c:pt>
                <c:pt idx="41">
                  <c:v>-6.9000000000000006E-2</c:v>
                </c:pt>
                <c:pt idx="42">
                  <c:v>-0.13700000000000001</c:v>
                </c:pt>
                <c:pt idx="43">
                  <c:v>0.13500000000000001</c:v>
                </c:pt>
                <c:pt idx="44">
                  <c:v>-1E-3</c:v>
                </c:pt>
                <c:pt idx="45">
                  <c:v>0.20300000000000001</c:v>
                </c:pt>
                <c:pt idx="46">
                  <c:v>0.47499999999999998</c:v>
                </c:pt>
                <c:pt idx="47">
                  <c:v>0.33900000000000002</c:v>
                </c:pt>
                <c:pt idx="48">
                  <c:v>-0.13700000000000001</c:v>
                </c:pt>
                <c:pt idx="49">
                  <c:v>-6.9000000000000006E-2</c:v>
                </c:pt>
                <c:pt idx="50">
                  <c:v>0.27100000000000002</c:v>
                </c:pt>
                <c:pt idx="51">
                  <c:v>-1E-3</c:v>
                </c:pt>
                <c:pt idx="52">
                  <c:v>0.33900000000000002</c:v>
                </c:pt>
                <c:pt idx="53">
                  <c:v>6.8000000000000005E-2</c:v>
                </c:pt>
                <c:pt idx="54">
                  <c:v>6.8000000000000005E-2</c:v>
                </c:pt>
                <c:pt idx="55">
                  <c:v>0.20300000000000001</c:v>
                </c:pt>
                <c:pt idx="56">
                  <c:v>-6.9000000000000006E-2</c:v>
                </c:pt>
                <c:pt idx="57">
                  <c:v>0.33900000000000002</c:v>
                </c:pt>
                <c:pt idx="58">
                  <c:v>0.20300000000000001</c:v>
                </c:pt>
                <c:pt idx="59">
                  <c:v>0.33900000000000002</c:v>
                </c:pt>
                <c:pt idx="60">
                  <c:v>-1E-3</c:v>
                </c:pt>
                <c:pt idx="61">
                  <c:v>6.8000000000000005E-2</c:v>
                </c:pt>
                <c:pt idx="62">
                  <c:v>0.20300000000000001</c:v>
                </c:pt>
                <c:pt idx="63">
                  <c:v>0.13500000000000001</c:v>
                </c:pt>
                <c:pt idx="64">
                  <c:v>0.47499999999999998</c:v>
                </c:pt>
                <c:pt idx="65">
                  <c:v>0.13500000000000001</c:v>
                </c:pt>
                <c:pt idx="66">
                  <c:v>0.27100000000000002</c:v>
                </c:pt>
                <c:pt idx="67">
                  <c:v>-1E-3</c:v>
                </c:pt>
                <c:pt idx="68">
                  <c:v>-1E-3</c:v>
                </c:pt>
                <c:pt idx="69">
                  <c:v>6.8000000000000005E-2</c:v>
                </c:pt>
                <c:pt idx="70">
                  <c:v>0.33900000000000002</c:v>
                </c:pt>
                <c:pt idx="71">
                  <c:v>6.8000000000000005E-2</c:v>
                </c:pt>
                <c:pt idx="72">
                  <c:v>0.13500000000000001</c:v>
                </c:pt>
                <c:pt idx="73">
                  <c:v>-1E-3</c:v>
                </c:pt>
                <c:pt idx="74">
                  <c:v>-6.9000000000000006E-2</c:v>
                </c:pt>
                <c:pt idx="75">
                  <c:v>0.13500000000000001</c:v>
                </c:pt>
                <c:pt idx="76">
                  <c:v>0.20300000000000001</c:v>
                </c:pt>
                <c:pt idx="77">
                  <c:v>0.20300000000000001</c:v>
                </c:pt>
                <c:pt idx="78">
                  <c:v>-1E-3</c:v>
                </c:pt>
                <c:pt idx="79">
                  <c:v>0.13500000000000001</c:v>
                </c:pt>
                <c:pt idx="80">
                  <c:v>0.20300000000000001</c:v>
                </c:pt>
                <c:pt idx="81">
                  <c:v>6.8000000000000005E-2</c:v>
                </c:pt>
                <c:pt idx="82">
                  <c:v>0.54300000000000004</c:v>
                </c:pt>
                <c:pt idx="83">
                  <c:v>0.13500000000000001</c:v>
                </c:pt>
                <c:pt idx="84">
                  <c:v>0.20300000000000001</c:v>
                </c:pt>
                <c:pt idx="85">
                  <c:v>-6.9000000000000006E-2</c:v>
                </c:pt>
                <c:pt idx="86">
                  <c:v>0.33900000000000002</c:v>
                </c:pt>
                <c:pt idx="87">
                  <c:v>0.27100000000000002</c:v>
                </c:pt>
                <c:pt idx="88">
                  <c:v>0.40799999999999997</c:v>
                </c:pt>
                <c:pt idx="89">
                  <c:v>0.40799999999999997</c:v>
                </c:pt>
                <c:pt idx="90">
                  <c:v>0.13500000000000001</c:v>
                </c:pt>
                <c:pt idx="91">
                  <c:v>6.8000000000000005E-2</c:v>
                </c:pt>
                <c:pt idx="92">
                  <c:v>0.13500000000000001</c:v>
                </c:pt>
                <c:pt idx="93">
                  <c:v>-6.9000000000000006E-2</c:v>
                </c:pt>
                <c:pt idx="94">
                  <c:v>0.27100000000000002</c:v>
                </c:pt>
                <c:pt idx="95">
                  <c:v>0.33900000000000002</c:v>
                </c:pt>
                <c:pt idx="96">
                  <c:v>0.13500000000000001</c:v>
                </c:pt>
                <c:pt idx="97">
                  <c:v>6.8000000000000005E-2</c:v>
                </c:pt>
                <c:pt idx="98">
                  <c:v>0.20300000000000001</c:v>
                </c:pt>
                <c:pt idx="99">
                  <c:v>0.40799999999999997</c:v>
                </c:pt>
                <c:pt idx="100">
                  <c:v>0.20300000000000001</c:v>
                </c:pt>
                <c:pt idx="101">
                  <c:v>0.20300000000000001</c:v>
                </c:pt>
                <c:pt idx="102">
                  <c:v>6.8000000000000005E-2</c:v>
                </c:pt>
                <c:pt idx="103">
                  <c:v>-1E-3</c:v>
                </c:pt>
                <c:pt idx="104">
                  <c:v>-6.9000000000000006E-2</c:v>
                </c:pt>
                <c:pt idx="105">
                  <c:v>0.13500000000000001</c:v>
                </c:pt>
                <c:pt idx="106">
                  <c:v>0.20300000000000001</c:v>
                </c:pt>
                <c:pt idx="107">
                  <c:v>0.33900000000000002</c:v>
                </c:pt>
                <c:pt idx="108">
                  <c:v>0.20300000000000001</c:v>
                </c:pt>
                <c:pt idx="109">
                  <c:v>0.33900000000000002</c:v>
                </c:pt>
                <c:pt idx="110">
                  <c:v>0.47499999999999998</c:v>
                </c:pt>
                <c:pt idx="111">
                  <c:v>-6.9000000000000006E-2</c:v>
                </c:pt>
                <c:pt idx="112">
                  <c:v>-6.9000000000000006E-2</c:v>
                </c:pt>
                <c:pt idx="113">
                  <c:v>-1E-3</c:v>
                </c:pt>
                <c:pt idx="114">
                  <c:v>-0.20499999999999999</c:v>
                </c:pt>
                <c:pt idx="115">
                  <c:v>0.13500000000000001</c:v>
                </c:pt>
                <c:pt idx="116">
                  <c:v>0.27100000000000002</c:v>
                </c:pt>
                <c:pt idx="117">
                  <c:v>-6.9000000000000006E-2</c:v>
                </c:pt>
                <c:pt idx="118">
                  <c:v>0.27100000000000002</c:v>
                </c:pt>
                <c:pt idx="119">
                  <c:v>-1E-3</c:v>
                </c:pt>
                <c:pt idx="120">
                  <c:v>6.8000000000000005E-2</c:v>
                </c:pt>
                <c:pt idx="121">
                  <c:v>6.8000000000000005E-2</c:v>
                </c:pt>
                <c:pt idx="122">
                  <c:v>-1E-3</c:v>
                </c:pt>
                <c:pt idx="123">
                  <c:v>0.27100000000000002</c:v>
                </c:pt>
                <c:pt idx="124">
                  <c:v>6.8000000000000005E-2</c:v>
                </c:pt>
                <c:pt idx="125">
                  <c:v>-1E-3</c:v>
                </c:pt>
                <c:pt idx="126">
                  <c:v>6.8000000000000005E-2</c:v>
                </c:pt>
                <c:pt idx="127">
                  <c:v>0.13500000000000001</c:v>
                </c:pt>
                <c:pt idx="128">
                  <c:v>0.40799999999999997</c:v>
                </c:pt>
                <c:pt idx="129">
                  <c:v>-1E-3</c:v>
                </c:pt>
                <c:pt idx="130">
                  <c:v>0.33900000000000002</c:v>
                </c:pt>
                <c:pt idx="131">
                  <c:v>-0.13700000000000001</c:v>
                </c:pt>
                <c:pt idx="132">
                  <c:v>0.20300000000000001</c:v>
                </c:pt>
                <c:pt idx="133">
                  <c:v>0.27100000000000002</c:v>
                </c:pt>
                <c:pt idx="134">
                  <c:v>0.33900000000000002</c:v>
                </c:pt>
                <c:pt idx="135">
                  <c:v>0.13500000000000001</c:v>
                </c:pt>
                <c:pt idx="136">
                  <c:v>0.33900000000000002</c:v>
                </c:pt>
                <c:pt idx="137">
                  <c:v>0.47499999999999998</c:v>
                </c:pt>
                <c:pt idx="138">
                  <c:v>0.20300000000000001</c:v>
                </c:pt>
                <c:pt idx="139">
                  <c:v>-6.9000000000000006E-2</c:v>
                </c:pt>
                <c:pt idx="140">
                  <c:v>0.40799999999999997</c:v>
                </c:pt>
                <c:pt idx="141">
                  <c:v>-1E-3</c:v>
                </c:pt>
                <c:pt idx="142">
                  <c:v>0.33900000000000002</c:v>
                </c:pt>
                <c:pt idx="143">
                  <c:v>-1E-3</c:v>
                </c:pt>
                <c:pt idx="144">
                  <c:v>6.8000000000000005E-2</c:v>
                </c:pt>
                <c:pt idx="145">
                  <c:v>6.8000000000000005E-2</c:v>
                </c:pt>
                <c:pt idx="146">
                  <c:v>-0.20499999999999999</c:v>
                </c:pt>
                <c:pt idx="147">
                  <c:v>0.54300000000000004</c:v>
                </c:pt>
                <c:pt idx="148">
                  <c:v>0.27100000000000002</c:v>
                </c:pt>
                <c:pt idx="149">
                  <c:v>6.8000000000000005E-2</c:v>
                </c:pt>
                <c:pt idx="150">
                  <c:v>0.20300000000000001</c:v>
                </c:pt>
                <c:pt idx="151">
                  <c:v>6.8000000000000005E-2</c:v>
                </c:pt>
                <c:pt idx="152">
                  <c:v>6.8000000000000005E-2</c:v>
                </c:pt>
                <c:pt idx="153">
                  <c:v>0.27100000000000002</c:v>
                </c:pt>
                <c:pt idx="154">
                  <c:v>0.13500000000000001</c:v>
                </c:pt>
                <c:pt idx="155">
                  <c:v>0.13500000000000001</c:v>
                </c:pt>
                <c:pt idx="156">
                  <c:v>6.8000000000000005E-2</c:v>
                </c:pt>
                <c:pt idx="157">
                  <c:v>6.8000000000000005E-2</c:v>
                </c:pt>
                <c:pt idx="158">
                  <c:v>0.13500000000000001</c:v>
                </c:pt>
                <c:pt idx="159">
                  <c:v>0.27100000000000002</c:v>
                </c:pt>
                <c:pt idx="160">
                  <c:v>-1E-3</c:v>
                </c:pt>
                <c:pt idx="161">
                  <c:v>-0.13700000000000001</c:v>
                </c:pt>
                <c:pt idx="162">
                  <c:v>6.8000000000000005E-2</c:v>
                </c:pt>
                <c:pt idx="163">
                  <c:v>0.40799999999999997</c:v>
                </c:pt>
                <c:pt idx="164">
                  <c:v>-1E-3</c:v>
                </c:pt>
                <c:pt idx="165">
                  <c:v>-6.9000000000000006E-2</c:v>
                </c:pt>
                <c:pt idx="166">
                  <c:v>-1E-3</c:v>
                </c:pt>
                <c:pt idx="167">
                  <c:v>-1E-3</c:v>
                </c:pt>
                <c:pt idx="168">
                  <c:v>0.13500000000000001</c:v>
                </c:pt>
                <c:pt idx="169">
                  <c:v>0.40799999999999997</c:v>
                </c:pt>
                <c:pt idx="170">
                  <c:v>-0.13700000000000001</c:v>
                </c:pt>
                <c:pt idx="171">
                  <c:v>0.20300000000000001</c:v>
                </c:pt>
                <c:pt idx="172">
                  <c:v>6.8000000000000005E-2</c:v>
                </c:pt>
                <c:pt idx="173">
                  <c:v>-1E-3</c:v>
                </c:pt>
                <c:pt idx="174">
                  <c:v>0.47499999999999998</c:v>
                </c:pt>
                <c:pt idx="175">
                  <c:v>0.27100000000000002</c:v>
                </c:pt>
                <c:pt idx="176">
                  <c:v>0.33900000000000002</c:v>
                </c:pt>
                <c:pt idx="177">
                  <c:v>0.13500000000000001</c:v>
                </c:pt>
                <c:pt idx="178">
                  <c:v>0.27100000000000002</c:v>
                </c:pt>
                <c:pt idx="179">
                  <c:v>-1E-3</c:v>
                </c:pt>
                <c:pt idx="180">
                  <c:v>0.40799999999999997</c:v>
                </c:pt>
                <c:pt idx="181">
                  <c:v>0.13500000000000001</c:v>
                </c:pt>
                <c:pt idx="182">
                  <c:v>-0.13700000000000001</c:v>
                </c:pt>
                <c:pt idx="183">
                  <c:v>0.47499999999999998</c:v>
                </c:pt>
                <c:pt idx="184">
                  <c:v>0.13500000000000001</c:v>
                </c:pt>
                <c:pt idx="185">
                  <c:v>-0.34100000000000003</c:v>
                </c:pt>
                <c:pt idx="186">
                  <c:v>0.20300000000000001</c:v>
                </c:pt>
                <c:pt idx="187">
                  <c:v>-0.13700000000000001</c:v>
                </c:pt>
                <c:pt idx="188">
                  <c:v>0.27100000000000002</c:v>
                </c:pt>
                <c:pt idx="189">
                  <c:v>0.54300000000000004</c:v>
                </c:pt>
                <c:pt idx="190">
                  <c:v>0.27100000000000002</c:v>
                </c:pt>
                <c:pt idx="191">
                  <c:v>-0.13700000000000001</c:v>
                </c:pt>
                <c:pt idx="192">
                  <c:v>6.8000000000000005E-2</c:v>
                </c:pt>
                <c:pt idx="193">
                  <c:v>0.20300000000000001</c:v>
                </c:pt>
                <c:pt idx="194">
                  <c:v>6.8000000000000005E-2</c:v>
                </c:pt>
                <c:pt idx="195">
                  <c:v>-6.9000000000000006E-2</c:v>
                </c:pt>
                <c:pt idx="196">
                  <c:v>0.20300000000000001</c:v>
                </c:pt>
                <c:pt idx="197">
                  <c:v>0.27100000000000002</c:v>
                </c:pt>
                <c:pt idx="198">
                  <c:v>0.13500000000000001</c:v>
                </c:pt>
                <c:pt idx="199">
                  <c:v>0.13500000000000001</c:v>
                </c:pt>
                <c:pt idx="200">
                  <c:v>0.27100000000000002</c:v>
                </c:pt>
                <c:pt idx="201">
                  <c:v>0.20300000000000001</c:v>
                </c:pt>
                <c:pt idx="202">
                  <c:v>0.40799999999999997</c:v>
                </c:pt>
                <c:pt idx="203">
                  <c:v>0.13500000000000001</c:v>
                </c:pt>
                <c:pt idx="204">
                  <c:v>-6.9000000000000006E-2</c:v>
                </c:pt>
                <c:pt idx="205">
                  <c:v>6.8000000000000005E-2</c:v>
                </c:pt>
                <c:pt idx="206">
                  <c:v>6.8000000000000005E-2</c:v>
                </c:pt>
                <c:pt idx="207">
                  <c:v>-6.9000000000000006E-2</c:v>
                </c:pt>
                <c:pt idx="208">
                  <c:v>6.8000000000000005E-2</c:v>
                </c:pt>
                <c:pt idx="209">
                  <c:v>-1E-3</c:v>
                </c:pt>
                <c:pt idx="210">
                  <c:v>6.8000000000000005E-2</c:v>
                </c:pt>
                <c:pt idx="211">
                  <c:v>0.40799999999999997</c:v>
                </c:pt>
                <c:pt idx="212">
                  <c:v>0.47499999999999998</c:v>
                </c:pt>
                <c:pt idx="213">
                  <c:v>0.20300000000000001</c:v>
                </c:pt>
                <c:pt idx="214">
                  <c:v>0.20300000000000001</c:v>
                </c:pt>
                <c:pt idx="215">
                  <c:v>-6.9000000000000006E-2</c:v>
                </c:pt>
                <c:pt idx="216">
                  <c:v>0.13500000000000001</c:v>
                </c:pt>
                <c:pt idx="217">
                  <c:v>-6.9000000000000006E-2</c:v>
                </c:pt>
                <c:pt idx="218">
                  <c:v>0.27100000000000002</c:v>
                </c:pt>
                <c:pt idx="219">
                  <c:v>-6.9000000000000006E-2</c:v>
                </c:pt>
                <c:pt idx="220">
                  <c:v>0.20300000000000001</c:v>
                </c:pt>
                <c:pt idx="221">
                  <c:v>0.13500000000000001</c:v>
                </c:pt>
                <c:pt idx="222">
                  <c:v>0.20300000000000001</c:v>
                </c:pt>
                <c:pt idx="223">
                  <c:v>0.33900000000000002</c:v>
                </c:pt>
                <c:pt idx="224">
                  <c:v>6.8000000000000005E-2</c:v>
                </c:pt>
                <c:pt idx="225">
                  <c:v>-0.13700000000000001</c:v>
                </c:pt>
                <c:pt idx="226">
                  <c:v>0.20300000000000001</c:v>
                </c:pt>
                <c:pt idx="227">
                  <c:v>0.54300000000000004</c:v>
                </c:pt>
                <c:pt idx="228">
                  <c:v>-1E-3</c:v>
                </c:pt>
                <c:pt idx="229">
                  <c:v>-0.13700000000000001</c:v>
                </c:pt>
                <c:pt idx="230">
                  <c:v>6.8000000000000005E-2</c:v>
                </c:pt>
                <c:pt idx="231">
                  <c:v>0.13500000000000001</c:v>
                </c:pt>
                <c:pt idx="232">
                  <c:v>0.27100000000000002</c:v>
                </c:pt>
                <c:pt idx="233">
                  <c:v>0.20300000000000001</c:v>
                </c:pt>
                <c:pt idx="234">
                  <c:v>-1E-3</c:v>
                </c:pt>
                <c:pt idx="235">
                  <c:v>-1E-3</c:v>
                </c:pt>
                <c:pt idx="236">
                  <c:v>0.20300000000000001</c:v>
                </c:pt>
                <c:pt idx="237">
                  <c:v>0.33900000000000002</c:v>
                </c:pt>
                <c:pt idx="238">
                  <c:v>0.13500000000000001</c:v>
                </c:pt>
                <c:pt idx="239">
                  <c:v>-6.9000000000000006E-2</c:v>
                </c:pt>
                <c:pt idx="240">
                  <c:v>-1E-3</c:v>
                </c:pt>
                <c:pt idx="241">
                  <c:v>0.20300000000000001</c:v>
                </c:pt>
                <c:pt idx="242">
                  <c:v>0.33900000000000002</c:v>
                </c:pt>
                <c:pt idx="243">
                  <c:v>0.33900000000000002</c:v>
                </c:pt>
                <c:pt idx="244">
                  <c:v>-1E-3</c:v>
                </c:pt>
                <c:pt idx="245">
                  <c:v>6.8000000000000005E-2</c:v>
                </c:pt>
                <c:pt idx="246">
                  <c:v>-0.13700000000000001</c:v>
                </c:pt>
                <c:pt idx="247">
                  <c:v>0.40799999999999997</c:v>
                </c:pt>
                <c:pt idx="248">
                  <c:v>0.13500000000000001</c:v>
                </c:pt>
                <c:pt idx="249">
                  <c:v>0.13500000000000001</c:v>
                </c:pt>
                <c:pt idx="250">
                  <c:v>6.8000000000000005E-2</c:v>
                </c:pt>
                <c:pt idx="251">
                  <c:v>0.20300000000000001</c:v>
                </c:pt>
                <c:pt idx="252">
                  <c:v>0.13500000000000001</c:v>
                </c:pt>
                <c:pt idx="253">
                  <c:v>6.8000000000000005E-2</c:v>
                </c:pt>
                <c:pt idx="254">
                  <c:v>-6.9000000000000006E-2</c:v>
                </c:pt>
                <c:pt idx="255">
                  <c:v>-1E-3</c:v>
                </c:pt>
                <c:pt idx="256">
                  <c:v>0.27100000000000002</c:v>
                </c:pt>
                <c:pt idx="257">
                  <c:v>6.8000000000000005E-2</c:v>
                </c:pt>
                <c:pt idx="258">
                  <c:v>0.13500000000000001</c:v>
                </c:pt>
                <c:pt idx="259">
                  <c:v>0.20300000000000001</c:v>
                </c:pt>
                <c:pt idx="260">
                  <c:v>0.40799999999999997</c:v>
                </c:pt>
                <c:pt idx="261">
                  <c:v>6.8000000000000005E-2</c:v>
                </c:pt>
                <c:pt idx="262">
                  <c:v>0.27100000000000002</c:v>
                </c:pt>
                <c:pt idx="263">
                  <c:v>-1E-3</c:v>
                </c:pt>
                <c:pt idx="264">
                  <c:v>6.8000000000000005E-2</c:v>
                </c:pt>
                <c:pt idx="265">
                  <c:v>0.20300000000000001</c:v>
                </c:pt>
                <c:pt idx="266">
                  <c:v>0.33900000000000002</c:v>
                </c:pt>
                <c:pt idx="267">
                  <c:v>0.13500000000000001</c:v>
                </c:pt>
                <c:pt idx="268">
                  <c:v>0.13500000000000001</c:v>
                </c:pt>
                <c:pt idx="269">
                  <c:v>0.20300000000000001</c:v>
                </c:pt>
                <c:pt idx="270">
                  <c:v>0.20300000000000001</c:v>
                </c:pt>
                <c:pt idx="271">
                  <c:v>0.27100000000000002</c:v>
                </c:pt>
                <c:pt idx="272">
                  <c:v>-6.9000000000000006E-2</c:v>
                </c:pt>
                <c:pt idx="273">
                  <c:v>6.8000000000000005E-2</c:v>
                </c:pt>
                <c:pt idx="274">
                  <c:v>-0.20499999999999999</c:v>
                </c:pt>
                <c:pt idx="275">
                  <c:v>-6.9000000000000006E-2</c:v>
                </c:pt>
                <c:pt idx="276">
                  <c:v>-6.9000000000000006E-2</c:v>
                </c:pt>
                <c:pt idx="277">
                  <c:v>0.33900000000000002</c:v>
                </c:pt>
                <c:pt idx="278">
                  <c:v>0.40799999999999997</c:v>
                </c:pt>
                <c:pt idx="279">
                  <c:v>0.20300000000000001</c:v>
                </c:pt>
                <c:pt idx="280">
                  <c:v>6.8000000000000005E-2</c:v>
                </c:pt>
                <c:pt idx="281">
                  <c:v>-1E-3</c:v>
                </c:pt>
                <c:pt idx="282">
                  <c:v>0.27100000000000002</c:v>
                </c:pt>
                <c:pt idx="283">
                  <c:v>-1E-3</c:v>
                </c:pt>
                <c:pt idx="284">
                  <c:v>0.20300000000000001</c:v>
                </c:pt>
                <c:pt idx="285">
                  <c:v>0.13500000000000001</c:v>
                </c:pt>
                <c:pt idx="286">
                  <c:v>-1E-3</c:v>
                </c:pt>
                <c:pt idx="287">
                  <c:v>6.8000000000000005E-2</c:v>
                </c:pt>
                <c:pt idx="288">
                  <c:v>0.20300000000000001</c:v>
                </c:pt>
                <c:pt idx="289">
                  <c:v>0.47499999999999998</c:v>
                </c:pt>
                <c:pt idx="290">
                  <c:v>6.8000000000000005E-2</c:v>
                </c:pt>
                <c:pt idx="291">
                  <c:v>0.33900000000000002</c:v>
                </c:pt>
                <c:pt idx="292">
                  <c:v>6.8000000000000005E-2</c:v>
                </c:pt>
                <c:pt idx="293">
                  <c:v>0.13500000000000001</c:v>
                </c:pt>
                <c:pt idx="294">
                  <c:v>0.33900000000000002</c:v>
                </c:pt>
                <c:pt idx="295">
                  <c:v>0.13500000000000001</c:v>
                </c:pt>
                <c:pt idx="296">
                  <c:v>0.27100000000000002</c:v>
                </c:pt>
                <c:pt idx="297">
                  <c:v>0.54300000000000004</c:v>
                </c:pt>
                <c:pt idx="298">
                  <c:v>-0.20499999999999999</c:v>
                </c:pt>
                <c:pt idx="299">
                  <c:v>0.13500000000000001</c:v>
                </c:pt>
                <c:pt idx="300">
                  <c:v>-6.9000000000000006E-2</c:v>
                </c:pt>
                <c:pt idx="301">
                  <c:v>6.8000000000000005E-2</c:v>
                </c:pt>
                <c:pt idx="302">
                  <c:v>0.20300000000000001</c:v>
                </c:pt>
                <c:pt idx="303">
                  <c:v>0.13500000000000001</c:v>
                </c:pt>
                <c:pt idx="304">
                  <c:v>0.33900000000000002</c:v>
                </c:pt>
                <c:pt idx="305">
                  <c:v>0.20300000000000001</c:v>
                </c:pt>
                <c:pt idx="306">
                  <c:v>0.13500000000000001</c:v>
                </c:pt>
                <c:pt idx="307">
                  <c:v>0.40799999999999997</c:v>
                </c:pt>
                <c:pt idx="308">
                  <c:v>0.33900000000000002</c:v>
                </c:pt>
                <c:pt idx="309">
                  <c:v>0.33900000000000002</c:v>
                </c:pt>
                <c:pt idx="310">
                  <c:v>-1E-3</c:v>
                </c:pt>
                <c:pt idx="311">
                  <c:v>0.13500000000000001</c:v>
                </c:pt>
                <c:pt idx="312">
                  <c:v>0.20300000000000001</c:v>
                </c:pt>
                <c:pt idx="313">
                  <c:v>0.27100000000000002</c:v>
                </c:pt>
                <c:pt idx="314">
                  <c:v>0.33900000000000002</c:v>
                </c:pt>
                <c:pt idx="315">
                  <c:v>-1E-3</c:v>
                </c:pt>
                <c:pt idx="316">
                  <c:v>0.20300000000000001</c:v>
                </c:pt>
                <c:pt idx="317">
                  <c:v>-1E-3</c:v>
                </c:pt>
                <c:pt idx="318">
                  <c:v>-1E-3</c:v>
                </c:pt>
                <c:pt idx="319">
                  <c:v>0.13500000000000001</c:v>
                </c:pt>
                <c:pt idx="320">
                  <c:v>0.47499999999999998</c:v>
                </c:pt>
                <c:pt idx="321">
                  <c:v>-0.13700000000000001</c:v>
                </c:pt>
                <c:pt idx="322">
                  <c:v>6.8000000000000005E-2</c:v>
                </c:pt>
                <c:pt idx="323">
                  <c:v>6.8000000000000005E-2</c:v>
                </c:pt>
                <c:pt idx="324">
                  <c:v>-0.13700000000000001</c:v>
                </c:pt>
                <c:pt idx="325">
                  <c:v>-0.20499999999999999</c:v>
                </c:pt>
                <c:pt idx="326">
                  <c:v>-1E-3</c:v>
                </c:pt>
                <c:pt idx="327">
                  <c:v>0.20300000000000001</c:v>
                </c:pt>
                <c:pt idx="328">
                  <c:v>-0.27200000000000002</c:v>
                </c:pt>
                <c:pt idx="329">
                  <c:v>0.33900000000000002</c:v>
                </c:pt>
                <c:pt idx="330">
                  <c:v>0.47499999999999998</c:v>
                </c:pt>
                <c:pt idx="331">
                  <c:v>0.13500000000000001</c:v>
                </c:pt>
                <c:pt idx="332">
                  <c:v>6.8000000000000005E-2</c:v>
                </c:pt>
                <c:pt idx="333">
                  <c:v>-0.13700000000000001</c:v>
                </c:pt>
                <c:pt idx="334">
                  <c:v>0.33900000000000002</c:v>
                </c:pt>
                <c:pt idx="335">
                  <c:v>-1E-3</c:v>
                </c:pt>
                <c:pt idx="336">
                  <c:v>-0.20499999999999999</c:v>
                </c:pt>
                <c:pt idx="337">
                  <c:v>6.8000000000000005E-2</c:v>
                </c:pt>
                <c:pt idx="338">
                  <c:v>6.8000000000000005E-2</c:v>
                </c:pt>
                <c:pt idx="339">
                  <c:v>-1E-3</c:v>
                </c:pt>
                <c:pt idx="340">
                  <c:v>6.8000000000000005E-2</c:v>
                </c:pt>
                <c:pt idx="341">
                  <c:v>6.8000000000000005E-2</c:v>
                </c:pt>
                <c:pt idx="342">
                  <c:v>-6.9000000000000006E-2</c:v>
                </c:pt>
                <c:pt idx="343">
                  <c:v>-1E-3</c:v>
                </c:pt>
                <c:pt idx="344">
                  <c:v>0.13500000000000001</c:v>
                </c:pt>
                <c:pt idx="345">
                  <c:v>0.27100000000000002</c:v>
                </c:pt>
                <c:pt idx="346">
                  <c:v>-0.13700000000000001</c:v>
                </c:pt>
                <c:pt idx="347">
                  <c:v>0.20300000000000001</c:v>
                </c:pt>
                <c:pt idx="348">
                  <c:v>6.8000000000000005E-2</c:v>
                </c:pt>
                <c:pt idx="349">
                  <c:v>6.8000000000000005E-2</c:v>
                </c:pt>
                <c:pt idx="350">
                  <c:v>6.8000000000000005E-2</c:v>
                </c:pt>
                <c:pt idx="351">
                  <c:v>-1E-3</c:v>
                </c:pt>
                <c:pt idx="352">
                  <c:v>-1E-3</c:v>
                </c:pt>
                <c:pt idx="353">
                  <c:v>0.20300000000000001</c:v>
                </c:pt>
                <c:pt idx="354">
                  <c:v>0.33900000000000002</c:v>
                </c:pt>
                <c:pt idx="355">
                  <c:v>0.40799999999999997</c:v>
                </c:pt>
                <c:pt idx="356">
                  <c:v>6.8000000000000005E-2</c:v>
                </c:pt>
                <c:pt idx="357">
                  <c:v>-0.20499999999999999</c:v>
                </c:pt>
                <c:pt idx="358">
                  <c:v>0.20300000000000001</c:v>
                </c:pt>
                <c:pt idx="359">
                  <c:v>0.20300000000000001</c:v>
                </c:pt>
                <c:pt idx="360">
                  <c:v>-1E-3</c:v>
                </c:pt>
                <c:pt idx="361">
                  <c:v>-6.9000000000000006E-2</c:v>
                </c:pt>
                <c:pt idx="362">
                  <c:v>0.27100000000000002</c:v>
                </c:pt>
                <c:pt idx="363">
                  <c:v>0.13500000000000001</c:v>
                </c:pt>
                <c:pt idx="364">
                  <c:v>-6.9000000000000006E-2</c:v>
                </c:pt>
                <c:pt idx="365">
                  <c:v>6.8000000000000005E-2</c:v>
                </c:pt>
                <c:pt idx="366">
                  <c:v>-6.9000000000000006E-2</c:v>
                </c:pt>
                <c:pt idx="367">
                  <c:v>6.8000000000000005E-2</c:v>
                </c:pt>
                <c:pt idx="368">
                  <c:v>0.27100000000000002</c:v>
                </c:pt>
                <c:pt idx="369">
                  <c:v>0.20300000000000001</c:v>
                </c:pt>
                <c:pt idx="370">
                  <c:v>0.61099999999999999</c:v>
                </c:pt>
                <c:pt idx="371">
                  <c:v>0.20300000000000001</c:v>
                </c:pt>
                <c:pt idx="372">
                  <c:v>0.27100000000000002</c:v>
                </c:pt>
                <c:pt idx="373">
                  <c:v>0.13500000000000001</c:v>
                </c:pt>
                <c:pt idx="374">
                  <c:v>-6.9000000000000006E-2</c:v>
                </c:pt>
                <c:pt idx="375">
                  <c:v>0.20300000000000001</c:v>
                </c:pt>
                <c:pt idx="376">
                  <c:v>0.47499999999999998</c:v>
                </c:pt>
                <c:pt idx="377">
                  <c:v>-6.9000000000000006E-2</c:v>
                </c:pt>
                <c:pt idx="378">
                  <c:v>0.20300000000000001</c:v>
                </c:pt>
                <c:pt idx="379">
                  <c:v>0.20300000000000001</c:v>
                </c:pt>
                <c:pt idx="380">
                  <c:v>0.20300000000000001</c:v>
                </c:pt>
                <c:pt idx="381">
                  <c:v>6.8000000000000005E-2</c:v>
                </c:pt>
                <c:pt idx="382">
                  <c:v>0.13500000000000001</c:v>
                </c:pt>
                <c:pt idx="383">
                  <c:v>-0.20499999999999999</c:v>
                </c:pt>
                <c:pt idx="384">
                  <c:v>0.20300000000000001</c:v>
                </c:pt>
                <c:pt idx="385">
                  <c:v>-6.9000000000000006E-2</c:v>
                </c:pt>
                <c:pt idx="386">
                  <c:v>6.8000000000000005E-2</c:v>
                </c:pt>
                <c:pt idx="387">
                  <c:v>-0.13700000000000001</c:v>
                </c:pt>
                <c:pt idx="388">
                  <c:v>0.13500000000000001</c:v>
                </c:pt>
                <c:pt idx="389">
                  <c:v>0.33900000000000002</c:v>
                </c:pt>
                <c:pt idx="390">
                  <c:v>0.13500000000000001</c:v>
                </c:pt>
                <c:pt idx="391">
                  <c:v>0.20300000000000001</c:v>
                </c:pt>
                <c:pt idx="392">
                  <c:v>-6.9000000000000006E-2</c:v>
                </c:pt>
                <c:pt idx="393">
                  <c:v>0.13500000000000001</c:v>
                </c:pt>
                <c:pt idx="394">
                  <c:v>0.13500000000000001</c:v>
                </c:pt>
                <c:pt idx="395">
                  <c:v>-6.9000000000000006E-2</c:v>
                </c:pt>
                <c:pt idx="396">
                  <c:v>6.8000000000000005E-2</c:v>
                </c:pt>
                <c:pt idx="397">
                  <c:v>0.27100000000000002</c:v>
                </c:pt>
                <c:pt idx="398">
                  <c:v>0.20300000000000001</c:v>
                </c:pt>
                <c:pt idx="399">
                  <c:v>0.27100000000000002</c:v>
                </c:pt>
                <c:pt idx="400">
                  <c:v>-6.9000000000000006E-2</c:v>
                </c:pt>
                <c:pt idx="401">
                  <c:v>0.27100000000000002</c:v>
                </c:pt>
                <c:pt idx="402">
                  <c:v>0.27100000000000002</c:v>
                </c:pt>
                <c:pt idx="403">
                  <c:v>6.8000000000000005E-2</c:v>
                </c:pt>
                <c:pt idx="404">
                  <c:v>6.8000000000000005E-2</c:v>
                </c:pt>
                <c:pt idx="405">
                  <c:v>0.33900000000000002</c:v>
                </c:pt>
                <c:pt idx="406">
                  <c:v>0.13500000000000001</c:v>
                </c:pt>
                <c:pt idx="407">
                  <c:v>0.47499999999999998</c:v>
                </c:pt>
                <c:pt idx="408">
                  <c:v>0.20300000000000001</c:v>
                </c:pt>
                <c:pt idx="409">
                  <c:v>-1E-3</c:v>
                </c:pt>
                <c:pt idx="410">
                  <c:v>0.33900000000000002</c:v>
                </c:pt>
                <c:pt idx="411">
                  <c:v>0.27100000000000002</c:v>
                </c:pt>
                <c:pt idx="412">
                  <c:v>6.8000000000000005E-2</c:v>
                </c:pt>
                <c:pt idx="413">
                  <c:v>6.8000000000000005E-2</c:v>
                </c:pt>
                <c:pt idx="414">
                  <c:v>0.13500000000000001</c:v>
                </c:pt>
                <c:pt idx="415">
                  <c:v>0.27100000000000002</c:v>
                </c:pt>
                <c:pt idx="416">
                  <c:v>-1E-3</c:v>
                </c:pt>
                <c:pt idx="417">
                  <c:v>0.13500000000000001</c:v>
                </c:pt>
                <c:pt idx="418">
                  <c:v>6.8000000000000005E-2</c:v>
                </c:pt>
                <c:pt idx="419">
                  <c:v>0.13500000000000001</c:v>
                </c:pt>
                <c:pt idx="420">
                  <c:v>0.33900000000000002</c:v>
                </c:pt>
                <c:pt idx="421">
                  <c:v>0.20300000000000001</c:v>
                </c:pt>
                <c:pt idx="422">
                  <c:v>0.33900000000000002</c:v>
                </c:pt>
                <c:pt idx="423">
                  <c:v>0.47499999999999998</c:v>
                </c:pt>
                <c:pt idx="424">
                  <c:v>-0.27200000000000002</c:v>
                </c:pt>
                <c:pt idx="425">
                  <c:v>0.27100000000000002</c:v>
                </c:pt>
                <c:pt idx="426">
                  <c:v>0.33900000000000002</c:v>
                </c:pt>
                <c:pt idx="427">
                  <c:v>-1E-3</c:v>
                </c:pt>
                <c:pt idx="428">
                  <c:v>0.33900000000000002</c:v>
                </c:pt>
                <c:pt idx="429">
                  <c:v>0.33900000000000002</c:v>
                </c:pt>
                <c:pt idx="430">
                  <c:v>0.47499999999999998</c:v>
                </c:pt>
                <c:pt idx="431">
                  <c:v>0.13500000000000001</c:v>
                </c:pt>
                <c:pt idx="432">
                  <c:v>-0.13700000000000001</c:v>
                </c:pt>
                <c:pt idx="433">
                  <c:v>0.13500000000000001</c:v>
                </c:pt>
                <c:pt idx="434">
                  <c:v>-0.13700000000000001</c:v>
                </c:pt>
                <c:pt idx="435">
                  <c:v>0.40799999999999997</c:v>
                </c:pt>
                <c:pt idx="436">
                  <c:v>0.20300000000000001</c:v>
                </c:pt>
                <c:pt idx="437">
                  <c:v>-0.13700000000000001</c:v>
                </c:pt>
                <c:pt idx="438">
                  <c:v>-1E-3</c:v>
                </c:pt>
                <c:pt idx="439">
                  <c:v>0.13500000000000001</c:v>
                </c:pt>
                <c:pt idx="440">
                  <c:v>-1E-3</c:v>
                </c:pt>
                <c:pt idx="441">
                  <c:v>0.40799999999999997</c:v>
                </c:pt>
                <c:pt idx="442">
                  <c:v>0.20300000000000001</c:v>
                </c:pt>
                <c:pt idx="443">
                  <c:v>0.20300000000000001</c:v>
                </c:pt>
                <c:pt idx="444">
                  <c:v>-1E-3</c:v>
                </c:pt>
                <c:pt idx="445">
                  <c:v>0.20300000000000001</c:v>
                </c:pt>
                <c:pt idx="446">
                  <c:v>-6.9000000000000006E-2</c:v>
                </c:pt>
                <c:pt idx="447">
                  <c:v>0.20300000000000001</c:v>
                </c:pt>
                <c:pt idx="448">
                  <c:v>0.13500000000000001</c:v>
                </c:pt>
                <c:pt idx="449">
                  <c:v>-1E-3</c:v>
                </c:pt>
                <c:pt idx="450">
                  <c:v>-0.20499999999999999</c:v>
                </c:pt>
                <c:pt idx="451">
                  <c:v>-1E-3</c:v>
                </c:pt>
                <c:pt idx="452">
                  <c:v>-1E-3</c:v>
                </c:pt>
                <c:pt idx="453">
                  <c:v>-1E-3</c:v>
                </c:pt>
                <c:pt idx="454">
                  <c:v>0.13500000000000001</c:v>
                </c:pt>
                <c:pt idx="455">
                  <c:v>-0.20499999999999999</c:v>
                </c:pt>
                <c:pt idx="456">
                  <c:v>6.8000000000000005E-2</c:v>
                </c:pt>
                <c:pt idx="457">
                  <c:v>0.33900000000000002</c:v>
                </c:pt>
                <c:pt idx="458">
                  <c:v>-0.13700000000000001</c:v>
                </c:pt>
                <c:pt idx="459">
                  <c:v>0.20300000000000001</c:v>
                </c:pt>
                <c:pt idx="460">
                  <c:v>-0.20499999999999999</c:v>
                </c:pt>
                <c:pt idx="461">
                  <c:v>0.20300000000000001</c:v>
                </c:pt>
                <c:pt idx="462">
                  <c:v>0.13500000000000001</c:v>
                </c:pt>
                <c:pt idx="463">
                  <c:v>-6.9000000000000006E-2</c:v>
                </c:pt>
                <c:pt idx="464">
                  <c:v>-0.13700000000000001</c:v>
                </c:pt>
                <c:pt idx="465">
                  <c:v>0.27100000000000002</c:v>
                </c:pt>
                <c:pt idx="466">
                  <c:v>-6.9000000000000006E-2</c:v>
                </c:pt>
                <c:pt idx="467">
                  <c:v>6.8000000000000005E-2</c:v>
                </c:pt>
                <c:pt idx="468">
                  <c:v>0.13500000000000001</c:v>
                </c:pt>
                <c:pt idx="469">
                  <c:v>0.20300000000000001</c:v>
                </c:pt>
                <c:pt idx="470">
                  <c:v>0.27100000000000002</c:v>
                </c:pt>
                <c:pt idx="471">
                  <c:v>6.8000000000000005E-2</c:v>
                </c:pt>
                <c:pt idx="472">
                  <c:v>0.13500000000000001</c:v>
                </c:pt>
                <c:pt idx="473">
                  <c:v>0.13500000000000001</c:v>
                </c:pt>
                <c:pt idx="474">
                  <c:v>0.40799999999999997</c:v>
                </c:pt>
                <c:pt idx="475">
                  <c:v>0.13500000000000001</c:v>
                </c:pt>
                <c:pt idx="476">
                  <c:v>-1E-3</c:v>
                </c:pt>
                <c:pt idx="477">
                  <c:v>0.27100000000000002</c:v>
                </c:pt>
                <c:pt idx="478">
                  <c:v>6.8000000000000005E-2</c:v>
                </c:pt>
                <c:pt idx="479">
                  <c:v>0.20300000000000001</c:v>
                </c:pt>
                <c:pt idx="480">
                  <c:v>-1E-3</c:v>
                </c:pt>
                <c:pt idx="481">
                  <c:v>0.54300000000000004</c:v>
                </c:pt>
                <c:pt idx="482">
                  <c:v>6.8000000000000005E-2</c:v>
                </c:pt>
                <c:pt idx="483">
                  <c:v>6.8000000000000005E-2</c:v>
                </c:pt>
                <c:pt idx="484">
                  <c:v>-1E-3</c:v>
                </c:pt>
                <c:pt idx="485">
                  <c:v>6.8000000000000005E-2</c:v>
                </c:pt>
                <c:pt idx="486">
                  <c:v>-6.9000000000000006E-2</c:v>
                </c:pt>
                <c:pt idx="487">
                  <c:v>0.13500000000000001</c:v>
                </c:pt>
                <c:pt idx="488">
                  <c:v>0.13500000000000001</c:v>
                </c:pt>
                <c:pt idx="489">
                  <c:v>-6.9000000000000006E-2</c:v>
                </c:pt>
                <c:pt idx="490">
                  <c:v>-0.27200000000000002</c:v>
                </c:pt>
                <c:pt idx="491">
                  <c:v>0.27100000000000002</c:v>
                </c:pt>
                <c:pt idx="492">
                  <c:v>-0.47699999999999998</c:v>
                </c:pt>
                <c:pt idx="493">
                  <c:v>0.33900000000000002</c:v>
                </c:pt>
                <c:pt idx="494">
                  <c:v>-6.9000000000000006E-2</c:v>
                </c:pt>
                <c:pt idx="495">
                  <c:v>-0.13700000000000001</c:v>
                </c:pt>
                <c:pt idx="496">
                  <c:v>-1E-3</c:v>
                </c:pt>
                <c:pt idx="497">
                  <c:v>-6.9000000000000006E-2</c:v>
                </c:pt>
                <c:pt idx="498">
                  <c:v>0.20300000000000001</c:v>
                </c:pt>
                <c:pt idx="499">
                  <c:v>-1E-3</c:v>
                </c:pt>
                <c:pt idx="500">
                  <c:v>0.27100000000000002</c:v>
                </c:pt>
                <c:pt idx="501">
                  <c:v>0.13500000000000001</c:v>
                </c:pt>
                <c:pt idx="502">
                  <c:v>0.47499999999999998</c:v>
                </c:pt>
                <c:pt idx="503">
                  <c:v>0.33900000000000002</c:v>
                </c:pt>
                <c:pt idx="504">
                  <c:v>0.20300000000000001</c:v>
                </c:pt>
                <c:pt idx="505">
                  <c:v>-0.13700000000000001</c:v>
                </c:pt>
                <c:pt idx="506">
                  <c:v>-0.13700000000000001</c:v>
                </c:pt>
                <c:pt idx="507">
                  <c:v>6.8000000000000005E-2</c:v>
                </c:pt>
                <c:pt idx="508">
                  <c:v>0.27100000000000002</c:v>
                </c:pt>
                <c:pt idx="509">
                  <c:v>6.8000000000000005E-2</c:v>
                </c:pt>
                <c:pt idx="510">
                  <c:v>0.20300000000000001</c:v>
                </c:pt>
                <c:pt idx="511">
                  <c:v>0.33900000000000002</c:v>
                </c:pt>
                <c:pt idx="512">
                  <c:v>6.8000000000000005E-2</c:v>
                </c:pt>
                <c:pt idx="513">
                  <c:v>-1E-3</c:v>
                </c:pt>
                <c:pt idx="514">
                  <c:v>0.13500000000000001</c:v>
                </c:pt>
                <c:pt idx="515">
                  <c:v>0.20300000000000001</c:v>
                </c:pt>
                <c:pt idx="516">
                  <c:v>-6.9000000000000006E-2</c:v>
                </c:pt>
                <c:pt idx="517">
                  <c:v>0.40799999999999997</c:v>
                </c:pt>
                <c:pt idx="518">
                  <c:v>0.20300000000000001</c:v>
                </c:pt>
                <c:pt idx="519">
                  <c:v>-1E-3</c:v>
                </c:pt>
                <c:pt idx="520">
                  <c:v>0.47499999999999998</c:v>
                </c:pt>
                <c:pt idx="521">
                  <c:v>6.8000000000000005E-2</c:v>
                </c:pt>
                <c:pt idx="522">
                  <c:v>-1E-3</c:v>
                </c:pt>
                <c:pt idx="523">
                  <c:v>0.20300000000000001</c:v>
                </c:pt>
                <c:pt idx="524">
                  <c:v>0.13500000000000001</c:v>
                </c:pt>
                <c:pt idx="525">
                  <c:v>0.27100000000000002</c:v>
                </c:pt>
                <c:pt idx="526">
                  <c:v>0.27100000000000002</c:v>
                </c:pt>
                <c:pt idx="527">
                  <c:v>0.13500000000000001</c:v>
                </c:pt>
                <c:pt idx="528">
                  <c:v>6.8000000000000005E-2</c:v>
                </c:pt>
                <c:pt idx="529">
                  <c:v>6.8000000000000005E-2</c:v>
                </c:pt>
                <c:pt idx="530">
                  <c:v>-0.20499999999999999</c:v>
                </c:pt>
                <c:pt idx="531">
                  <c:v>0.13500000000000001</c:v>
                </c:pt>
                <c:pt idx="532">
                  <c:v>0.27100000000000002</c:v>
                </c:pt>
                <c:pt idx="533">
                  <c:v>0.81499999999999995</c:v>
                </c:pt>
                <c:pt idx="534">
                  <c:v>0.88300000000000001</c:v>
                </c:pt>
                <c:pt idx="535">
                  <c:v>1.155</c:v>
                </c:pt>
                <c:pt idx="536">
                  <c:v>1.4279999999999999</c:v>
                </c:pt>
                <c:pt idx="537">
                  <c:v>1.359</c:v>
                </c:pt>
                <c:pt idx="538">
                  <c:v>2.1080000000000001</c:v>
                </c:pt>
                <c:pt idx="539">
                  <c:v>2.7879999999999998</c:v>
                </c:pt>
                <c:pt idx="540">
                  <c:v>3.399</c:v>
                </c:pt>
                <c:pt idx="541">
                  <c:v>3.6709999999999998</c:v>
                </c:pt>
                <c:pt idx="542">
                  <c:v>4.4880000000000004</c:v>
                </c:pt>
                <c:pt idx="543">
                  <c:v>4.9630000000000001</c:v>
                </c:pt>
                <c:pt idx="544">
                  <c:v>5.4390000000000001</c:v>
                </c:pt>
                <c:pt idx="545">
                  <c:v>6.1879999999999997</c:v>
                </c:pt>
                <c:pt idx="546">
                  <c:v>6.7990000000000004</c:v>
                </c:pt>
                <c:pt idx="547">
                  <c:v>7.343</c:v>
                </c:pt>
                <c:pt idx="548">
                  <c:v>8.3629999999999995</c:v>
                </c:pt>
                <c:pt idx="549">
                  <c:v>8.6349999999999998</c:v>
                </c:pt>
                <c:pt idx="550">
                  <c:v>9.7910000000000004</c:v>
                </c:pt>
                <c:pt idx="551">
                  <c:v>10.403</c:v>
                </c:pt>
                <c:pt idx="552">
                  <c:v>11.083</c:v>
                </c:pt>
                <c:pt idx="553">
                  <c:v>11.968</c:v>
                </c:pt>
                <c:pt idx="554">
                  <c:v>12.577999999999999</c:v>
                </c:pt>
                <c:pt idx="555">
                  <c:v>13.462999999999999</c:v>
                </c:pt>
                <c:pt idx="556">
                  <c:v>14.074999999999999</c:v>
                </c:pt>
                <c:pt idx="557">
                  <c:v>14.686999999999999</c:v>
                </c:pt>
                <c:pt idx="558">
                  <c:v>15.707000000000001</c:v>
                </c:pt>
                <c:pt idx="559">
                  <c:v>16.454999999999998</c:v>
                </c:pt>
                <c:pt idx="560">
                  <c:v>17.271000000000001</c:v>
                </c:pt>
                <c:pt idx="561">
                  <c:v>18.018000000000001</c:v>
                </c:pt>
                <c:pt idx="562">
                  <c:v>18.427</c:v>
                </c:pt>
                <c:pt idx="563">
                  <c:v>19.446999999999999</c:v>
                </c:pt>
                <c:pt idx="564">
                  <c:v>20.263000000000002</c:v>
                </c:pt>
                <c:pt idx="565">
                  <c:v>21.350999999999999</c:v>
                </c:pt>
                <c:pt idx="566">
                  <c:v>22.303000000000001</c:v>
                </c:pt>
                <c:pt idx="567">
                  <c:v>22.710999999999999</c:v>
                </c:pt>
                <c:pt idx="568">
                  <c:v>23.457999999999998</c:v>
                </c:pt>
                <c:pt idx="569">
                  <c:v>24.683</c:v>
                </c:pt>
                <c:pt idx="570">
                  <c:v>25.023</c:v>
                </c:pt>
                <c:pt idx="571">
                  <c:v>26.247</c:v>
                </c:pt>
                <c:pt idx="572">
                  <c:v>26.587</c:v>
                </c:pt>
                <c:pt idx="573">
                  <c:v>27.13</c:v>
                </c:pt>
                <c:pt idx="574">
                  <c:v>28.422999999999998</c:v>
                </c:pt>
                <c:pt idx="575">
                  <c:v>29.238</c:v>
                </c:pt>
                <c:pt idx="576">
                  <c:v>29.51</c:v>
                </c:pt>
                <c:pt idx="577">
                  <c:v>30.463000000000001</c:v>
                </c:pt>
                <c:pt idx="578">
                  <c:v>31.55</c:v>
                </c:pt>
                <c:pt idx="579">
                  <c:v>32.229999999999997</c:v>
                </c:pt>
                <c:pt idx="580">
                  <c:v>32.774999999999999</c:v>
                </c:pt>
                <c:pt idx="581">
                  <c:v>33.795000000000002</c:v>
                </c:pt>
                <c:pt idx="582">
                  <c:v>34.542999999999999</c:v>
                </c:pt>
                <c:pt idx="583">
                  <c:v>35.155000000000001</c:v>
                </c:pt>
                <c:pt idx="584">
                  <c:v>35.835000000000001</c:v>
                </c:pt>
                <c:pt idx="585">
                  <c:v>36.718000000000004</c:v>
                </c:pt>
                <c:pt idx="586">
                  <c:v>37.195</c:v>
                </c:pt>
                <c:pt idx="587">
                  <c:v>38.01</c:v>
                </c:pt>
                <c:pt idx="588">
                  <c:v>38.826999999999998</c:v>
                </c:pt>
                <c:pt idx="589">
                  <c:v>39.575000000000003</c:v>
                </c:pt>
                <c:pt idx="590">
                  <c:v>39.847000000000001</c:v>
                </c:pt>
                <c:pt idx="591">
                  <c:v>40.527000000000001</c:v>
                </c:pt>
                <c:pt idx="592">
                  <c:v>41.137999999999998</c:v>
                </c:pt>
                <c:pt idx="593">
                  <c:v>42.158000000000001</c:v>
                </c:pt>
                <c:pt idx="594">
                  <c:v>42.906999999999996</c:v>
                </c:pt>
                <c:pt idx="595">
                  <c:v>43.518000000000001</c:v>
                </c:pt>
                <c:pt idx="596">
                  <c:v>44.267000000000003</c:v>
                </c:pt>
                <c:pt idx="597">
                  <c:v>44.947000000000003</c:v>
                </c:pt>
                <c:pt idx="598">
                  <c:v>45.015000000000001</c:v>
                </c:pt>
                <c:pt idx="599">
                  <c:v>45.762</c:v>
                </c:pt>
                <c:pt idx="600">
                  <c:v>46.646999999999998</c:v>
                </c:pt>
                <c:pt idx="601">
                  <c:v>47.122</c:v>
                </c:pt>
                <c:pt idx="602">
                  <c:v>47.87</c:v>
                </c:pt>
                <c:pt idx="603">
                  <c:v>48.21</c:v>
                </c:pt>
                <c:pt idx="604">
                  <c:v>48.957999999999998</c:v>
                </c:pt>
                <c:pt idx="605">
                  <c:v>49.841999999999999</c:v>
                </c:pt>
                <c:pt idx="606">
                  <c:v>49.978000000000002</c:v>
                </c:pt>
                <c:pt idx="607">
                  <c:v>50.521999999999998</c:v>
                </c:pt>
                <c:pt idx="608">
                  <c:v>51.27</c:v>
                </c:pt>
                <c:pt idx="609">
                  <c:v>52.357999999999997</c:v>
                </c:pt>
                <c:pt idx="610">
                  <c:v>52.427</c:v>
                </c:pt>
                <c:pt idx="611">
                  <c:v>52.698</c:v>
                </c:pt>
                <c:pt idx="612">
                  <c:v>53.447000000000003</c:v>
                </c:pt>
                <c:pt idx="613">
                  <c:v>54.262</c:v>
                </c:pt>
                <c:pt idx="614">
                  <c:v>54.807000000000002</c:v>
                </c:pt>
                <c:pt idx="615">
                  <c:v>55.281999999999996</c:v>
                </c:pt>
                <c:pt idx="616">
                  <c:v>55.826999999999998</c:v>
                </c:pt>
                <c:pt idx="617">
                  <c:v>56.234000000000002</c:v>
                </c:pt>
                <c:pt idx="618">
                  <c:v>56.914000000000001</c:v>
                </c:pt>
                <c:pt idx="619">
                  <c:v>57.594000000000001</c:v>
                </c:pt>
                <c:pt idx="620">
                  <c:v>57.933999999999997</c:v>
                </c:pt>
                <c:pt idx="621">
                  <c:v>58.341999999999999</c:v>
                </c:pt>
                <c:pt idx="622">
                  <c:v>59.021999999999998</c:v>
                </c:pt>
                <c:pt idx="623">
                  <c:v>59.838000000000001</c:v>
                </c:pt>
                <c:pt idx="624">
                  <c:v>59.906999999999996</c:v>
                </c:pt>
                <c:pt idx="625">
                  <c:v>60.45</c:v>
                </c:pt>
                <c:pt idx="626">
                  <c:v>60.994</c:v>
                </c:pt>
                <c:pt idx="627">
                  <c:v>61.402000000000001</c:v>
                </c:pt>
                <c:pt idx="628">
                  <c:v>62.218000000000004</c:v>
                </c:pt>
                <c:pt idx="629">
                  <c:v>62.762</c:v>
                </c:pt>
                <c:pt idx="630">
                  <c:v>62.762</c:v>
                </c:pt>
                <c:pt idx="631">
                  <c:v>63.576999999999998</c:v>
                </c:pt>
                <c:pt idx="632">
                  <c:v>63.917000000000002</c:v>
                </c:pt>
                <c:pt idx="633">
                  <c:v>64.394000000000005</c:v>
                </c:pt>
                <c:pt idx="634">
                  <c:v>65.007000000000005</c:v>
                </c:pt>
                <c:pt idx="635">
                  <c:v>65.209999999999994</c:v>
                </c:pt>
                <c:pt idx="636">
                  <c:v>65.754000000000005</c:v>
                </c:pt>
                <c:pt idx="637">
                  <c:v>65.754000000000005</c:v>
                </c:pt>
                <c:pt idx="638">
                  <c:v>66.23</c:v>
                </c:pt>
                <c:pt idx="639">
                  <c:v>66.637</c:v>
                </c:pt>
                <c:pt idx="640">
                  <c:v>67.182000000000002</c:v>
                </c:pt>
                <c:pt idx="641">
                  <c:v>67.182000000000002</c:v>
                </c:pt>
                <c:pt idx="642">
                  <c:v>66.91</c:v>
                </c:pt>
                <c:pt idx="643">
                  <c:v>67.59</c:v>
                </c:pt>
                <c:pt idx="644">
                  <c:v>67.59</c:v>
                </c:pt>
                <c:pt idx="645">
                  <c:v>67.997</c:v>
                </c:pt>
                <c:pt idx="646">
                  <c:v>68.134</c:v>
                </c:pt>
                <c:pt idx="647">
                  <c:v>68.066000000000003</c:v>
                </c:pt>
                <c:pt idx="648">
                  <c:v>67.725999999999999</c:v>
                </c:pt>
                <c:pt idx="649">
                  <c:v>68.134</c:v>
                </c:pt>
                <c:pt idx="650">
                  <c:v>68.337000000000003</c:v>
                </c:pt>
                <c:pt idx="651">
                  <c:v>68.474000000000004</c:v>
                </c:pt>
                <c:pt idx="652">
                  <c:v>68.406000000000006</c:v>
                </c:pt>
                <c:pt idx="653">
                  <c:v>68.61</c:v>
                </c:pt>
                <c:pt idx="654">
                  <c:v>68.27</c:v>
                </c:pt>
                <c:pt idx="655">
                  <c:v>68.406000000000006</c:v>
                </c:pt>
                <c:pt idx="656">
                  <c:v>68.201999999999998</c:v>
                </c:pt>
                <c:pt idx="657">
                  <c:v>68.201999999999998</c:v>
                </c:pt>
                <c:pt idx="658">
                  <c:v>68.61</c:v>
                </c:pt>
                <c:pt idx="659">
                  <c:v>68.201999999999998</c:v>
                </c:pt>
                <c:pt idx="660">
                  <c:v>67.861999999999995</c:v>
                </c:pt>
                <c:pt idx="661">
                  <c:v>67.930000000000007</c:v>
                </c:pt>
                <c:pt idx="662">
                  <c:v>67.793999999999997</c:v>
                </c:pt>
                <c:pt idx="663">
                  <c:v>67.861999999999995</c:v>
                </c:pt>
                <c:pt idx="664">
                  <c:v>67.59</c:v>
                </c:pt>
                <c:pt idx="665">
                  <c:v>67.793999999999997</c:v>
                </c:pt>
                <c:pt idx="666">
                  <c:v>67.316999999999993</c:v>
                </c:pt>
                <c:pt idx="667">
                  <c:v>67.385999999999996</c:v>
                </c:pt>
                <c:pt idx="668">
                  <c:v>67.182000000000002</c:v>
                </c:pt>
                <c:pt idx="669">
                  <c:v>67.046000000000006</c:v>
                </c:pt>
                <c:pt idx="670">
                  <c:v>66.637</c:v>
                </c:pt>
                <c:pt idx="671">
                  <c:v>66.91</c:v>
                </c:pt>
                <c:pt idx="672">
                  <c:v>66.501999999999995</c:v>
                </c:pt>
                <c:pt idx="673">
                  <c:v>66.162000000000006</c:v>
                </c:pt>
                <c:pt idx="674">
                  <c:v>66.501999999999995</c:v>
                </c:pt>
                <c:pt idx="675">
                  <c:v>66.23</c:v>
                </c:pt>
                <c:pt idx="676">
                  <c:v>65.754000000000005</c:v>
                </c:pt>
                <c:pt idx="677">
                  <c:v>66.025999999999996</c:v>
                </c:pt>
                <c:pt idx="678">
                  <c:v>65.55</c:v>
                </c:pt>
                <c:pt idx="679">
                  <c:v>65.55</c:v>
                </c:pt>
                <c:pt idx="680">
                  <c:v>65.277000000000001</c:v>
                </c:pt>
                <c:pt idx="681">
                  <c:v>65.007000000000005</c:v>
                </c:pt>
                <c:pt idx="682">
                  <c:v>64.87</c:v>
                </c:pt>
                <c:pt idx="683">
                  <c:v>65.277000000000001</c:v>
                </c:pt>
                <c:pt idx="684">
                  <c:v>65.007000000000005</c:v>
                </c:pt>
                <c:pt idx="685">
                  <c:v>64.936999999999998</c:v>
                </c:pt>
                <c:pt idx="686">
                  <c:v>64.802000000000007</c:v>
                </c:pt>
                <c:pt idx="687">
                  <c:v>64.596999999999994</c:v>
                </c:pt>
                <c:pt idx="688">
                  <c:v>64.733999999999995</c:v>
                </c:pt>
                <c:pt idx="689">
                  <c:v>64.87</c:v>
                </c:pt>
                <c:pt idx="690">
                  <c:v>64.596999999999994</c:v>
                </c:pt>
                <c:pt idx="691">
                  <c:v>64.667000000000002</c:v>
                </c:pt>
                <c:pt idx="692">
                  <c:v>64.936999999999998</c:v>
                </c:pt>
                <c:pt idx="693">
                  <c:v>64.462000000000003</c:v>
                </c:pt>
                <c:pt idx="694">
                  <c:v>64.802000000000007</c:v>
                </c:pt>
                <c:pt idx="695">
                  <c:v>64.596999999999994</c:v>
                </c:pt>
                <c:pt idx="696">
                  <c:v>64.936999999999998</c:v>
                </c:pt>
                <c:pt idx="697">
                  <c:v>64.53</c:v>
                </c:pt>
                <c:pt idx="698">
                  <c:v>64.53</c:v>
                </c:pt>
                <c:pt idx="699">
                  <c:v>64.802000000000007</c:v>
                </c:pt>
                <c:pt idx="700">
                  <c:v>64.802000000000007</c:v>
                </c:pt>
                <c:pt idx="701">
                  <c:v>64.802000000000007</c:v>
                </c:pt>
                <c:pt idx="702">
                  <c:v>64.802000000000007</c:v>
                </c:pt>
                <c:pt idx="703">
                  <c:v>64.733999999999995</c:v>
                </c:pt>
                <c:pt idx="704">
                  <c:v>64.87</c:v>
                </c:pt>
                <c:pt idx="705">
                  <c:v>65.007000000000005</c:v>
                </c:pt>
                <c:pt idx="706">
                  <c:v>64.802000000000007</c:v>
                </c:pt>
                <c:pt idx="707">
                  <c:v>65.346999999999994</c:v>
                </c:pt>
                <c:pt idx="708">
                  <c:v>65.277000000000001</c:v>
                </c:pt>
                <c:pt idx="709">
                  <c:v>65.346999999999994</c:v>
                </c:pt>
                <c:pt idx="710">
                  <c:v>65.414000000000001</c:v>
                </c:pt>
                <c:pt idx="711">
                  <c:v>65.55</c:v>
                </c:pt>
                <c:pt idx="712">
                  <c:v>65.822000000000003</c:v>
                </c:pt>
                <c:pt idx="713">
                  <c:v>65.754000000000005</c:v>
                </c:pt>
                <c:pt idx="714">
                  <c:v>66.162000000000006</c:v>
                </c:pt>
                <c:pt idx="715">
                  <c:v>65.822000000000003</c:v>
                </c:pt>
                <c:pt idx="716">
                  <c:v>65.956999999999994</c:v>
                </c:pt>
                <c:pt idx="717">
                  <c:v>66.23</c:v>
                </c:pt>
                <c:pt idx="718">
                  <c:v>65.822000000000003</c:v>
                </c:pt>
                <c:pt idx="719">
                  <c:v>66.093999999999994</c:v>
                </c:pt>
                <c:pt idx="720">
                  <c:v>66.23</c:v>
                </c:pt>
                <c:pt idx="721">
                  <c:v>66.366</c:v>
                </c:pt>
                <c:pt idx="722">
                  <c:v>66.23</c:v>
                </c:pt>
                <c:pt idx="723">
                  <c:v>66.501999999999995</c:v>
                </c:pt>
                <c:pt idx="724">
                  <c:v>66.025999999999996</c:v>
                </c:pt>
                <c:pt idx="725">
                  <c:v>66.366</c:v>
                </c:pt>
                <c:pt idx="726">
                  <c:v>66.433999999999997</c:v>
                </c:pt>
                <c:pt idx="727">
                  <c:v>66.296999999999997</c:v>
                </c:pt>
                <c:pt idx="728">
                  <c:v>66.162000000000006</c:v>
                </c:pt>
                <c:pt idx="729">
                  <c:v>66.093999999999994</c:v>
                </c:pt>
                <c:pt idx="730">
                  <c:v>66.433999999999997</c:v>
                </c:pt>
                <c:pt idx="731">
                  <c:v>66.025999999999996</c:v>
                </c:pt>
                <c:pt idx="732">
                  <c:v>66.025999999999996</c:v>
                </c:pt>
                <c:pt idx="733">
                  <c:v>66.025999999999996</c:v>
                </c:pt>
                <c:pt idx="734">
                  <c:v>66.23</c:v>
                </c:pt>
                <c:pt idx="735">
                  <c:v>65.956999999999994</c:v>
                </c:pt>
                <c:pt idx="736">
                  <c:v>65.89</c:v>
                </c:pt>
                <c:pt idx="737">
                  <c:v>65.617000000000004</c:v>
                </c:pt>
                <c:pt idx="738">
                  <c:v>65.55</c:v>
                </c:pt>
                <c:pt idx="739">
                  <c:v>65.414000000000001</c:v>
                </c:pt>
                <c:pt idx="740">
                  <c:v>65.277000000000001</c:v>
                </c:pt>
                <c:pt idx="741">
                  <c:v>65.073999999999998</c:v>
                </c:pt>
                <c:pt idx="742">
                  <c:v>64.87</c:v>
                </c:pt>
                <c:pt idx="743">
                  <c:v>64.462000000000003</c:v>
                </c:pt>
                <c:pt idx="744">
                  <c:v>64.733999999999995</c:v>
                </c:pt>
                <c:pt idx="745">
                  <c:v>64.257000000000005</c:v>
                </c:pt>
                <c:pt idx="746">
                  <c:v>64.257000000000005</c:v>
                </c:pt>
                <c:pt idx="747">
                  <c:v>63.917000000000002</c:v>
                </c:pt>
                <c:pt idx="748">
                  <c:v>63.987000000000002</c:v>
                </c:pt>
                <c:pt idx="749">
                  <c:v>63.781999999999996</c:v>
                </c:pt>
                <c:pt idx="750">
                  <c:v>63.374000000000002</c:v>
                </c:pt>
                <c:pt idx="751">
                  <c:v>63.374000000000002</c:v>
                </c:pt>
                <c:pt idx="752">
                  <c:v>63.781999999999996</c:v>
                </c:pt>
                <c:pt idx="753">
                  <c:v>63.033999999999999</c:v>
                </c:pt>
                <c:pt idx="754">
                  <c:v>63.17</c:v>
                </c:pt>
                <c:pt idx="755">
                  <c:v>62.694000000000003</c:v>
                </c:pt>
                <c:pt idx="756">
                  <c:v>62.627000000000002</c:v>
                </c:pt>
                <c:pt idx="757">
                  <c:v>62.627000000000002</c:v>
                </c:pt>
                <c:pt idx="758">
                  <c:v>61.947000000000003</c:v>
                </c:pt>
                <c:pt idx="759">
                  <c:v>61.878</c:v>
                </c:pt>
                <c:pt idx="760">
                  <c:v>61.537999999999997</c:v>
                </c:pt>
                <c:pt idx="761">
                  <c:v>61.947000000000003</c:v>
                </c:pt>
                <c:pt idx="762">
                  <c:v>61.13</c:v>
                </c:pt>
                <c:pt idx="763">
                  <c:v>61.334000000000003</c:v>
                </c:pt>
                <c:pt idx="764">
                  <c:v>60.927</c:v>
                </c:pt>
                <c:pt idx="765">
                  <c:v>60.79</c:v>
                </c:pt>
                <c:pt idx="766">
                  <c:v>61.198</c:v>
                </c:pt>
                <c:pt idx="767">
                  <c:v>60.857999999999997</c:v>
                </c:pt>
                <c:pt idx="768">
                  <c:v>60.518000000000001</c:v>
                </c:pt>
                <c:pt idx="769">
                  <c:v>60.314</c:v>
                </c:pt>
                <c:pt idx="770">
                  <c:v>60.247</c:v>
                </c:pt>
                <c:pt idx="771">
                  <c:v>60.247</c:v>
                </c:pt>
                <c:pt idx="772">
                  <c:v>60.042000000000002</c:v>
                </c:pt>
                <c:pt idx="773">
                  <c:v>59.77</c:v>
                </c:pt>
                <c:pt idx="774">
                  <c:v>59.77</c:v>
                </c:pt>
                <c:pt idx="775">
                  <c:v>59.293999999999997</c:v>
                </c:pt>
                <c:pt idx="776">
                  <c:v>59.362000000000002</c:v>
                </c:pt>
                <c:pt idx="777">
                  <c:v>59.497999999999998</c:v>
                </c:pt>
                <c:pt idx="778">
                  <c:v>59.09</c:v>
                </c:pt>
                <c:pt idx="779">
                  <c:v>59.09</c:v>
                </c:pt>
                <c:pt idx="780">
                  <c:v>58.75</c:v>
                </c:pt>
                <c:pt idx="781">
                  <c:v>59.021999999999998</c:v>
                </c:pt>
                <c:pt idx="782">
                  <c:v>58.41</c:v>
                </c:pt>
                <c:pt idx="783">
                  <c:v>58.207000000000001</c:v>
                </c:pt>
                <c:pt idx="784">
                  <c:v>58.817999999999998</c:v>
                </c:pt>
                <c:pt idx="785">
                  <c:v>58.137999999999998</c:v>
                </c:pt>
                <c:pt idx="786">
                  <c:v>58.002000000000002</c:v>
                </c:pt>
                <c:pt idx="787">
                  <c:v>58.41</c:v>
                </c:pt>
                <c:pt idx="788">
                  <c:v>58.137999999999998</c:v>
                </c:pt>
                <c:pt idx="789">
                  <c:v>57.866999999999997</c:v>
                </c:pt>
                <c:pt idx="790">
                  <c:v>57.457999999999998</c:v>
                </c:pt>
                <c:pt idx="791">
                  <c:v>57.661999999999999</c:v>
                </c:pt>
                <c:pt idx="792">
                  <c:v>57.253999999999998</c:v>
                </c:pt>
                <c:pt idx="793">
                  <c:v>57.457999999999998</c:v>
                </c:pt>
                <c:pt idx="794">
                  <c:v>57.253999999999998</c:v>
                </c:pt>
                <c:pt idx="795">
                  <c:v>57.253999999999998</c:v>
                </c:pt>
                <c:pt idx="796">
                  <c:v>56.847000000000001</c:v>
                </c:pt>
                <c:pt idx="797">
                  <c:v>56.981999999999999</c:v>
                </c:pt>
                <c:pt idx="798">
                  <c:v>56.438000000000002</c:v>
                </c:pt>
                <c:pt idx="799">
                  <c:v>56.506999999999998</c:v>
                </c:pt>
                <c:pt idx="800">
                  <c:v>56.167000000000002</c:v>
                </c:pt>
                <c:pt idx="801">
                  <c:v>56.37</c:v>
                </c:pt>
                <c:pt idx="802">
                  <c:v>56.167000000000002</c:v>
                </c:pt>
                <c:pt idx="803">
                  <c:v>56.438000000000002</c:v>
                </c:pt>
                <c:pt idx="804">
                  <c:v>55.962000000000003</c:v>
                </c:pt>
                <c:pt idx="805">
                  <c:v>56.03</c:v>
                </c:pt>
                <c:pt idx="806">
                  <c:v>56.03</c:v>
                </c:pt>
                <c:pt idx="807">
                  <c:v>55.35</c:v>
                </c:pt>
                <c:pt idx="808">
                  <c:v>55.826999999999998</c:v>
                </c:pt>
                <c:pt idx="809">
                  <c:v>55.35</c:v>
                </c:pt>
                <c:pt idx="810">
                  <c:v>55.554000000000002</c:v>
                </c:pt>
                <c:pt idx="811">
                  <c:v>55.487000000000002</c:v>
                </c:pt>
                <c:pt idx="812">
                  <c:v>55.078000000000003</c:v>
                </c:pt>
                <c:pt idx="813">
                  <c:v>55.213999999999999</c:v>
                </c:pt>
                <c:pt idx="814">
                  <c:v>54.874000000000002</c:v>
                </c:pt>
                <c:pt idx="815">
                  <c:v>54.533999999999999</c:v>
                </c:pt>
                <c:pt idx="816">
                  <c:v>54.738</c:v>
                </c:pt>
                <c:pt idx="817">
                  <c:v>54.601999999999997</c:v>
                </c:pt>
                <c:pt idx="818">
                  <c:v>53.99</c:v>
                </c:pt>
                <c:pt idx="819">
                  <c:v>54.398000000000003</c:v>
                </c:pt>
                <c:pt idx="820">
                  <c:v>53.99</c:v>
                </c:pt>
                <c:pt idx="821">
                  <c:v>54.127000000000002</c:v>
                </c:pt>
                <c:pt idx="822">
                  <c:v>53.853999999999999</c:v>
                </c:pt>
                <c:pt idx="823">
                  <c:v>53.65</c:v>
                </c:pt>
                <c:pt idx="824">
                  <c:v>53.31</c:v>
                </c:pt>
                <c:pt idx="825">
                  <c:v>53.173999999999999</c:v>
                </c:pt>
                <c:pt idx="826">
                  <c:v>53.241999999999997</c:v>
                </c:pt>
                <c:pt idx="827">
                  <c:v>53.106999999999999</c:v>
                </c:pt>
                <c:pt idx="828">
                  <c:v>52.767000000000003</c:v>
                </c:pt>
                <c:pt idx="829">
                  <c:v>51.95</c:v>
                </c:pt>
                <c:pt idx="830">
                  <c:v>52.29</c:v>
                </c:pt>
                <c:pt idx="831">
                  <c:v>52.018000000000001</c:v>
                </c:pt>
                <c:pt idx="832">
                  <c:v>52.018000000000001</c:v>
                </c:pt>
                <c:pt idx="833">
                  <c:v>51.95</c:v>
                </c:pt>
                <c:pt idx="834">
                  <c:v>51.61</c:v>
                </c:pt>
                <c:pt idx="835">
                  <c:v>51.542000000000002</c:v>
                </c:pt>
                <c:pt idx="836">
                  <c:v>51.473999999999997</c:v>
                </c:pt>
                <c:pt idx="837">
                  <c:v>51.134999999999998</c:v>
                </c:pt>
                <c:pt idx="838">
                  <c:v>51.201999999999998</c:v>
                </c:pt>
                <c:pt idx="839">
                  <c:v>50.93</c:v>
                </c:pt>
                <c:pt idx="840">
                  <c:v>50.997999999999998</c:v>
                </c:pt>
                <c:pt idx="841">
                  <c:v>50.795000000000002</c:v>
                </c:pt>
                <c:pt idx="842">
                  <c:v>50.317999999999998</c:v>
                </c:pt>
                <c:pt idx="843">
                  <c:v>50.795000000000002</c:v>
                </c:pt>
                <c:pt idx="844">
                  <c:v>50.59</c:v>
                </c:pt>
                <c:pt idx="845">
                  <c:v>50.182000000000002</c:v>
                </c:pt>
                <c:pt idx="846">
                  <c:v>50.046999999999997</c:v>
                </c:pt>
                <c:pt idx="847">
                  <c:v>49.707000000000001</c:v>
                </c:pt>
                <c:pt idx="848">
                  <c:v>49.435000000000002</c:v>
                </c:pt>
                <c:pt idx="849">
                  <c:v>49.23</c:v>
                </c:pt>
                <c:pt idx="850">
                  <c:v>49.23</c:v>
                </c:pt>
                <c:pt idx="851">
                  <c:v>49.23</c:v>
                </c:pt>
                <c:pt idx="852">
                  <c:v>48.957999999999998</c:v>
                </c:pt>
                <c:pt idx="853">
                  <c:v>48.686999999999998</c:v>
                </c:pt>
                <c:pt idx="854">
                  <c:v>48.822000000000003</c:v>
                </c:pt>
                <c:pt idx="855">
                  <c:v>48.55</c:v>
                </c:pt>
                <c:pt idx="856">
                  <c:v>48.277999999999999</c:v>
                </c:pt>
                <c:pt idx="857">
                  <c:v>48.006999999999998</c:v>
                </c:pt>
                <c:pt idx="858">
                  <c:v>47.938000000000002</c:v>
                </c:pt>
                <c:pt idx="859">
                  <c:v>48.414999999999999</c:v>
                </c:pt>
                <c:pt idx="860">
                  <c:v>47.87</c:v>
                </c:pt>
                <c:pt idx="861">
                  <c:v>47.734999999999999</c:v>
                </c:pt>
                <c:pt idx="862">
                  <c:v>47.326999999999998</c:v>
                </c:pt>
                <c:pt idx="863">
                  <c:v>47.326999999999998</c:v>
                </c:pt>
                <c:pt idx="864">
                  <c:v>47.395000000000003</c:v>
                </c:pt>
                <c:pt idx="865">
                  <c:v>47.597999999999999</c:v>
                </c:pt>
                <c:pt idx="866">
                  <c:v>47.395000000000003</c:v>
                </c:pt>
                <c:pt idx="867">
                  <c:v>47.19</c:v>
                </c:pt>
                <c:pt idx="868">
                  <c:v>46.987000000000002</c:v>
                </c:pt>
                <c:pt idx="869">
                  <c:v>47.055</c:v>
                </c:pt>
                <c:pt idx="870">
                  <c:v>46.917999999999999</c:v>
                </c:pt>
                <c:pt idx="871">
                  <c:v>47.19</c:v>
                </c:pt>
                <c:pt idx="872">
                  <c:v>46.715000000000003</c:v>
                </c:pt>
                <c:pt idx="873">
                  <c:v>46.715000000000003</c:v>
                </c:pt>
                <c:pt idx="874">
                  <c:v>46.442</c:v>
                </c:pt>
                <c:pt idx="875">
                  <c:v>46.578000000000003</c:v>
                </c:pt>
                <c:pt idx="876">
                  <c:v>46.17</c:v>
                </c:pt>
                <c:pt idx="877">
                  <c:v>46.51</c:v>
                </c:pt>
                <c:pt idx="878">
                  <c:v>46.17</c:v>
                </c:pt>
                <c:pt idx="879">
                  <c:v>46.101999999999997</c:v>
                </c:pt>
                <c:pt idx="880">
                  <c:v>46.034999999999997</c:v>
                </c:pt>
                <c:pt idx="881">
                  <c:v>46.101999999999997</c:v>
                </c:pt>
                <c:pt idx="882">
                  <c:v>45.83</c:v>
                </c:pt>
                <c:pt idx="883">
                  <c:v>45.695</c:v>
                </c:pt>
                <c:pt idx="884">
                  <c:v>45.558</c:v>
                </c:pt>
                <c:pt idx="885">
                  <c:v>45.286999999999999</c:v>
                </c:pt>
                <c:pt idx="886">
                  <c:v>45.558</c:v>
                </c:pt>
                <c:pt idx="887">
                  <c:v>45.015000000000001</c:v>
                </c:pt>
                <c:pt idx="888">
                  <c:v>45.015000000000001</c:v>
                </c:pt>
                <c:pt idx="889">
                  <c:v>45.082000000000001</c:v>
                </c:pt>
                <c:pt idx="890">
                  <c:v>44.741999999999997</c:v>
                </c:pt>
                <c:pt idx="891">
                  <c:v>44.878</c:v>
                </c:pt>
                <c:pt idx="892">
                  <c:v>44.947000000000003</c:v>
                </c:pt>
                <c:pt idx="893">
                  <c:v>44.537999999999997</c:v>
                </c:pt>
                <c:pt idx="894">
                  <c:v>44.606999999999999</c:v>
                </c:pt>
                <c:pt idx="895">
                  <c:v>44.267000000000003</c:v>
                </c:pt>
                <c:pt idx="896">
                  <c:v>44.537999999999997</c:v>
                </c:pt>
                <c:pt idx="897">
                  <c:v>44.537999999999997</c:v>
                </c:pt>
                <c:pt idx="898">
                  <c:v>44.267000000000003</c:v>
                </c:pt>
                <c:pt idx="899">
                  <c:v>44.335000000000001</c:v>
                </c:pt>
                <c:pt idx="900">
                  <c:v>44.402000000000001</c:v>
                </c:pt>
                <c:pt idx="901">
                  <c:v>44.061999999999998</c:v>
                </c:pt>
                <c:pt idx="902">
                  <c:v>43.857999999999997</c:v>
                </c:pt>
                <c:pt idx="903">
                  <c:v>44.061999999999998</c:v>
                </c:pt>
                <c:pt idx="904">
                  <c:v>43.587000000000003</c:v>
                </c:pt>
                <c:pt idx="905">
                  <c:v>44.335000000000001</c:v>
                </c:pt>
                <c:pt idx="906">
                  <c:v>43.722000000000001</c:v>
                </c:pt>
                <c:pt idx="907">
                  <c:v>43.722000000000001</c:v>
                </c:pt>
                <c:pt idx="908">
                  <c:v>43.655000000000001</c:v>
                </c:pt>
                <c:pt idx="909">
                  <c:v>43.518000000000001</c:v>
                </c:pt>
                <c:pt idx="910">
                  <c:v>43.79</c:v>
                </c:pt>
                <c:pt idx="911">
                  <c:v>43.587000000000003</c:v>
                </c:pt>
                <c:pt idx="912">
                  <c:v>43.722000000000001</c:v>
                </c:pt>
                <c:pt idx="913">
                  <c:v>43.587000000000003</c:v>
                </c:pt>
                <c:pt idx="914">
                  <c:v>43.45</c:v>
                </c:pt>
                <c:pt idx="915">
                  <c:v>43.381999999999998</c:v>
                </c:pt>
                <c:pt idx="916">
                  <c:v>43.518000000000001</c:v>
                </c:pt>
                <c:pt idx="917">
                  <c:v>43.042000000000002</c:v>
                </c:pt>
                <c:pt idx="918">
                  <c:v>42.975000000000001</c:v>
                </c:pt>
                <c:pt idx="919">
                  <c:v>43.314999999999998</c:v>
                </c:pt>
                <c:pt idx="920">
                  <c:v>43.247</c:v>
                </c:pt>
                <c:pt idx="921">
                  <c:v>43.177999999999997</c:v>
                </c:pt>
                <c:pt idx="922">
                  <c:v>42.838000000000001</c:v>
                </c:pt>
                <c:pt idx="923">
                  <c:v>42.906999999999996</c:v>
                </c:pt>
                <c:pt idx="924">
                  <c:v>43.11</c:v>
                </c:pt>
                <c:pt idx="925">
                  <c:v>43.247</c:v>
                </c:pt>
                <c:pt idx="926">
                  <c:v>42.975000000000001</c:v>
                </c:pt>
                <c:pt idx="927">
                  <c:v>43.042000000000002</c:v>
                </c:pt>
                <c:pt idx="928">
                  <c:v>42.975000000000001</c:v>
                </c:pt>
                <c:pt idx="929">
                  <c:v>42.158000000000001</c:v>
                </c:pt>
                <c:pt idx="930">
                  <c:v>42.975000000000001</c:v>
                </c:pt>
                <c:pt idx="931">
                  <c:v>42.77</c:v>
                </c:pt>
                <c:pt idx="932">
                  <c:v>42.43</c:v>
                </c:pt>
                <c:pt idx="933">
                  <c:v>42.634999999999998</c:v>
                </c:pt>
                <c:pt idx="934">
                  <c:v>42.567</c:v>
                </c:pt>
                <c:pt idx="935">
                  <c:v>42.09</c:v>
                </c:pt>
                <c:pt idx="936">
                  <c:v>42.362000000000002</c:v>
                </c:pt>
                <c:pt idx="937">
                  <c:v>42.362000000000002</c:v>
                </c:pt>
                <c:pt idx="938">
                  <c:v>42.634999999999998</c:v>
                </c:pt>
                <c:pt idx="939">
                  <c:v>42.43</c:v>
                </c:pt>
                <c:pt idx="940">
                  <c:v>42.021999999999998</c:v>
                </c:pt>
                <c:pt idx="941">
                  <c:v>42.226999999999997</c:v>
                </c:pt>
                <c:pt idx="942">
                  <c:v>42.362000000000002</c:v>
                </c:pt>
                <c:pt idx="943">
                  <c:v>42.497999999999998</c:v>
                </c:pt>
                <c:pt idx="944">
                  <c:v>42.43</c:v>
                </c:pt>
                <c:pt idx="945">
                  <c:v>42.021999999999998</c:v>
                </c:pt>
                <c:pt idx="946">
                  <c:v>41.682000000000002</c:v>
                </c:pt>
                <c:pt idx="947">
                  <c:v>42.158000000000001</c:v>
                </c:pt>
                <c:pt idx="948">
                  <c:v>42.226999999999997</c:v>
                </c:pt>
                <c:pt idx="949">
                  <c:v>42.021999999999998</c:v>
                </c:pt>
                <c:pt idx="950">
                  <c:v>41.682000000000002</c:v>
                </c:pt>
                <c:pt idx="951">
                  <c:v>42.09</c:v>
                </c:pt>
                <c:pt idx="952">
                  <c:v>42.158000000000001</c:v>
                </c:pt>
                <c:pt idx="953">
                  <c:v>41.954999999999998</c:v>
                </c:pt>
                <c:pt idx="954">
                  <c:v>41.817999999999998</c:v>
                </c:pt>
                <c:pt idx="955">
                  <c:v>41.75</c:v>
                </c:pt>
                <c:pt idx="956">
                  <c:v>41.887</c:v>
                </c:pt>
                <c:pt idx="957">
                  <c:v>41.954999999999998</c:v>
                </c:pt>
                <c:pt idx="958">
                  <c:v>41.75</c:v>
                </c:pt>
                <c:pt idx="959">
                  <c:v>41.954999999999998</c:v>
                </c:pt>
                <c:pt idx="960">
                  <c:v>41.682000000000002</c:v>
                </c:pt>
                <c:pt idx="961">
                  <c:v>41.682000000000002</c:v>
                </c:pt>
                <c:pt idx="962">
                  <c:v>42.09</c:v>
                </c:pt>
                <c:pt idx="963">
                  <c:v>41.75</c:v>
                </c:pt>
                <c:pt idx="964">
                  <c:v>41.817999999999998</c:v>
                </c:pt>
                <c:pt idx="965">
                  <c:v>41.546999999999997</c:v>
                </c:pt>
                <c:pt idx="966">
                  <c:v>41.682000000000002</c:v>
                </c:pt>
                <c:pt idx="967">
                  <c:v>41.817999999999998</c:v>
                </c:pt>
                <c:pt idx="968">
                  <c:v>41.75</c:v>
                </c:pt>
                <c:pt idx="969">
                  <c:v>41.41</c:v>
                </c:pt>
                <c:pt idx="970">
                  <c:v>41.41</c:v>
                </c:pt>
                <c:pt idx="971">
                  <c:v>41.75</c:v>
                </c:pt>
                <c:pt idx="972">
                  <c:v>41.478000000000002</c:v>
                </c:pt>
                <c:pt idx="973">
                  <c:v>41.546999999999997</c:v>
                </c:pt>
                <c:pt idx="974">
                  <c:v>41.546999999999997</c:v>
                </c:pt>
                <c:pt idx="975">
                  <c:v>41.75</c:v>
                </c:pt>
                <c:pt idx="976">
                  <c:v>41.615000000000002</c:v>
                </c:pt>
                <c:pt idx="977">
                  <c:v>41.615000000000002</c:v>
                </c:pt>
                <c:pt idx="978">
                  <c:v>41.546999999999997</c:v>
                </c:pt>
                <c:pt idx="979">
                  <c:v>41.07</c:v>
                </c:pt>
                <c:pt idx="980">
                  <c:v>41.274999999999999</c:v>
                </c:pt>
                <c:pt idx="981">
                  <c:v>41.41</c:v>
                </c:pt>
                <c:pt idx="982">
                  <c:v>41.341999999999999</c:v>
                </c:pt>
                <c:pt idx="983">
                  <c:v>41.615000000000002</c:v>
                </c:pt>
                <c:pt idx="984">
                  <c:v>41.546999999999997</c:v>
                </c:pt>
                <c:pt idx="985">
                  <c:v>41.137999999999998</c:v>
                </c:pt>
                <c:pt idx="986">
                  <c:v>41.137999999999998</c:v>
                </c:pt>
                <c:pt idx="987">
                  <c:v>41.41</c:v>
                </c:pt>
                <c:pt idx="988">
                  <c:v>41.478000000000002</c:v>
                </c:pt>
                <c:pt idx="989">
                  <c:v>41.207000000000001</c:v>
                </c:pt>
                <c:pt idx="990">
                  <c:v>41.341999999999999</c:v>
                </c:pt>
                <c:pt idx="991">
                  <c:v>41.207000000000001</c:v>
                </c:pt>
                <c:pt idx="992">
                  <c:v>40.798000000000002</c:v>
                </c:pt>
                <c:pt idx="993">
                  <c:v>41.682000000000002</c:v>
                </c:pt>
                <c:pt idx="994">
                  <c:v>41.137999999999998</c:v>
                </c:pt>
                <c:pt idx="995">
                  <c:v>41.002000000000002</c:v>
                </c:pt>
                <c:pt idx="996">
                  <c:v>41.207000000000001</c:v>
                </c:pt>
                <c:pt idx="997">
                  <c:v>41.341999999999999</c:v>
                </c:pt>
                <c:pt idx="998">
                  <c:v>41.137999999999998</c:v>
                </c:pt>
                <c:pt idx="999">
                  <c:v>41.07</c:v>
                </c:pt>
                <c:pt idx="1000">
                  <c:v>41.002000000000002</c:v>
                </c:pt>
                <c:pt idx="1001">
                  <c:v>41.274999999999999</c:v>
                </c:pt>
                <c:pt idx="1002">
                  <c:v>41.137999999999998</c:v>
                </c:pt>
                <c:pt idx="1003">
                  <c:v>41.41</c:v>
                </c:pt>
                <c:pt idx="1004">
                  <c:v>41.137999999999998</c:v>
                </c:pt>
                <c:pt idx="1005">
                  <c:v>41.274999999999999</c:v>
                </c:pt>
                <c:pt idx="1006">
                  <c:v>41.137999999999998</c:v>
                </c:pt>
                <c:pt idx="1007">
                  <c:v>41.207000000000001</c:v>
                </c:pt>
                <c:pt idx="1008">
                  <c:v>41.137999999999998</c:v>
                </c:pt>
                <c:pt idx="1009">
                  <c:v>40.798000000000002</c:v>
                </c:pt>
                <c:pt idx="1010">
                  <c:v>41.274999999999999</c:v>
                </c:pt>
                <c:pt idx="1011">
                  <c:v>41.07</c:v>
                </c:pt>
                <c:pt idx="1012">
                  <c:v>41.274999999999999</c:v>
                </c:pt>
                <c:pt idx="1013">
                  <c:v>41.137999999999998</c:v>
                </c:pt>
                <c:pt idx="1014">
                  <c:v>40.935000000000002</c:v>
                </c:pt>
                <c:pt idx="1015">
                  <c:v>41.274999999999999</c:v>
                </c:pt>
                <c:pt idx="1016">
                  <c:v>41.274999999999999</c:v>
                </c:pt>
                <c:pt idx="1017">
                  <c:v>41.07</c:v>
                </c:pt>
                <c:pt idx="1018">
                  <c:v>40.866999999999997</c:v>
                </c:pt>
                <c:pt idx="1019">
                  <c:v>40.935000000000002</c:v>
                </c:pt>
                <c:pt idx="1020">
                  <c:v>41.137999999999998</c:v>
                </c:pt>
                <c:pt idx="1021">
                  <c:v>41.07</c:v>
                </c:pt>
                <c:pt idx="1022">
                  <c:v>41.274999999999999</c:v>
                </c:pt>
                <c:pt idx="1023">
                  <c:v>41.207000000000001</c:v>
                </c:pt>
                <c:pt idx="1024">
                  <c:v>41.137999999999998</c:v>
                </c:pt>
                <c:pt idx="1025">
                  <c:v>40.866999999999997</c:v>
                </c:pt>
                <c:pt idx="1026">
                  <c:v>40.866999999999997</c:v>
                </c:pt>
                <c:pt idx="1027">
                  <c:v>41.137999999999998</c:v>
                </c:pt>
                <c:pt idx="1028">
                  <c:v>40.798000000000002</c:v>
                </c:pt>
                <c:pt idx="1029">
                  <c:v>41.137999999999998</c:v>
                </c:pt>
                <c:pt idx="1030">
                  <c:v>40.661999999999999</c:v>
                </c:pt>
                <c:pt idx="1031">
                  <c:v>40.798000000000002</c:v>
                </c:pt>
                <c:pt idx="1032">
                  <c:v>40.866999999999997</c:v>
                </c:pt>
                <c:pt idx="1033">
                  <c:v>40.935000000000002</c:v>
                </c:pt>
                <c:pt idx="1034">
                  <c:v>40.798000000000002</c:v>
                </c:pt>
                <c:pt idx="1035">
                  <c:v>40.594999999999999</c:v>
                </c:pt>
                <c:pt idx="1036">
                  <c:v>41.07</c:v>
                </c:pt>
                <c:pt idx="1037">
                  <c:v>40.935000000000002</c:v>
                </c:pt>
                <c:pt idx="1038">
                  <c:v>40.935000000000002</c:v>
                </c:pt>
                <c:pt idx="1039">
                  <c:v>40.729999999999997</c:v>
                </c:pt>
                <c:pt idx="1040">
                  <c:v>40.798000000000002</c:v>
                </c:pt>
                <c:pt idx="1041">
                  <c:v>41.137999999999998</c:v>
                </c:pt>
                <c:pt idx="1042">
                  <c:v>41.002000000000002</c:v>
                </c:pt>
                <c:pt idx="1043">
                  <c:v>40.866999999999997</c:v>
                </c:pt>
                <c:pt idx="1044">
                  <c:v>41.07</c:v>
                </c:pt>
                <c:pt idx="1045">
                  <c:v>40.798000000000002</c:v>
                </c:pt>
                <c:pt idx="1046">
                  <c:v>40.798000000000002</c:v>
                </c:pt>
                <c:pt idx="1047">
                  <c:v>40.661999999999999</c:v>
                </c:pt>
                <c:pt idx="1048">
                  <c:v>41.207000000000001</c:v>
                </c:pt>
                <c:pt idx="1049">
                  <c:v>40.798000000000002</c:v>
                </c:pt>
                <c:pt idx="1050">
                  <c:v>40.798000000000002</c:v>
                </c:pt>
                <c:pt idx="1051">
                  <c:v>40.729999999999997</c:v>
                </c:pt>
                <c:pt idx="1052">
                  <c:v>40.866999999999997</c:v>
                </c:pt>
                <c:pt idx="1053">
                  <c:v>41.002000000000002</c:v>
                </c:pt>
                <c:pt idx="1054">
                  <c:v>41.002000000000002</c:v>
                </c:pt>
                <c:pt idx="1055">
                  <c:v>41.002000000000002</c:v>
                </c:pt>
                <c:pt idx="1056">
                  <c:v>41.002000000000002</c:v>
                </c:pt>
                <c:pt idx="1057">
                  <c:v>40.866999999999997</c:v>
                </c:pt>
                <c:pt idx="1058">
                  <c:v>41.002000000000002</c:v>
                </c:pt>
                <c:pt idx="1059">
                  <c:v>41.07</c:v>
                </c:pt>
                <c:pt idx="1060">
                  <c:v>40.798000000000002</c:v>
                </c:pt>
                <c:pt idx="1061">
                  <c:v>40.798000000000002</c:v>
                </c:pt>
                <c:pt idx="1062">
                  <c:v>40.729999999999997</c:v>
                </c:pt>
                <c:pt idx="1063">
                  <c:v>41.002000000000002</c:v>
                </c:pt>
                <c:pt idx="1064">
                  <c:v>40.798000000000002</c:v>
                </c:pt>
                <c:pt idx="1065">
                  <c:v>40.457999999999998</c:v>
                </c:pt>
                <c:pt idx="1066">
                  <c:v>41.137999999999998</c:v>
                </c:pt>
                <c:pt idx="1067">
                  <c:v>40.661999999999999</c:v>
                </c:pt>
                <c:pt idx="1068">
                  <c:v>41.002000000000002</c:v>
                </c:pt>
                <c:pt idx="1069">
                  <c:v>40.935000000000002</c:v>
                </c:pt>
                <c:pt idx="1070">
                  <c:v>40.798000000000002</c:v>
                </c:pt>
                <c:pt idx="1071">
                  <c:v>40.661999999999999</c:v>
                </c:pt>
                <c:pt idx="1072">
                  <c:v>40.866999999999997</c:v>
                </c:pt>
                <c:pt idx="1073">
                  <c:v>40.866999999999997</c:v>
                </c:pt>
                <c:pt idx="1074">
                  <c:v>41.002000000000002</c:v>
                </c:pt>
                <c:pt idx="1075">
                  <c:v>40.661999999999999</c:v>
                </c:pt>
                <c:pt idx="1076">
                  <c:v>40.729999999999997</c:v>
                </c:pt>
                <c:pt idx="1077">
                  <c:v>40.729999999999997</c:v>
                </c:pt>
                <c:pt idx="1078">
                  <c:v>40.798000000000002</c:v>
                </c:pt>
                <c:pt idx="1079">
                  <c:v>40.457999999999998</c:v>
                </c:pt>
                <c:pt idx="1080">
                  <c:v>40.798000000000002</c:v>
                </c:pt>
                <c:pt idx="1081">
                  <c:v>40.798000000000002</c:v>
                </c:pt>
                <c:pt idx="1082">
                  <c:v>40.866999999999997</c:v>
                </c:pt>
                <c:pt idx="1083">
                  <c:v>41.002000000000002</c:v>
                </c:pt>
                <c:pt idx="1084">
                  <c:v>40.866999999999997</c:v>
                </c:pt>
                <c:pt idx="1085">
                  <c:v>40.594999999999999</c:v>
                </c:pt>
                <c:pt idx="1086">
                  <c:v>40.798000000000002</c:v>
                </c:pt>
                <c:pt idx="1087">
                  <c:v>40.798000000000002</c:v>
                </c:pt>
                <c:pt idx="1088">
                  <c:v>40.729999999999997</c:v>
                </c:pt>
                <c:pt idx="1089">
                  <c:v>40.527000000000001</c:v>
                </c:pt>
                <c:pt idx="1090">
                  <c:v>40.729999999999997</c:v>
                </c:pt>
                <c:pt idx="1091">
                  <c:v>40.935000000000002</c:v>
                </c:pt>
                <c:pt idx="1092">
                  <c:v>40.594999999999999</c:v>
                </c:pt>
                <c:pt idx="1093">
                  <c:v>40.527000000000001</c:v>
                </c:pt>
                <c:pt idx="1094">
                  <c:v>41.002000000000002</c:v>
                </c:pt>
                <c:pt idx="1095">
                  <c:v>40.527000000000001</c:v>
                </c:pt>
                <c:pt idx="1096">
                  <c:v>40.322000000000003</c:v>
                </c:pt>
                <c:pt idx="1097">
                  <c:v>40.798000000000002</c:v>
                </c:pt>
                <c:pt idx="1098">
                  <c:v>40.661999999999999</c:v>
                </c:pt>
                <c:pt idx="1099">
                  <c:v>40.935000000000002</c:v>
                </c:pt>
                <c:pt idx="1100">
                  <c:v>40.457999999999998</c:v>
                </c:pt>
                <c:pt idx="1101">
                  <c:v>40.527000000000001</c:v>
                </c:pt>
                <c:pt idx="1102">
                  <c:v>41.002000000000002</c:v>
                </c:pt>
                <c:pt idx="1103">
                  <c:v>40.866999999999997</c:v>
                </c:pt>
                <c:pt idx="1104">
                  <c:v>40.39</c:v>
                </c:pt>
                <c:pt idx="1105">
                  <c:v>41.07</c:v>
                </c:pt>
                <c:pt idx="1106">
                  <c:v>40.798000000000002</c:v>
                </c:pt>
                <c:pt idx="1107">
                  <c:v>40.527000000000001</c:v>
                </c:pt>
                <c:pt idx="1108">
                  <c:v>40.729999999999997</c:v>
                </c:pt>
                <c:pt idx="1109">
                  <c:v>40.729999999999997</c:v>
                </c:pt>
                <c:pt idx="1110">
                  <c:v>40.322000000000003</c:v>
                </c:pt>
                <c:pt idx="1111">
                  <c:v>40.729999999999997</c:v>
                </c:pt>
                <c:pt idx="1112">
                  <c:v>40.729999999999997</c:v>
                </c:pt>
                <c:pt idx="1113">
                  <c:v>41.137999999999998</c:v>
                </c:pt>
                <c:pt idx="1114">
                  <c:v>40.729999999999997</c:v>
                </c:pt>
                <c:pt idx="1115">
                  <c:v>40.661999999999999</c:v>
                </c:pt>
                <c:pt idx="1116">
                  <c:v>40.527000000000001</c:v>
                </c:pt>
                <c:pt idx="1117">
                  <c:v>40.866999999999997</c:v>
                </c:pt>
                <c:pt idx="1118">
                  <c:v>40.798000000000002</c:v>
                </c:pt>
                <c:pt idx="1119">
                  <c:v>40.866999999999997</c:v>
                </c:pt>
                <c:pt idx="1120">
                  <c:v>40.798000000000002</c:v>
                </c:pt>
                <c:pt idx="1121">
                  <c:v>40.527000000000001</c:v>
                </c:pt>
                <c:pt idx="1122">
                  <c:v>40.594999999999999</c:v>
                </c:pt>
                <c:pt idx="1123">
                  <c:v>40.798000000000002</c:v>
                </c:pt>
                <c:pt idx="1124">
                  <c:v>40.322000000000003</c:v>
                </c:pt>
                <c:pt idx="1125">
                  <c:v>40.866999999999997</c:v>
                </c:pt>
                <c:pt idx="1126">
                  <c:v>40.866999999999997</c:v>
                </c:pt>
                <c:pt idx="1127">
                  <c:v>40.798000000000002</c:v>
                </c:pt>
                <c:pt idx="1128">
                  <c:v>41.002000000000002</c:v>
                </c:pt>
                <c:pt idx="1129">
                  <c:v>40.935000000000002</c:v>
                </c:pt>
                <c:pt idx="1130">
                  <c:v>40.661999999999999</c:v>
                </c:pt>
                <c:pt idx="1131">
                  <c:v>40.661999999999999</c:v>
                </c:pt>
                <c:pt idx="1132">
                  <c:v>41.137999999999998</c:v>
                </c:pt>
                <c:pt idx="1133">
                  <c:v>41.002000000000002</c:v>
                </c:pt>
                <c:pt idx="1134">
                  <c:v>40.729999999999997</c:v>
                </c:pt>
                <c:pt idx="1135">
                  <c:v>40.935000000000002</c:v>
                </c:pt>
                <c:pt idx="1136">
                  <c:v>40.661999999999999</c:v>
                </c:pt>
                <c:pt idx="1137">
                  <c:v>40.798000000000002</c:v>
                </c:pt>
                <c:pt idx="1138">
                  <c:v>40.798000000000002</c:v>
                </c:pt>
                <c:pt idx="1139">
                  <c:v>40.866999999999997</c:v>
                </c:pt>
                <c:pt idx="1140">
                  <c:v>40.866999999999997</c:v>
                </c:pt>
                <c:pt idx="1141">
                  <c:v>40.866999999999997</c:v>
                </c:pt>
                <c:pt idx="1142">
                  <c:v>40.661999999999999</c:v>
                </c:pt>
                <c:pt idx="1143">
                  <c:v>40.594999999999999</c:v>
                </c:pt>
                <c:pt idx="1144">
                  <c:v>40.866999999999997</c:v>
                </c:pt>
                <c:pt idx="1145">
                  <c:v>40.594999999999999</c:v>
                </c:pt>
                <c:pt idx="1146">
                  <c:v>40.457999999999998</c:v>
                </c:pt>
                <c:pt idx="1147">
                  <c:v>40.457999999999998</c:v>
                </c:pt>
                <c:pt idx="1148">
                  <c:v>40.798000000000002</c:v>
                </c:pt>
                <c:pt idx="1149">
                  <c:v>40.527000000000001</c:v>
                </c:pt>
                <c:pt idx="1150">
                  <c:v>41.07</c:v>
                </c:pt>
                <c:pt idx="1151">
                  <c:v>40.798000000000002</c:v>
                </c:pt>
                <c:pt idx="1152">
                  <c:v>40.729999999999997</c:v>
                </c:pt>
                <c:pt idx="1153">
                  <c:v>41.002000000000002</c:v>
                </c:pt>
                <c:pt idx="1154">
                  <c:v>40.729999999999997</c:v>
                </c:pt>
                <c:pt idx="1155">
                  <c:v>40.729999999999997</c:v>
                </c:pt>
                <c:pt idx="1156">
                  <c:v>40.661999999999999</c:v>
                </c:pt>
                <c:pt idx="1157">
                  <c:v>41.002000000000002</c:v>
                </c:pt>
                <c:pt idx="1158">
                  <c:v>40.594999999999999</c:v>
                </c:pt>
                <c:pt idx="1159">
                  <c:v>40.866999999999997</c:v>
                </c:pt>
                <c:pt idx="1160">
                  <c:v>40.594999999999999</c:v>
                </c:pt>
                <c:pt idx="1161">
                  <c:v>40.729999999999997</c:v>
                </c:pt>
                <c:pt idx="1162">
                  <c:v>40.527000000000001</c:v>
                </c:pt>
                <c:pt idx="1163">
                  <c:v>40.527000000000001</c:v>
                </c:pt>
                <c:pt idx="1164">
                  <c:v>40.798000000000002</c:v>
                </c:pt>
                <c:pt idx="1165">
                  <c:v>40.661999999999999</c:v>
                </c:pt>
                <c:pt idx="1166">
                  <c:v>40.661999999999999</c:v>
                </c:pt>
                <c:pt idx="1167">
                  <c:v>40.39</c:v>
                </c:pt>
                <c:pt idx="1168">
                  <c:v>40.798000000000002</c:v>
                </c:pt>
                <c:pt idx="1169">
                  <c:v>40.935000000000002</c:v>
                </c:pt>
                <c:pt idx="1170">
                  <c:v>40.661999999999999</c:v>
                </c:pt>
                <c:pt idx="1171">
                  <c:v>40.661999999999999</c:v>
                </c:pt>
                <c:pt idx="1172">
                  <c:v>40.798000000000002</c:v>
                </c:pt>
                <c:pt idx="1173">
                  <c:v>40.661999999999999</c:v>
                </c:pt>
                <c:pt idx="1174">
                  <c:v>40.322000000000003</c:v>
                </c:pt>
                <c:pt idx="1175">
                  <c:v>40.594999999999999</c:v>
                </c:pt>
                <c:pt idx="1176">
                  <c:v>40.661999999999999</c:v>
                </c:pt>
                <c:pt idx="1177">
                  <c:v>40.527000000000001</c:v>
                </c:pt>
                <c:pt idx="1178">
                  <c:v>40.729999999999997</c:v>
                </c:pt>
                <c:pt idx="1179">
                  <c:v>40.729999999999997</c:v>
                </c:pt>
                <c:pt idx="1180">
                  <c:v>40.866999999999997</c:v>
                </c:pt>
                <c:pt idx="1181">
                  <c:v>40.661999999999999</c:v>
                </c:pt>
                <c:pt idx="1182">
                  <c:v>40.594999999999999</c:v>
                </c:pt>
                <c:pt idx="1183">
                  <c:v>40.661999999999999</c:v>
                </c:pt>
                <c:pt idx="1184">
                  <c:v>40.729999999999997</c:v>
                </c:pt>
                <c:pt idx="1185">
                  <c:v>40.661999999999999</c:v>
                </c:pt>
                <c:pt idx="1186">
                  <c:v>40.866999999999997</c:v>
                </c:pt>
                <c:pt idx="1187">
                  <c:v>40.457999999999998</c:v>
                </c:pt>
                <c:pt idx="1188">
                  <c:v>40.729999999999997</c:v>
                </c:pt>
                <c:pt idx="1189">
                  <c:v>40.594999999999999</c:v>
                </c:pt>
                <c:pt idx="1190">
                  <c:v>40.729999999999997</c:v>
                </c:pt>
                <c:pt idx="1191">
                  <c:v>40.798000000000002</c:v>
                </c:pt>
                <c:pt idx="1192">
                  <c:v>40.729999999999997</c:v>
                </c:pt>
                <c:pt idx="1193">
                  <c:v>40.866999999999997</c:v>
                </c:pt>
                <c:pt idx="1194">
                  <c:v>41.002000000000002</c:v>
                </c:pt>
                <c:pt idx="1195">
                  <c:v>40.798000000000002</c:v>
                </c:pt>
                <c:pt idx="1196">
                  <c:v>41.002000000000002</c:v>
                </c:pt>
                <c:pt idx="1197">
                  <c:v>41.002000000000002</c:v>
                </c:pt>
                <c:pt idx="1198">
                  <c:v>40.661999999999999</c:v>
                </c:pt>
                <c:pt idx="1199">
                  <c:v>40.866999999999997</c:v>
                </c:pt>
                <c:pt idx="1200">
                  <c:v>40.661999999999999</c:v>
                </c:pt>
                <c:pt idx="1201">
                  <c:v>40.729999999999997</c:v>
                </c:pt>
                <c:pt idx="1202">
                  <c:v>40.457999999999998</c:v>
                </c:pt>
                <c:pt idx="1203">
                  <c:v>40.527000000000001</c:v>
                </c:pt>
                <c:pt idx="1204">
                  <c:v>40.661999999999999</c:v>
                </c:pt>
                <c:pt idx="1205">
                  <c:v>40.798000000000002</c:v>
                </c:pt>
                <c:pt idx="1206">
                  <c:v>40.594999999999999</c:v>
                </c:pt>
                <c:pt idx="1207">
                  <c:v>40.866999999999997</c:v>
                </c:pt>
                <c:pt idx="1208">
                  <c:v>40.866999999999997</c:v>
                </c:pt>
                <c:pt idx="1209">
                  <c:v>41.002000000000002</c:v>
                </c:pt>
                <c:pt idx="1210">
                  <c:v>40.866999999999997</c:v>
                </c:pt>
                <c:pt idx="1211">
                  <c:v>40.527000000000001</c:v>
                </c:pt>
                <c:pt idx="1212">
                  <c:v>40.798000000000002</c:v>
                </c:pt>
                <c:pt idx="1213">
                  <c:v>40.527000000000001</c:v>
                </c:pt>
                <c:pt idx="1214">
                  <c:v>40.661999999999999</c:v>
                </c:pt>
                <c:pt idx="1215">
                  <c:v>40.798000000000002</c:v>
                </c:pt>
                <c:pt idx="1216">
                  <c:v>40.729999999999997</c:v>
                </c:pt>
                <c:pt idx="1217">
                  <c:v>40.594999999999999</c:v>
                </c:pt>
                <c:pt idx="1218">
                  <c:v>40.457999999999998</c:v>
                </c:pt>
                <c:pt idx="1219">
                  <c:v>40.594999999999999</c:v>
                </c:pt>
                <c:pt idx="1220">
                  <c:v>40.661999999999999</c:v>
                </c:pt>
                <c:pt idx="1221">
                  <c:v>41.002000000000002</c:v>
                </c:pt>
                <c:pt idx="1222">
                  <c:v>40.935000000000002</c:v>
                </c:pt>
                <c:pt idx="1223">
                  <c:v>40.594999999999999</c:v>
                </c:pt>
                <c:pt idx="1224">
                  <c:v>40.594999999999999</c:v>
                </c:pt>
                <c:pt idx="1225">
                  <c:v>40.457999999999998</c:v>
                </c:pt>
                <c:pt idx="1226">
                  <c:v>40.935000000000002</c:v>
                </c:pt>
                <c:pt idx="1227">
                  <c:v>40.729999999999997</c:v>
                </c:pt>
                <c:pt idx="1228">
                  <c:v>41.002000000000002</c:v>
                </c:pt>
                <c:pt idx="1229">
                  <c:v>40.729999999999997</c:v>
                </c:pt>
                <c:pt idx="1230">
                  <c:v>40.594999999999999</c:v>
                </c:pt>
                <c:pt idx="1231">
                  <c:v>40.661999999999999</c:v>
                </c:pt>
                <c:pt idx="1232">
                  <c:v>40.457999999999998</c:v>
                </c:pt>
                <c:pt idx="1233">
                  <c:v>41.07</c:v>
                </c:pt>
                <c:pt idx="1234">
                  <c:v>40.729999999999997</c:v>
                </c:pt>
                <c:pt idx="1235">
                  <c:v>41.207000000000001</c:v>
                </c:pt>
                <c:pt idx="1236">
                  <c:v>40.798000000000002</c:v>
                </c:pt>
                <c:pt idx="1237">
                  <c:v>40.594999999999999</c:v>
                </c:pt>
                <c:pt idx="1238">
                  <c:v>40.729999999999997</c:v>
                </c:pt>
                <c:pt idx="1239">
                  <c:v>40.935000000000002</c:v>
                </c:pt>
                <c:pt idx="1240">
                  <c:v>41.002000000000002</c:v>
                </c:pt>
                <c:pt idx="1241">
                  <c:v>40.594999999999999</c:v>
                </c:pt>
                <c:pt idx="1242">
                  <c:v>40.729999999999997</c:v>
                </c:pt>
                <c:pt idx="1243">
                  <c:v>41.07</c:v>
                </c:pt>
                <c:pt idx="1244">
                  <c:v>41.137999999999998</c:v>
                </c:pt>
                <c:pt idx="1245">
                  <c:v>40.594999999999999</c:v>
                </c:pt>
                <c:pt idx="1246">
                  <c:v>40.729999999999997</c:v>
                </c:pt>
                <c:pt idx="1247">
                  <c:v>40.457999999999998</c:v>
                </c:pt>
                <c:pt idx="1248">
                  <c:v>40.798000000000002</c:v>
                </c:pt>
                <c:pt idx="1249">
                  <c:v>40.798000000000002</c:v>
                </c:pt>
                <c:pt idx="1250">
                  <c:v>40.798000000000002</c:v>
                </c:pt>
                <c:pt idx="1251">
                  <c:v>41.274999999999999</c:v>
                </c:pt>
                <c:pt idx="1252">
                  <c:v>40.798000000000002</c:v>
                </c:pt>
                <c:pt idx="1253">
                  <c:v>41.207000000000001</c:v>
                </c:pt>
                <c:pt idx="1254">
                  <c:v>40.457999999999998</c:v>
                </c:pt>
                <c:pt idx="1255">
                  <c:v>40.866999999999997</c:v>
                </c:pt>
                <c:pt idx="1256">
                  <c:v>40.729999999999997</c:v>
                </c:pt>
                <c:pt idx="1257">
                  <c:v>40.661999999999999</c:v>
                </c:pt>
                <c:pt idx="1258">
                  <c:v>40.798000000000002</c:v>
                </c:pt>
                <c:pt idx="1259">
                  <c:v>40.935000000000002</c:v>
                </c:pt>
                <c:pt idx="1260">
                  <c:v>40.661999999999999</c:v>
                </c:pt>
                <c:pt idx="1261">
                  <c:v>40.661999999999999</c:v>
                </c:pt>
                <c:pt idx="1262">
                  <c:v>41.07</c:v>
                </c:pt>
                <c:pt idx="1263">
                  <c:v>40.798000000000002</c:v>
                </c:pt>
                <c:pt idx="1264">
                  <c:v>40.594999999999999</c:v>
                </c:pt>
                <c:pt idx="1265">
                  <c:v>40.594999999999999</c:v>
                </c:pt>
                <c:pt idx="1266">
                  <c:v>40.527000000000001</c:v>
                </c:pt>
                <c:pt idx="1267">
                  <c:v>41.002000000000002</c:v>
                </c:pt>
                <c:pt idx="1268">
                  <c:v>40.866999999999997</c:v>
                </c:pt>
                <c:pt idx="1269">
                  <c:v>40.798000000000002</c:v>
                </c:pt>
                <c:pt idx="1270">
                  <c:v>41.002000000000002</c:v>
                </c:pt>
                <c:pt idx="1271">
                  <c:v>41.002000000000002</c:v>
                </c:pt>
                <c:pt idx="1272">
                  <c:v>41.002000000000002</c:v>
                </c:pt>
                <c:pt idx="1273">
                  <c:v>40.935000000000002</c:v>
                </c:pt>
                <c:pt idx="1274">
                  <c:v>40.39</c:v>
                </c:pt>
                <c:pt idx="1275">
                  <c:v>40.798000000000002</c:v>
                </c:pt>
                <c:pt idx="1276">
                  <c:v>41.274999999999999</c:v>
                </c:pt>
                <c:pt idx="1277">
                  <c:v>40.661999999999999</c:v>
                </c:pt>
                <c:pt idx="1278">
                  <c:v>40.729999999999997</c:v>
                </c:pt>
                <c:pt idx="1279">
                  <c:v>41.207000000000001</c:v>
                </c:pt>
                <c:pt idx="1280">
                  <c:v>40.866999999999997</c:v>
                </c:pt>
                <c:pt idx="1281">
                  <c:v>40.594999999999999</c:v>
                </c:pt>
                <c:pt idx="1282">
                  <c:v>40.798000000000002</c:v>
                </c:pt>
                <c:pt idx="1283">
                  <c:v>40.866999999999997</c:v>
                </c:pt>
                <c:pt idx="1284">
                  <c:v>40.661999999999999</c:v>
                </c:pt>
                <c:pt idx="1285">
                  <c:v>40.661999999999999</c:v>
                </c:pt>
                <c:pt idx="1286">
                  <c:v>41.07</c:v>
                </c:pt>
                <c:pt idx="1287">
                  <c:v>40.661999999999999</c:v>
                </c:pt>
                <c:pt idx="1288">
                  <c:v>40.729999999999997</c:v>
                </c:pt>
                <c:pt idx="1289">
                  <c:v>41.07</c:v>
                </c:pt>
                <c:pt idx="1290">
                  <c:v>40.798000000000002</c:v>
                </c:pt>
                <c:pt idx="1291">
                  <c:v>40.866999999999997</c:v>
                </c:pt>
                <c:pt idx="1292">
                  <c:v>40.866999999999997</c:v>
                </c:pt>
                <c:pt idx="1293">
                  <c:v>40.866999999999997</c:v>
                </c:pt>
                <c:pt idx="1294">
                  <c:v>40.866999999999997</c:v>
                </c:pt>
                <c:pt idx="1295">
                  <c:v>40.729999999999997</c:v>
                </c:pt>
                <c:pt idx="1296">
                  <c:v>40.935000000000002</c:v>
                </c:pt>
                <c:pt idx="1297">
                  <c:v>41.137999999999998</c:v>
                </c:pt>
                <c:pt idx="1298">
                  <c:v>40.798000000000002</c:v>
                </c:pt>
                <c:pt idx="1299">
                  <c:v>40.866999999999997</c:v>
                </c:pt>
                <c:pt idx="1300">
                  <c:v>40.527000000000001</c:v>
                </c:pt>
                <c:pt idx="1301">
                  <c:v>40.661999999999999</c:v>
                </c:pt>
                <c:pt idx="1302">
                  <c:v>40.798000000000002</c:v>
                </c:pt>
                <c:pt idx="1303">
                  <c:v>40.729999999999997</c:v>
                </c:pt>
                <c:pt idx="1304">
                  <c:v>41.07</c:v>
                </c:pt>
                <c:pt idx="1305">
                  <c:v>41.002000000000002</c:v>
                </c:pt>
                <c:pt idx="1306">
                  <c:v>40.798000000000002</c:v>
                </c:pt>
                <c:pt idx="1307">
                  <c:v>40.866999999999997</c:v>
                </c:pt>
                <c:pt idx="1308">
                  <c:v>40.729999999999997</c:v>
                </c:pt>
                <c:pt idx="1309">
                  <c:v>40.729999999999997</c:v>
                </c:pt>
                <c:pt idx="1310">
                  <c:v>40.798000000000002</c:v>
                </c:pt>
                <c:pt idx="1311">
                  <c:v>40.527000000000001</c:v>
                </c:pt>
                <c:pt idx="1312">
                  <c:v>40.935000000000002</c:v>
                </c:pt>
                <c:pt idx="1313">
                  <c:v>40.729999999999997</c:v>
                </c:pt>
                <c:pt idx="1314">
                  <c:v>40.866999999999997</c:v>
                </c:pt>
                <c:pt idx="1315">
                  <c:v>41.207000000000001</c:v>
                </c:pt>
                <c:pt idx="1316">
                  <c:v>41.002000000000002</c:v>
                </c:pt>
                <c:pt idx="1317">
                  <c:v>40.798000000000002</c:v>
                </c:pt>
                <c:pt idx="1318">
                  <c:v>40.935000000000002</c:v>
                </c:pt>
                <c:pt idx="1319">
                  <c:v>41.07</c:v>
                </c:pt>
                <c:pt idx="1320">
                  <c:v>41.207000000000001</c:v>
                </c:pt>
                <c:pt idx="1321">
                  <c:v>40.798000000000002</c:v>
                </c:pt>
                <c:pt idx="1322">
                  <c:v>40.935000000000002</c:v>
                </c:pt>
                <c:pt idx="1323">
                  <c:v>41.002000000000002</c:v>
                </c:pt>
                <c:pt idx="1324">
                  <c:v>40.866999999999997</c:v>
                </c:pt>
                <c:pt idx="1325">
                  <c:v>40.935000000000002</c:v>
                </c:pt>
                <c:pt idx="1326">
                  <c:v>41.002000000000002</c:v>
                </c:pt>
                <c:pt idx="1327">
                  <c:v>41.07</c:v>
                </c:pt>
                <c:pt idx="1328">
                  <c:v>40.935000000000002</c:v>
                </c:pt>
                <c:pt idx="1329">
                  <c:v>40.729999999999997</c:v>
                </c:pt>
                <c:pt idx="1330">
                  <c:v>40.866999999999997</c:v>
                </c:pt>
                <c:pt idx="1331">
                  <c:v>41.07</c:v>
                </c:pt>
                <c:pt idx="1332">
                  <c:v>41.002000000000002</c:v>
                </c:pt>
                <c:pt idx="1333">
                  <c:v>41.07</c:v>
                </c:pt>
                <c:pt idx="1334">
                  <c:v>41.137999999999998</c:v>
                </c:pt>
                <c:pt idx="1335">
                  <c:v>40.866999999999997</c:v>
                </c:pt>
                <c:pt idx="1336">
                  <c:v>40.729999999999997</c:v>
                </c:pt>
                <c:pt idx="1337">
                  <c:v>40.661999999999999</c:v>
                </c:pt>
                <c:pt idx="1338">
                  <c:v>41.002000000000002</c:v>
                </c:pt>
                <c:pt idx="1339">
                  <c:v>41.137999999999998</c:v>
                </c:pt>
                <c:pt idx="1340">
                  <c:v>41.07</c:v>
                </c:pt>
                <c:pt idx="1341">
                  <c:v>40.866999999999997</c:v>
                </c:pt>
                <c:pt idx="1342">
                  <c:v>41.07</c:v>
                </c:pt>
                <c:pt idx="1343">
                  <c:v>40.866999999999997</c:v>
                </c:pt>
                <c:pt idx="1344">
                  <c:v>41.002000000000002</c:v>
                </c:pt>
                <c:pt idx="1345">
                  <c:v>40.935000000000002</c:v>
                </c:pt>
                <c:pt idx="1346">
                  <c:v>40.935000000000002</c:v>
                </c:pt>
                <c:pt idx="1347">
                  <c:v>40.935000000000002</c:v>
                </c:pt>
                <c:pt idx="1348">
                  <c:v>41.07</c:v>
                </c:pt>
                <c:pt idx="1349">
                  <c:v>40.798000000000002</c:v>
                </c:pt>
                <c:pt idx="1350">
                  <c:v>41.274999999999999</c:v>
                </c:pt>
                <c:pt idx="1351">
                  <c:v>41.207000000000001</c:v>
                </c:pt>
                <c:pt idx="1352">
                  <c:v>41.07</c:v>
                </c:pt>
                <c:pt idx="1353">
                  <c:v>40.935000000000002</c:v>
                </c:pt>
                <c:pt idx="1354">
                  <c:v>41.07</c:v>
                </c:pt>
                <c:pt idx="1355">
                  <c:v>40.798000000000002</c:v>
                </c:pt>
                <c:pt idx="1356">
                  <c:v>41.137999999999998</c:v>
                </c:pt>
                <c:pt idx="1357">
                  <c:v>41.002000000000002</c:v>
                </c:pt>
                <c:pt idx="1358">
                  <c:v>40.866999999999997</c:v>
                </c:pt>
                <c:pt idx="1359">
                  <c:v>40.866999999999997</c:v>
                </c:pt>
                <c:pt idx="1360">
                  <c:v>40.866999999999997</c:v>
                </c:pt>
                <c:pt idx="1361">
                  <c:v>41.002000000000002</c:v>
                </c:pt>
                <c:pt idx="1362">
                  <c:v>40.798000000000002</c:v>
                </c:pt>
                <c:pt idx="1363">
                  <c:v>41.137999999999998</c:v>
                </c:pt>
                <c:pt idx="1364">
                  <c:v>41.137999999999998</c:v>
                </c:pt>
                <c:pt idx="1365">
                  <c:v>41.137999999999998</c:v>
                </c:pt>
                <c:pt idx="1366">
                  <c:v>41.07</c:v>
                </c:pt>
                <c:pt idx="1367">
                  <c:v>41.41</c:v>
                </c:pt>
                <c:pt idx="1368">
                  <c:v>40.935000000000002</c:v>
                </c:pt>
                <c:pt idx="1369">
                  <c:v>41.274999999999999</c:v>
                </c:pt>
                <c:pt idx="1370">
                  <c:v>40.798000000000002</c:v>
                </c:pt>
                <c:pt idx="1371">
                  <c:v>40.866999999999997</c:v>
                </c:pt>
                <c:pt idx="1372">
                  <c:v>40.935000000000002</c:v>
                </c:pt>
                <c:pt idx="1373">
                  <c:v>41.207000000000001</c:v>
                </c:pt>
                <c:pt idx="1374">
                  <c:v>41.207000000000001</c:v>
                </c:pt>
                <c:pt idx="1375">
                  <c:v>40.729999999999997</c:v>
                </c:pt>
                <c:pt idx="1376">
                  <c:v>41.137999999999998</c:v>
                </c:pt>
                <c:pt idx="1377">
                  <c:v>41.07</c:v>
                </c:pt>
                <c:pt idx="1378">
                  <c:v>40.935000000000002</c:v>
                </c:pt>
                <c:pt idx="1379">
                  <c:v>41.207000000000001</c:v>
                </c:pt>
                <c:pt idx="1380">
                  <c:v>41.137999999999998</c:v>
                </c:pt>
                <c:pt idx="1381">
                  <c:v>41.07</c:v>
                </c:pt>
                <c:pt idx="1382">
                  <c:v>40.798000000000002</c:v>
                </c:pt>
                <c:pt idx="1383">
                  <c:v>40.866999999999997</c:v>
                </c:pt>
                <c:pt idx="1384">
                  <c:v>41.207000000000001</c:v>
                </c:pt>
                <c:pt idx="1385">
                  <c:v>40.935000000000002</c:v>
                </c:pt>
                <c:pt idx="1386">
                  <c:v>40.798000000000002</c:v>
                </c:pt>
                <c:pt idx="1387">
                  <c:v>41.341999999999999</c:v>
                </c:pt>
                <c:pt idx="1388">
                  <c:v>41.002000000000002</c:v>
                </c:pt>
                <c:pt idx="1389">
                  <c:v>40.661999999999999</c:v>
                </c:pt>
                <c:pt idx="1390">
                  <c:v>41.002000000000002</c:v>
                </c:pt>
                <c:pt idx="1391">
                  <c:v>41.002000000000002</c:v>
                </c:pt>
                <c:pt idx="1392">
                  <c:v>41.002000000000002</c:v>
                </c:pt>
                <c:pt idx="1393">
                  <c:v>41.07</c:v>
                </c:pt>
                <c:pt idx="1394">
                  <c:v>41.002000000000002</c:v>
                </c:pt>
                <c:pt idx="1395">
                  <c:v>40.866999999999997</c:v>
                </c:pt>
                <c:pt idx="1396">
                  <c:v>41.002000000000002</c:v>
                </c:pt>
                <c:pt idx="1397">
                  <c:v>41.341999999999999</c:v>
                </c:pt>
                <c:pt idx="1398">
                  <c:v>41.274999999999999</c:v>
                </c:pt>
                <c:pt idx="1399">
                  <c:v>40.935000000000002</c:v>
                </c:pt>
                <c:pt idx="1400">
                  <c:v>40.798000000000002</c:v>
                </c:pt>
                <c:pt idx="1401">
                  <c:v>41.07</c:v>
                </c:pt>
                <c:pt idx="1402">
                  <c:v>41.07</c:v>
                </c:pt>
                <c:pt idx="1403">
                  <c:v>41.002000000000002</c:v>
                </c:pt>
                <c:pt idx="1404">
                  <c:v>41.07</c:v>
                </c:pt>
                <c:pt idx="1405">
                  <c:v>41.207000000000001</c:v>
                </c:pt>
                <c:pt idx="1406">
                  <c:v>41.07</c:v>
                </c:pt>
                <c:pt idx="1407">
                  <c:v>41.07</c:v>
                </c:pt>
                <c:pt idx="1408">
                  <c:v>41.137999999999998</c:v>
                </c:pt>
                <c:pt idx="1409">
                  <c:v>41.002000000000002</c:v>
                </c:pt>
                <c:pt idx="1410">
                  <c:v>41.207000000000001</c:v>
                </c:pt>
                <c:pt idx="1411">
                  <c:v>41.207000000000001</c:v>
                </c:pt>
                <c:pt idx="1412">
                  <c:v>41.07</c:v>
                </c:pt>
                <c:pt idx="1413">
                  <c:v>41.137999999999998</c:v>
                </c:pt>
                <c:pt idx="1414">
                  <c:v>41.137999999999998</c:v>
                </c:pt>
                <c:pt idx="1415">
                  <c:v>40.661999999999999</c:v>
                </c:pt>
                <c:pt idx="1416">
                  <c:v>40.935000000000002</c:v>
                </c:pt>
                <c:pt idx="1417">
                  <c:v>41.137999999999998</c:v>
                </c:pt>
                <c:pt idx="1418">
                  <c:v>41.341999999999999</c:v>
                </c:pt>
                <c:pt idx="1419">
                  <c:v>41.137999999999998</c:v>
                </c:pt>
                <c:pt idx="1420">
                  <c:v>41.341999999999999</c:v>
                </c:pt>
                <c:pt idx="1421">
                  <c:v>41.207000000000001</c:v>
                </c:pt>
                <c:pt idx="1422">
                  <c:v>40.935000000000002</c:v>
                </c:pt>
                <c:pt idx="1423">
                  <c:v>41.002000000000002</c:v>
                </c:pt>
                <c:pt idx="1424">
                  <c:v>41.207000000000001</c:v>
                </c:pt>
                <c:pt idx="1425">
                  <c:v>41.002000000000002</c:v>
                </c:pt>
                <c:pt idx="1426">
                  <c:v>41.137999999999998</c:v>
                </c:pt>
                <c:pt idx="1427">
                  <c:v>41.207000000000001</c:v>
                </c:pt>
                <c:pt idx="1428">
                  <c:v>40.798000000000002</c:v>
                </c:pt>
                <c:pt idx="1429">
                  <c:v>40.798000000000002</c:v>
                </c:pt>
                <c:pt idx="1430">
                  <c:v>41.07</c:v>
                </c:pt>
                <c:pt idx="1431">
                  <c:v>41.274999999999999</c:v>
                </c:pt>
                <c:pt idx="1432">
                  <c:v>41.274999999999999</c:v>
                </c:pt>
                <c:pt idx="1433">
                  <c:v>41.207000000000001</c:v>
                </c:pt>
                <c:pt idx="1434">
                  <c:v>41.274999999999999</c:v>
                </c:pt>
                <c:pt idx="1435">
                  <c:v>41.07</c:v>
                </c:pt>
                <c:pt idx="1436">
                  <c:v>40.866999999999997</c:v>
                </c:pt>
                <c:pt idx="1437">
                  <c:v>41.07</c:v>
                </c:pt>
                <c:pt idx="1438">
                  <c:v>41.002000000000002</c:v>
                </c:pt>
                <c:pt idx="1439">
                  <c:v>41.341999999999999</c:v>
                </c:pt>
                <c:pt idx="1440">
                  <c:v>41.207000000000001</c:v>
                </c:pt>
                <c:pt idx="1441">
                  <c:v>41.341999999999999</c:v>
                </c:pt>
                <c:pt idx="1442">
                  <c:v>41.137999999999998</c:v>
                </c:pt>
                <c:pt idx="1443">
                  <c:v>41.137999999999998</c:v>
                </c:pt>
                <c:pt idx="1444">
                  <c:v>41.07</c:v>
                </c:pt>
                <c:pt idx="1445">
                  <c:v>41.207000000000001</c:v>
                </c:pt>
                <c:pt idx="1446">
                  <c:v>41.207000000000001</c:v>
                </c:pt>
                <c:pt idx="1447">
                  <c:v>41.207000000000001</c:v>
                </c:pt>
                <c:pt idx="1448">
                  <c:v>41.002000000000002</c:v>
                </c:pt>
                <c:pt idx="1449">
                  <c:v>41.07</c:v>
                </c:pt>
                <c:pt idx="1450">
                  <c:v>41.07</c:v>
                </c:pt>
                <c:pt idx="1451">
                  <c:v>41.207000000000001</c:v>
                </c:pt>
                <c:pt idx="1452">
                  <c:v>41.002000000000002</c:v>
                </c:pt>
                <c:pt idx="1453">
                  <c:v>41.41</c:v>
                </c:pt>
                <c:pt idx="1454">
                  <c:v>41.207000000000001</c:v>
                </c:pt>
                <c:pt idx="1455">
                  <c:v>41.137999999999998</c:v>
                </c:pt>
                <c:pt idx="1456">
                  <c:v>41.207000000000001</c:v>
                </c:pt>
                <c:pt idx="1457">
                  <c:v>40.935000000000002</c:v>
                </c:pt>
                <c:pt idx="1458">
                  <c:v>41.207000000000001</c:v>
                </c:pt>
                <c:pt idx="1459">
                  <c:v>40.935000000000002</c:v>
                </c:pt>
                <c:pt idx="1460">
                  <c:v>41.207000000000001</c:v>
                </c:pt>
                <c:pt idx="1461">
                  <c:v>41.137999999999998</c:v>
                </c:pt>
                <c:pt idx="1462">
                  <c:v>41.137999999999998</c:v>
                </c:pt>
                <c:pt idx="1463">
                  <c:v>41.341999999999999</c:v>
                </c:pt>
                <c:pt idx="1464">
                  <c:v>41.207000000000001</c:v>
                </c:pt>
                <c:pt idx="1465">
                  <c:v>41.207000000000001</c:v>
                </c:pt>
                <c:pt idx="1466">
                  <c:v>40.729999999999997</c:v>
                </c:pt>
                <c:pt idx="1467">
                  <c:v>40.935000000000002</c:v>
                </c:pt>
                <c:pt idx="1468">
                  <c:v>41.137999999999998</c:v>
                </c:pt>
                <c:pt idx="1469">
                  <c:v>41.274999999999999</c:v>
                </c:pt>
                <c:pt idx="1470">
                  <c:v>41.07</c:v>
                </c:pt>
                <c:pt idx="1471">
                  <c:v>41.41</c:v>
                </c:pt>
                <c:pt idx="1472">
                  <c:v>40.866999999999997</c:v>
                </c:pt>
                <c:pt idx="1473">
                  <c:v>41.207000000000001</c:v>
                </c:pt>
                <c:pt idx="1474">
                  <c:v>41.341999999999999</c:v>
                </c:pt>
                <c:pt idx="1475">
                  <c:v>41.274999999999999</c:v>
                </c:pt>
                <c:pt idx="1476">
                  <c:v>41.341999999999999</c:v>
                </c:pt>
                <c:pt idx="1477">
                  <c:v>41.002000000000002</c:v>
                </c:pt>
                <c:pt idx="1478">
                  <c:v>41.274999999999999</c:v>
                </c:pt>
                <c:pt idx="1479">
                  <c:v>41.274999999999999</c:v>
                </c:pt>
                <c:pt idx="1480">
                  <c:v>41.341999999999999</c:v>
                </c:pt>
                <c:pt idx="1481">
                  <c:v>41.002000000000002</c:v>
                </c:pt>
                <c:pt idx="1482">
                  <c:v>41.41</c:v>
                </c:pt>
                <c:pt idx="1483">
                  <c:v>41.002000000000002</c:v>
                </c:pt>
                <c:pt idx="1484">
                  <c:v>41.002000000000002</c:v>
                </c:pt>
                <c:pt idx="1485">
                  <c:v>41.002000000000002</c:v>
                </c:pt>
                <c:pt idx="1486">
                  <c:v>41.207000000000001</c:v>
                </c:pt>
                <c:pt idx="1487">
                  <c:v>41.274999999999999</c:v>
                </c:pt>
                <c:pt idx="1488">
                  <c:v>41.478000000000002</c:v>
                </c:pt>
                <c:pt idx="1489">
                  <c:v>41.341999999999999</c:v>
                </c:pt>
                <c:pt idx="1490">
                  <c:v>41.137999999999998</c:v>
                </c:pt>
                <c:pt idx="1491">
                  <c:v>41.137999999999998</c:v>
                </c:pt>
                <c:pt idx="1492">
                  <c:v>41.341999999999999</c:v>
                </c:pt>
                <c:pt idx="1493">
                  <c:v>41.07</c:v>
                </c:pt>
                <c:pt idx="1494">
                  <c:v>41.07</c:v>
                </c:pt>
                <c:pt idx="1495">
                  <c:v>41.002000000000002</c:v>
                </c:pt>
                <c:pt idx="1496">
                  <c:v>41.274999999999999</c:v>
                </c:pt>
                <c:pt idx="1497">
                  <c:v>41.07</c:v>
                </c:pt>
                <c:pt idx="1498">
                  <c:v>41.07</c:v>
                </c:pt>
                <c:pt idx="1499">
                  <c:v>41.274999999999999</c:v>
                </c:pt>
                <c:pt idx="1500">
                  <c:v>41.137999999999998</c:v>
                </c:pt>
                <c:pt idx="1501">
                  <c:v>41.07</c:v>
                </c:pt>
                <c:pt idx="1502">
                  <c:v>40.866999999999997</c:v>
                </c:pt>
                <c:pt idx="1503">
                  <c:v>41.137999999999998</c:v>
                </c:pt>
                <c:pt idx="1504">
                  <c:v>41.274999999999999</c:v>
                </c:pt>
                <c:pt idx="1505">
                  <c:v>41.41</c:v>
                </c:pt>
                <c:pt idx="1506">
                  <c:v>41.207000000000001</c:v>
                </c:pt>
                <c:pt idx="1507">
                  <c:v>41.207000000000001</c:v>
                </c:pt>
                <c:pt idx="1508">
                  <c:v>41.137999999999998</c:v>
                </c:pt>
                <c:pt idx="1509">
                  <c:v>40.866999999999997</c:v>
                </c:pt>
                <c:pt idx="1510">
                  <c:v>41.07</c:v>
                </c:pt>
                <c:pt idx="1511">
                  <c:v>41.137999999999998</c:v>
                </c:pt>
                <c:pt idx="1512">
                  <c:v>41.546999999999997</c:v>
                </c:pt>
                <c:pt idx="1513">
                  <c:v>40.935000000000002</c:v>
                </c:pt>
                <c:pt idx="1514">
                  <c:v>41.274999999999999</c:v>
                </c:pt>
                <c:pt idx="1515">
                  <c:v>41.207000000000001</c:v>
                </c:pt>
                <c:pt idx="1516">
                  <c:v>41.274999999999999</c:v>
                </c:pt>
                <c:pt idx="1517">
                  <c:v>40.935000000000002</c:v>
                </c:pt>
                <c:pt idx="1518">
                  <c:v>41.07</c:v>
                </c:pt>
                <c:pt idx="1519">
                  <c:v>41.274999999999999</c:v>
                </c:pt>
                <c:pt idx="1520">
                  <c:v>41.41</c:v>
                </c:pt>
                <c:pt idx="1521">
                  <c:v>41.41</c:v>
                </c:pt>
                <c:pt idx="1522">
                  <c:v>41.478000000000002</c:v>
                </c:pt>
                <c:pt idx="1523">
                  <c:v>41.274999999999999</c:v>
                </c:pt>
                <c:pt idx="1524">
                  <c:v>41.207000000000001</c:v>
                </c:pt>
                <c:pt idx="1525">
                  <c:v>41.41</c:v>
                </c:pt>
                <c:pt idx="1526">
                  <c:v>41.274999999999999</c:v>
                </c:pt>
                <c:pt idx="1527">
                  <c:v>41.137999999999998</c:v>
                </c:pt>
                <c:pt idx="1528">
                  <c:v>41.341999999999999</c:v>
                </c:pt>
                <c:pt idx="1529">
                  <c:v>41.207000000000001</c:v>
                </c:pt>
                <c:pt idx="1530">
                  <c:v>40.798000000000002</c:v>
                </c:pt>
                <c:pt idx="1531">
                  <c:v>41.07</c:v>
                </c:pt>
                <c:pt idx="1532">
                  <c:v>41.41</c:v>
                </c:pt>
                <c:pt idx="1533">
                  <c:v>41.207000000000001</c:v>
                </c:pt>
                <c:pt idx="1534">
                  <c:v>41.137999999999998</c:v>
                </c:pt>
                <c:pt idx="1535">
                  <c:v>41.341999999999999</c:v>
                </c:pt>
                <c:pt idx="1536">
                  <c:v>41.274999999999999</c:v>
                </c:pt>
                <c:pt idx="1537">
                  <c:v>41.207000000000001</c:v>
                </c:pt>
                <c:pt idx="1538">
                  <c:v>41.41</c:v>
                </c:pt>
                <c:pt idx="1539">
                  <c:v>41.002000000000002</c:v>
                </c:pt>
                <c:pt idx="1540">
                  <c:v>41.274999999999999</c:v>
                </c:pt>
                <c:pt idx="1541">
                  <c:v>41.137999999999998</c:v>
                </c:pt>
                <c:pt idx="1542">
                  <c:v>41.615000000000002</c:v>
                </c:pt>
                <c:pt idx="1543">
                  <c:v>40.935000000000002</c:v>
                </c:pt>
                <c:pt idx="1544">
                  <c:v>41.341999999999999</c:v>
                </c:pt>
                <c:pt idx="1545">
                  <c:v>41.274999999999999</c:v>
                </c:pt>
                <c:pt idx="1546">
                  <c:v>41.207000000000001</c:v>
                </c:pt>
                <c:pt idx="1547">
                  <c:v>41.207000000000001</c:v>
                </c:pt>
                <c:pt idx="1548">
                  <c:v>41.207000000000001</c:v>
                </c:pt>
                <c:pt idx="1549">
                  <c:v>41.137999999999998</c:v>
                </c:pt>
                <c:pt idx="1550">
                  <c:v>41.41</c:v>
                </c:pt>
                <c:pt idx="1551">
                  <c:v>40.661999999999999</c:v>
                </c:pt>
                <c:pt idx="1552">
                  <c:v>41.137999999999998</c:v>
                </c:pt>
                <c:pt idx="1553">
                  <c:v>41.207000000000001</c:v>
                </c:pt>
                <c:pt idx="1554">
                  <c:v>41.341999999999999</c:v>
                </c:pt>
                <c:pt idx="1555">
                  <c:v>41.546999999999997</c:v>
                </c:pt>
                <c:pt idx="1556">
                  <c:v>41.207000000000001</c:v>
                </c:pt>
                <c:pt idx="1557">
                  <c:v>41.546999999999997</c:v>
                </c:pt>
                <c:pt idx="1558">
                  <c:v>41.07</c:v>
                </c:pt>
                <c:pt idx="1559">
                  <c:v>41.002000000000002</c:v>
                </c:pt>
                <c:pt idx="1560">
                  <c:v>41.137999999999998</c:v>
                </c:pt>
                <c:pt idx="1561">
                  <c:v>41.615000000000002</c:v>
                </c:pt>
                <c:pt idx="1562">
                  <c:v>41.002000000000002</c:v>
                </c:pt>
                <c:pt idx="1563">
                  <c:v>41.341999999999999</c:v>
                </c:pt>
                <c:pt idx="1564">
                  <c:v>41.274999999999999</c:v>
                </c:pt>
                <c:pt idx="1565">
                  <c:v>41.207000000000001</c:v>
                </c:pt>
                <c:pt idx="1566">
                  <c:v>41.341999999999999</c:v>
                </c:pt>
                <c:pt idx="1567">
                  <c:v>41.682000000000002</c:v>
                </c:pt>
                <c:pt idx="1568">
                  <c:v>41.137999999999998</c:v>
                </c:pt>
                <c:pt idx="1569">
                  <c:v>41.274999999999999</c:v>
                </c:pt>
                <c:pt idx="1570">
                  <c:v>41.274999999999999</c:v>
                </c:pt>
                <c:pt idx="1571">
                  <c:v>41.546999999999997</c:v>
                </c:pt>
                <c:pt idx="1572">
                  <c:v>41.41</c:v>
                </c:pt>
                <c:pt idx="1573">
                  <c:v>41.341999999999999</c:v>
                </c:pt>
                <c:pt idx="1574">
                  <c:v>41.341999999999999</c:v>
                </c:pt>
                <c:pt idx="1575">
                  <c:v>41.274999999999999</c:v>
                </c:pt>
                <c:pt idx="1576">
                  <c:v>41.817999999999998</c:v>
                </c:pt>
                <c:pt idx="1577">
                  <c:v>41.137999999999998</c:v>
                </c:pt>
                <c:pt idx="1578">
                  <c:v>41.274999999999999</c:v>
                </c:pt>
                <c:pt idx="1579">
                  <c:v>41.207000000000001</c:v>
                </c:pt>
                <c:pt idx="1580">
                  <c:v>41.41</c:v>
                </c:pt>
                <c:pt idx="1581">
                  <c:v>41.274999999999999</c:v>
                </c:pt>
                <c:pt idx="1582">
                  <c:v>41.546999999999997</c:v>
                </c:pt>
                <c:pt idx="1583">
                  <c:v>41.207000000000001</c:v>
                </c:pt>
                <c:pt idx="1584">
                  <c:v>41.207000000000001</c:v>
                </c:pt>
                <c:pt idx="1585">
                  <c:v>41.682000000000002</c:v>
                </c:pt>
                <c:pt idx="1586">
                  <c:v>41.41</c:v>
                </c:pt>
                <c:pt idx="1587">
                  <c:v>41.207000000000001</c:v>
                </c:pt>
                <c:pt idx="1588">
                  <c:v>41.41</c:v>
                </c:pt>
                <c:pt idx="1589">
                  <c:v>41.137999999999998</c:v>
                </c:pt>
                <c:pt idx="1590">
                  <c:v>41.341999999999999</c:v>
                </c:pt>
                <c:pt idx="1591">
                  <c:v>41.546999999999997</c:v>
                </c:pt>
                <c:pt idx="1592">
                  <c:v>41.137999999999998</c:v>
                </c:pt>
                <c:pt idx="1593">
                  <c:v>41.07</c:v>
                </c:pt>
                <c:pt idx="1594">
                  <c:v>41.41</c:v>
                </c:pt>
                <c:pt idx="1595">
                  <c:v>41.546999999999997</c:v>
                </c:pt>
                <c:pt idx="1596">
                  <c:v>41.274999999999999</c:v>
                </c:pt>
                <c:pt idx="1597">
                  <c:v>41.341999999999999</c:v>
                </c:pt>
                <c:pt idx="1598">
                  <c:v>41.682000000000002</c:v>
                </c:pt>
                <c:pt idx="1599">
                  <c:v>41.341999999999999</c:v>
                </c:pt>
                <c:pt idx="1600">
                  <c:v>41.682000000000002</c:v>
                </c:pt>
                <c:pt idx="1601">
                  <c:v>41.207000000000001</c:v>
                </c:pt>
                <c:pt idx="1602">
                  <c:v>41.002000000000002</c:v>
                </c:pt>
                <c:pt idx="1603">
                  <c:v>41.615000000000002</c:v>
                </c:pt>
                <c:pt idx="1604">
                  <c:v>41.207000000000001</c:v>
                </c:pt>
                <c:pt idx="1605">
                  <c:v>41.546999999999997</c:v>
                </c:pt>
                <c:pt idx="1606">
                  <c:v>41.41</c:v>
                </c:pt>
                <c:pt idx="1607">
                  <c:v>41.478000000000002</c:v>
                </c:pt>
                <c:pt idx="1608">
                  <c:v>41.546999999999997</c:v>
                </c:pt>
                <c:pt idx="1609">
                  <c:v>41.341999999999999</c:v>
                </c:pt>
                <c:pt idx="1610">
                  <c:v>40.935000000000002</c:v>
                </c:pt>
                <c:pt idx="1611">
                  <c:v>41.274999999999999</c:v>
                </c:pt>
                <c:pt idx="1612">
                  <c:v>41.002000000000002</c:v>
                </c:pt>
                <c:pt idx="1613">
                  <c:v>41.546999999999997</c:v>
                </c:pt>
                <c:pt idx="1614">
                  <c:v>41.478000000000002</c:v>
                </c:pt>
                <c:pt idx="1615">
                  <c:v>41.137999999999998</c:v>
                </c:pt>
                <c:pt idx="1616">
                  <c:v>41.41</c:v>
                </c:pt>
                <c:pt idx="1617">
                  <c:v>41.546999999999997</c:v>
                </c:pt>
                <c:pt idx="1618">
                  <c:v>41.41</c:v>
                </c:pt>
                <c:pt idx="1619">
                  <c:v>41.546999999999997</c:v>
                </c:pt>
                <c:pt idx="1620">
                  <c:v>41.615000000000002</c:v>
                </c:pt>
                <c:pt idx="1621">
                  <c:v>41.615000000000002</c:v>
                </c:pt>
                <c:pt idx="1622">
                  <c:v>41.341999999999999</c:v>
                </c:pt>
                <c:pt idx="1623">
                  <c:v>41.341999999999999</c:v>
                </c:pt>
                <c:pt idx="1624">
                  <c:v>41.546999999999997</c:v>
                </c:pt>
                <c:pt idx="1625">
                  <c:v>41.341999999999999</c:v>
                </c:pt>
                <c:pt idx="1626">
                  <c:v>41.274999999999999</c:v>
                </c:pt>
                <c:pt idx="1627">
                  <c:v>41.546999999999997</c:v>
                </c:pt>
                <c:pt idx="1628">
                  <c:v>41.75</c:v>
                </c:pt>
                <c:pt idx="1629">
                  <c:v>41.002000000000002</c:v>
                </c:pt>
                <c:pt idx="1630">
                  <c:v>41.682000000000002</c:v>
                </c:pt>
                <c:pt idx="1631">
                  <c:v>41.41</c:v>
                </c:pt>
                <c:pt idx="1632">
                  <c:v>41.341999999999999</c:v>
                </c:pt>
                <c:pt idx="1633">
                  <c:v>41.341999999999999</c:v>
                </c:pt>
                <c:pt idx="1634">
                  <c:v>41.41</c:v>
                </c:pt>
                <c:pt idx="1635">
                  <c:v>41.341999999999999</c:v>
                </c:pt>
                <c:pt idx="1636">
                  <c:v>41.75</c:v>
                </c:pt>
                <c:pt idx="1637">
                  <c:v>41.478000000000002</c:v>
                </c:pt>
                <c:pt idx="1638">
                  <c:v>41.546999999999997</c:v>
                </c:pt>
                <c:pt idx="1639">
                  <c:v>41.682000000000002</c:v>
                </c:pt>
                <c:pt idx="1640">
                  <c:v>41.887</c:v>
                </c:pt>
                <c:pt idx="1641">
                  <c:v>41.478000000000002</c:v>
                </c:pt>
                <c:pt idx="1642">
                  <c:v>41.478000000000002</c:v>
                </c:pt>
                <c:pt idx="1643">
                  <c:v>41.41</c:v>
                </c:pt>
                <c:pt idx="1644">
                  <c:v>41.615000000000002</c:v>
                </c:pt>
                <c:pt idx="1645">
                  <c:v>41.341999999999999</c:v>
                </c:pt>
                <c:pt idx="1646">
                  <c:v>41.682000000000002</c:v>
                </c:pt>
                <c:pt idx="1647">
                  <c:v>41.41</c:v>
                </c:pt>
                <c:pt idx="1648">
                  <c:v>41.41</c:v>
                </c:pt>
                <c:pt idx="1649">
                  <c:v>41.274999999999999</c:v>
                </c:pt>
                <c:pt idx="1650">
                  <c:v>41.274999999999999</c:v>
                </c:pt>
                <c:pt idx="1651">
                  <c:v>41.682000000000002</c:v>
                </c:pt>
                <c:pt idx="1652">
                  <c:v>41.478000000000002</c:v>
                </c:pt>
                <c:pt idx="1653">
                  <c:v>41.41</c:v>
                </c:pt>
                <c:pt idx="1654">
                  <c:v>41.682000000000002</c:v>
                </c:pt>
                <c:pt idx="1655">
                  <c:v>41.546999999999997</c:v>
                </c:pt>
                <c:pt idx="1656">
                  <c:v>41.41</c:v>
                </c:pt>
                <c:pt idx="1657">
                  <c:v>41.682000000000002</c:v>
                </c:pt>
                <c:pt idx="1658">
                  <c:v>41.546999999999997</c:v>
                </c:pt>
                <c:pt idx="1659">
                  <c:v>41.478000000000002</c:v>
                </c:pt>
                <c:pt idx="1660">
                  <c:v>41.41</c:v>
                </c:pt>
                <c:pt idx="1661">
                  <c:v>41.341999999999999</c:v>
                </c:pt>
                <c:pt idx="1662">
                  <c:v>41.478000000000002</c:v>
                </c:pt>
                <c:pt idx="1663">
                  <c:v>41.07</c:v>
                </c:pt>
                <c:pt idx="1664">
                  <c:v>41.817999999999998</c:v>
                </c:pt>
                <c:pt idx="1665">
                  <c:v>41.75</c:v>
                </c:pt>
                <c:pt idx="1666">
                  <c:v>41.41</c:v>
                </c:pt>
                <c:pt idx="1667">
                  <c:v>41.682000000000002</c:v>
                </c:pt>
                <c:pt idx="1668">
                  <c:v>41.341999999999999</c:v>
                </c:pt>
                <c:pt idx="1669">
                  <c:v>41.546999999999997</c:v>
                </c:pt>
                <c:pt idx="1670">
                  <c:v>41.615000000000002</c:v>
                </c:pt>
                <c:pt idx="1671">
                  <c:v>41.546999999999997</c:v>
                </c:pt>
                <c:pt idx="1672">
                  <c:v>41.546999999999997</c:v>
                </c:pt>
                <c:pt idx="1673">
                  <c:v>41.817999999999998</c:v>
                </c:pt>
                <c:pt idx="1674">
                  <c:v>41.546999999999997</c:v>
                </c:pt>
                <c:pt idx="1675">
                  <c:v>41.615000000000002</c:v>
                </c:pt>
                <c:pt idx="1676">
                  <c:v>41.478000000000002</c:v>
                </c:pt>
                <c:pt idx="1677">
                  <c:v>41.478000000000002</c:v>
                </c:pt>
                <c:pt idx="1678">
                  <c:v>41.615000000000002</c:v>
                </c:pt>
                <c:pt idx="1679">
                  <c:v>41.274999999999999</c:v>
                </c:pt>
                <c:pt idx="1680">
                  <c:v>41.478000000000002</c:v>
                </c:pt>
                <c:pt idx="1681">
                  <c:v>41.41</c:v>
                </c:pt>
                <c:pt idx="1682">
                  <c:v>41.682000000000002</c:v>
                </c:pt>
                <c:pt idx="1683">
                  <c:v>41.341999999999999</c:v>
                </c:pt>
                <c:pt idx="1684">
                  <c:v>41.41</c:v>
                </c:pt>
                <c:pt idx="1685">
                  <c:v>41.615000000000002</c:v>
                </c:pt>
                <c:pt idx="1686">
                  <c:v>41.615000000000002</c:v>
                </c:pt>
                <c:pt idx="1687">
                  <c:v>41.75</c:v>
                </c:pt>
                <c:pt idx="1688">
                  <c:v>41.817999999999998</c:v>
                </c:pt>
                <c:pt idx="1689">
                  <c:v>41.615000000000002</c:v>
                </c:pt>
                <c:pt idx="1690">
                  <c:v>41.41</c:v>
                </c:pt>
                <c:pt idx="1691">
                  <c:v>41.615000000000002</c:v>
                </c:pt>
                <c:pt idx="1692">
                  <c:v>41.615000000000002</c:v>
                </c:pt>
                <c:pt idx="1693">
                  <c:v>41.478000000000002</c:v>
                </c:pt>
                <c:pt idx="1694">
                  <c:v>41.615000000000002</c:v>
                </c:pt>
                <c:pt idx="1695">
                  <c:v>41.682000000000002</c:v>
                </c:pt>
                <c:pt idx="1696">
                  <c:v>41.615000000000002</c:v>
                </c:pt>
                <c:pt idx="1697">
                  <c:v>41.41</c:v>
                </c:pt>
                <c:pt idx="1698">
                  <c:v>41.546999999999997</c:v>
                </c:pt>
                <c:pt idx="1699">
                  <c:v>41.682000000000002</c:v>
                </c:pt>
                <c:pt idx="1700">
                  <c:v>41.207000000000001</c:v>
                </c:pt>
                <c:pt idx="1701">
                  <c:v>41.478000000000002</c:v>
                </c:pt>
                <c:pt idx="1702">
                  <c:v>41.546999999999997</c:v>
                </c:pt>
                <c:pt idx="1703">
                  <c:v>41.478000000000002</c:v>
                </c:pt>
                <c:pt idx="1704">
                  <c:v>41.478000000000002</c:v>
                </c:pt>
                <c:pt idx="1705">
                  <c:v>41.887</c:v>
                </c:pt>
                <c:pt idx="1706">
                  <c:v>41.546999999999997</c:v>
                </c:pt>
                <c:pt idx="1707">
                  <c:v>41.546999999999997</c:v>
                </c:pt>
                <c:pt idx="1708">
                  <c:v>41.682000000000002</c:v>
                </c:pt>
                <c:pt idx="1709">
                  <c:v>41.75</c:v>
                </c:pt>
                <c:pt idx="1710">
                  <c:v>41.954999999999998</c:v>
                </c:pt>
                <c:pt idx="1711">
                  <c:v>41.682000000000002</c:v>
                </c:pt>
                <c:pt idx="1712">
                  <c:v>41.75</c:v>
                </c:pt>
                <c:pt idx="1713">
                  <c:v>41.478000000000002</c:v>
                </c:pt>
                <c:pt idx="1714">
                  <c:v>41.341999999999999</c:v>
                </c:pt>
                <c:pt idx="1715">
                  <c:v>41.478000000000002</c:v>
                </c:pt>
                <c:pt idx="1716">
                  <c:v>41.75</c:v>
                </c:pt>
                <c:pt idx="1717">
                  <c:v>41.546999999999997</c:v>
                </c:pt>
                <c:pt idx="1718">
                  <c:v>41.75</c:v>
                </c:pt>
                <c:pt idx="1719">
                  <c:v>41.75</c:v>
                </c:pt>
                <c:pt idx="1720">
                  <c:v>41.954999999999998</c:v>
                </c:pt>
                <c:pt idx="1721">
                  <c:v>41.75</c:v>
                </c:pt>
                <c:pt idx="1722">
                  <c:v>41.615000000000002</c:v>
                </c:pt>
                <c:pt idx="1723">
                  <c:v>41.615000000000002</c:v>
                </c:pt>
                <c:pt idx="1724">
                  <c:v>42.021999999999998</c:v>
                </c:pt>
                <c:pt idx="1725">
                  <c:v>41.546999999999997</c:v>
                </c:pt>
                <c:pt idx="1726">
                  <c:v>41.887</c:v>
                </c:pt>
                <c:pt idx="1727">
                  <c:v>41.887</c:v>
                </c:pt>
                <c:pt idx="1728">
                  <c:v>41.682000000000002</c:v>
                </c:pt>
                <c:pt idx="1729">
                  <c:v>41.478000000000002</c:v>
                </c:pt>
                <c:pt idx="1730">
                  <c:v>41.887</c:v>
                </c:pt>
                <c:pt idx="1731">
                  <c:v>41.817999999999998</c:v>
                </c:pt>
                <c:pt idx="1732">
                  <c:v>41.615000000000002</c:v>
                </c:pt>
                <c:pt idx="1733">
                  <c:v>41.546999999999997</c:v>
                </c:pt>
                <c:pt idx="1734">
                  <c:v>41.546999999999997</c:v>
                </c:pt>
                <c:pt idx="1735">
                  <c:v>41.75</c:v>
                </c:pt>
                <c:pt idx="1736">
                  <c:v>41.478000000000002</c:v>
                </c:pt>
                <c:pt idx="1737">
                  <c:v>42.09</c:v>
                </c:pt>
                <c:pt idx="1738">
                  <c:v>41.682000000000002</c:v>
                </c:pt>
                <c:pt idx="1739">
                  <c:v>41.478000000000002</c:v>
                </c:pt>
                <c:pt idx="1740">
                  <c:v>41.478000000000002</c:v>
                </c:pt>
                <c:pt idx="1741">
                  <c:v>41.817999999999998</c:v>
                </c:pt>
                <c:pt idx="1742">
                  <c:v>41.546999999999997</c:v>
                </c:pt>
                <c:pt idx="1743">
                  <c:v>41.478000000000002</c:v>
                </c:pt>
                <c:pt idx="1744">
                  <c:v>41.75</c:v>
                </c:pt>
                <c:pt idx="1745">
                  <c:v>41.682000000000002</c:v>
                </c:pt>
                <c:pt idx="1746">
                  <c:v>41.817999999999998</c:v>
                </c:pt>
                <c:pt idx="1747">
                  <c:v>41.41</c:v>
                </c:pt>
                <c:pt idx="1748">
                  <c:v>41.682000000000002</c:v>
                </c:pt>
                <c:pt idx="1749">
                  <c:v>41.682000000000002</c:v>
                </c:pt>
                <c:pt idx="1750">
                  <c:v>41.682000000000002</c:v>
                </c:pt>
                <c:pt idx="1751">
                  <c:v>41.615000000000002</c:v>
                </c:pt>
                <c:pt idx="1752">
                  <c:v>41.615000000000002</c:v>
                </c:pt>
                <c:pt idx="1753">
                  <c:v>41.682000000000002</c:v>
                </c:pt>
                <c:pt idx="1754">
                  <c:v>41.615000000000002</c:v>
                </c:pt>
                <c:pt idx="1755">
                  <c:v>41.817999999999998</c:v>
                </c:pt>
                <c:pt idx="1756">
                  <c:v>41.615000000000002</c:v>
                </c:pt>
                <c:pt idx="1757">
                  <c:v>41.75</c:v>
                </c:pt>
                <c:pt idx="1758">
                  <c:v>41.887</c:v>
                </c:pt>
                <c:pt idx="1759">
                  <c:v>41.817999999999998</c:v>
                </c:pt>
                <c:pt idx="1760">
                  <c:v>41.817999999999998</c:v>
                </c:pt>
                <c:pt idx="1761">
                  <c:v>41.682000000000002</c:v>
                </c:pt>
                <c:pt idx="1762">
                  <c:v>41.817999999999998</c:v>
                </c:pt>
                <c:pt idx="1763">
                  <c:v>41.615000000000002</c:v>
                </c:pt>
                <c:pt idx="1764">
                  <c:v>41.75</c:v>
                </c:pt>
                <c:pt idx="1765">
                  <c:v>41.682000000000002</c:v>
                </c:pt>
                <c:pt idx="1766">
                  <c:v>41.41</c:v>
                </c:pt>
                <c:pt idx="1767">
                  <c:v>41.546999999999997</c:v>
                </c:pt>
                <c:pt idx="1768">
                  <c:v>41.887</c:v>
                </c:pt>
                <c:pt idx="1769">
                  <c:v>41.817999999999998</c:v>
                </c:pt>
                <c:pt idx="1770">
                  <c:v>41.615000000000002</c:v>
                </c:pt>
                <c:pt idx="1771">
                  <c:v>41.817999999999998</c:v>
                </c:pt>
                <c:pt idx="1772">
                  <c:v>41.546999999999997</c:v>
                </c:pt>
                <c:pt idx="1773">
                  <c:v>41.954999999999998</c:v>
                </c:pt>
                <c:pt idx="1774">
                  <c:v>41.954999999999998</c:v>
                </c:pt>
                <c:pt idx="1775">
                  <c:v>41.478000000000002</c:v>
                </c:pt>
                <c:pt idx="1776">
                  <c:v>41.682000000000002</c:v>
                </c:pt>
                <c:pt idx="1777">
                  <c:v>41.682000000000002</c:v>
                </c:pt>
                <c:pt idx="1778">
                  <c:v>41.817999999999998</c:v>
                </c:pt>
                <c:pt idx="1779">
                  <c:v>41.954999999999998</c:v>
                </c:pt>
                <c:pt idx="1780">
                  <c:v>41.478000000000002</c:v>
                </c:pt>
                <c:pt idx="1781">
                  <c:v>41.75</c:v>
                </c:pt>
                <c:pt idx="1782">
                  <c:v>41.41</c:v>
                </c:pt>
                <c:pt idx="1783">
                  <c:v>41.954999999999998</c:v>
                </c:pt>
                <c:pt idx="1784">
                  <c:v>41.682000000000002</c:v>
                </c:pt>
                <c:pt idx="1785">
                  <c:v>41.75</c:v>
                </c:pt>
                <c:pt idx="1786">
                  <c:v>41.887</c:v>
                </c:pt>
                <c:pt idx="1787">
                  <c:v>41.546999999999997</c:v>
                </c:pt>
                <c:pt idx="1788">
                  <c:v>41.817999999999998</c:v>
                </c:pt>
                <c:pt idx="1789">
                  <c:v>41.887</c:v>
                </c:pt>
                <c:pt idx="1790">
                  <c:v>41.341999999999999</c:v>
                </c:pt>
                <c:pt idx="1791">
                  <c:v>42.021999999999998</c:v>
                </c:pt>
                <c:pt idx="1792">
                  <c:v>41.75</c:v>
                </c:pt>
                <c:pt idx="1793">
                  <c:v>41.546999999999997</c:v>
                </c:pt>
                <c:pt idx="1794">
                  <c:v>41.817999999999998</c:v>
                </c:pt>
                <c:pt idx="1795">
                  <c:v>41.682000000000002</c:v>
                </c:pt>
                <c:pt idx="1796">
                  <c:v>41.682000000000002</c:v>
                </c:pt>
                <c:pt idx="1797">
                  <c:v>41.817999999999998</c:v>
                </c:pt>
                <c:pt idx="1798">
                  <c:v>41.887</c:v>
                </c:pt>
                <c:pt idx="1799">
                  <c:v>41.954999999999998</c:v>
                </c:pt>
                <c:pt idx="1800">
                  <c:v>42.09</c:v>
                </c:pt>
                <c:pt idx="1801">
                  <c:v>41.817999999999998</c:v>
                </c:pt>
                <c:pt idx="1802">
                  <c:v>41.887</c:v>
                </c:pt>
                <c:pt idx="1803">
                  <c:v>41.75</c:v>
                </c:pt>
                <c:pt idx="1804">
                  <c:v>41.75</c:v>
                </c:pt>
                <c:pt idx="1805">
                  <c:v>41.682000000000002</c:v>
                </c:pt>
                <c:pt idx="1806">
                  <c:v>41.546999999999997</c:v>
                </c:pt>
                <c:pt idx="1807">
                  <c:v>41.817999999999998</c:v>
                </c:pt>
                <c:pt idx="1808">
                  <c:v>41.546999999999997</c:v>
                </c:pt>
                <c:pt idx="1809">
                  <c:v>41.75</c:v>
                </c:pt>
                <c:pt idx="1810">
                  <c:v>42.158000000000001</c:v>
                </c:pt>
                <c:pt idx="1811">
                  <c:v>41.546999999999997</c:v>
                </c:pt>
                <c:pt idx="1812">
                  <c:v>41.615000000000002</c:v>
                </c:pt>
                <c:pt idx="1813">
                  <c:v>41.615000000000002</c:v>
                </c:pt>
                <c:pt idx="1814">
                  <c:v>41.682000000000002</c:v>
                </c:pt>
                <c:pt idx="1815">
                  <c:v>41.615000000000002</c:v>
                </c:pt>
                <c:pt idx="1816">
                  <c:v>41.615000000000002</c:v>
                </c:pt>
                <c:pt idx="1817">
                  <c:v>41.75</c:v>
                </c:pt>
                <c:pt idx="1818">
                  <c:v>41.954999999999998</c:v>
                </c:pt>
                <c:pt idx="1819">
                  <c:v>41.817999999999998</c:v>
                </c:pt>
                <c:pt idx="1820">
                  <c:v>41.546999999999997</c:v>
                </c:pt>
                <c:pt idx="1821">
                  <c:v>41.546999999999997</c:v>
                </c:pt>
                <c:pt idx="1822">
                  <c:v>41.887</c:v>
                </c:pt>
                <c:pt idx="1823">
                  <c:v>41.75</c:v>
                </c:pt>
                <c:pt idx="1824">
                  <c:v>41.682000000000002</c:v>
                </c:pt>
                <c:pt idx="1825">
                  <c:v>41.954999999999998</c:v>
                </c:pt>
                <c:pt idx="1826">
                  <c:v>41.887</c:v>
                </c:pt>
                <c:pt idx="1827">
                  <c:v>41.887</c:v>
                </c:pt>
                <c:pt idx="1828">
                  <c:v>41.887</c:v>
                </c:pt>
                <c:pt idx="1829">
                  <c:v>42.021999999999998</c:v>
                </c:pt>
                <c:pt idx="1830">
                  <c:v>41.615000000000002</c:v>
                </c:pt>
                <c:pt idx="1831">
                  <c:v>41.615000000000002</c:v>
                </c:pt>
                <c:pt idx="1832">
                  <c:v>41.546999999999997</c:v>
                </c:pt>
                <c:pt idx="1833">
                  <c:v>41.682000000000002</c:v>
                </c:pt>
                <c:pt idx="1834">
                  <c:v>41.682000000000002</c:v>
                </c:pt>
                <c:pt idx="1835">
                  <c:v>41.75</c:v>
                </c:pt>
                <c:pt idx="1836">
                  <c:v>41.682000000000002</c:v>
                </c:pt>
                <c:pt idx="1837">
                  <c:v>42.021999999999998</c:v>
                </c:pt>
                <c:pt idx="1838">
                  <c:v>41.41</c:v>
                </c:pt>
                <c:pt idx="1839">
                  <c:v>42.021999999999998</c:v>
                </c:pt>
                <c:pt idx="1840">
                  <c:v>42.021999999999998</c:v>
                </c:pt>
                <c:pt idx="1841">
                  <c:v>41.954999999999998</c:v>
                </c:pt>
                <c:pt idx="1842">
                  <c:v>41.817999999999998</c:v>
                </c:pt>
                <c:pt idx="1843">
                  <c:v>42.021999999999998</c:v>
                </c:pt>
                <c:pt idx="1844">
                  <c:v>41.75</c:v>
                </c:pt>
                <c:pt idx="1845">
                  <c:v>41.817999999999998</c:v>
                </c:pt>
                <c:pt idx="1846">
                  <c:v>41.954999999999998</c:v>
                </c:pt>
                <c:pt idx="1847">
                  <c:v>41.75</c:v>
                </c:pt>
                <c:pt idx="1848">
                  <c:v>41.682000000000002</c:v>
                </c:pt>
                <c:pt idx="1849">
                  <c:v>42.021999999999998</c:v>
                </c:pt>
                <c:pt idx="1850">
                  <c:v>41.887</c:v>
                </c:pt>
                <c:pt idx="1851">
                  <c:v>42.09</c:v>
                </c:pt>
                <c:pt idx="1852">
                  <c:v>41.682000000000002</c:v>
                </c:pt>
                <c:pt idx="1853">
                  <c:v>41.887</c:v>
                </c:pt>
                <c:pt idx="1854">
                  <c:v>41.887</c:v>
                </c:pt>
                <c:pt idx="1855">
                  <c:v>41.615000000000002</c:v>
                </c:pt>
                <c:pt idx="1856">
                  <c:v>42.158000000000001</c:v>
                </c:pt>
                <c:pt idx="1857">
                  <c:v>41.954999999999998</c:v>
                </c:pt>
                <c:pt idx="1858">
                  <c:v>41.546999999999997</c:v>
                </c:pt>
                <c:pt idx="1859">
                  <c:v>42.021999999999998</c:v>
                </c:pt>
                <c:pt idx="1860">
                  <c:v>42.021999999999998</c:v>
                </c:pt>
                <c:pt idx="1861">
                  <c:v>42.021999999999998</c:v>
                </c:pt>
                <c:pt idx="1862">
                  <c:v>41.887</c:v>
                </c:pt>
                <c:pt idx="1863">
                  <c:v>42.021999999999998</c:v>
                </c:pt>
                <c:pt idx="1864">
                  <c:v>41.887</c:v>
                </c:pt>
                <c:pt idx="1865">
                  <c:v>42.09</c:v>
                </c:pt>
                <c:pt idx="1866">
                  <c:v>41.615000000000002</c:v>
                </c:pt>
                <c:pt idx="1867">
                  <c:v>41.817999999999998</c:v>
                </c:pt>
                <c:pt idx="1868">
                  <c:v>42.021999999999998</c:v>
                </c:pt>
                <c:pt idx="1869">
                  <c:v>41.954999999999998</c:v>
                </c:pt>
                <c:pt idx="1870">
                  <c:v>42.09</c:v>
                </c:pt>
                <c:pt idx="1871">
                  <c:v>41.887</c:v>
                </c:pt>
                <c:pt idx="1872">
                  <c:v>41.817999999999998</c:v>
                </c:pt>
                <c:pt idx="1873">
                  <c:v>41.817999999999998</c:v>
                </c:pt>
                <c:pt idx="1874">
                  <c:v>41.41</c:v>
                </c:pt>
                <c:pt idx="1875">
                  <c:v>42.09</c:v>
                </c:pt>
                <c:pt idx="1876">
                  <c:v>41.817999999999998</c:v>
                </c:pt>
                <c:pt idx="1877">
                  <c:v>41.615000000000002</c:v>
                </c:pt>
                <c:pt idx="1878">
                  <c:v>41.75</c:v>
                </c:pt>
                <c:pt idx="1879">
                  <c:v>41.954999999999998</c:v>
                </c:pt>
                <c:pt idx="1880">
                  <c:v>41.682000000000002</c:v>
                </c:pt>
                <c:pt idx="1881">
                  <c:v>42.158000000000001</c:v>
                </c:pt>
                <c:pt idx="1882">
                  <c:v>41.682000000000002</c:v>
                </c:pt>
                <c:pt idx="1883">
                  <c:v>42.226999999999997</c:v>
                </c:pt>
                <c:pt idx="1884">
                  <c:v>41.817999999999998</c:v>
                </c:pt>
                <c:pt idx="1885">
                  <c:v>42.021999999999998</c:v>
                </c:pt>
                <c:pt idx="1886">
                  <c:v>41.75</c:v>
                </c:pt>
                <c:pt idx="1887">
                  <c:v>42.158000000000001</c:v>
                </c:pt>
                <c:pt idx="1888">
                  <c:v>41.954999999999998</c:v>
                </c:pt>
                <c:pt idx="1889">
                  <c:v>41.887</c:v>
                </c:pt>
                <c:pt idx="1890">
                  <c:v>41.682000000000002</c:v>
                </c:pt>
                <c:pt idx="1891">
                  <c:v>42.021999999999998</c:v>
                </c:pt>
                <c:pt idx="1892">
                  <c:v>41.817999999999998</c:v>
                </c:pt>
                <c:pt idx="1893">
                  <c:v>41.817999999999998</c:v>
                </c:pt>
                <c:pt idx="1894">
                  <c:v>42.021999999999998</c:v>
                </c:pt>
                <c:pt idx="1895">
                  <c:v>41.887</c:v>
                </c:pt>
                <c:pt idx="1896">
                  <c:v>42.226999999999997</c:v>
                </c:pt>
                <c:pt idx="1897">
                  <c:v>41.887</c:v>
                </c:pt>
                <c:pt idx="1898">
                  <c:v>42.158000000000001</c:v>
                </c:pt>
                <c:pt idx="1899">
                  <c:v>41.682000000000002</c:v>
                </c:pt>
                <c:pt idx="1900">
                  <c:v>42.09</c:v>
                </c:pt>
                <c:pt idx="1901">
                  <c:v>41.887</c:v>
                </c:pt>
                <c:pt idx="1902">
                  <c:v>42.021999999999998</c:v>
                </c:pt>
                <c:pt idx="1903">
                  <c:v>41.75</c:v>
                </c:pt>
                <c:pt idx="1904">
                  <c:v>41.817999999999998</c:v>
                </c:pt>
                <c:pt idx="1905">
                  <c:v>42.021999999999998</c:v>
                </c:pt>
                <c:pt idx="1906">
                  <c:v>42.09</c:v>
                </c:pt>
                <c:pt idx="1907">
                  <c:v>41.817999999999998</c:v>
                </c:pt>
                <c:pt idx="1908">
                  <c:v>42.09</c:v>
                </c:pt>
                <c:pt idx="1909">
                  <c:v>42.226999999999997</c:v>
                </c:pt>
                <c:pt idx="1910">
                  <c:v>41.817999999999998</c:v>
                </c:pt>
                <c:pt idx="1911">
                  <c:v>41.887</c:v>
                </c:pt>
                <c:pt idx="1912">
                  <c:v>41.817999999999998</c:v>
                </c:pt>
                <c:pt idx="1913">
                  <c:v>42.158000000000001</c:v>
                </c:pt>
                <c:pt idx="1914">
                  <c:v>41.887</c:v>
                </c:pt>
                <c:pt idx="1915">
                  <c:v>42.295000000000002</c:v>
                </c:pt>
                <c:pt idx="1916">
                  <c:v>41.954999999999998</c:v>
                </c:pt>
                <c:pt idx="1917">
                  <c:v>41.887</c:v>
                </c:pt>
                <c:pt idx="1918">
                  <c:v>42.226999999999997</c:v>
                </c:pt>
                <c:pt idx="1919">
                  <c:v>42.021999999999998</c:v>
                </c:pt>
                <c:pt idx="1920">
                  <c:v>42.226999999999997</c:v>
                </c:pt>
                <c:pt idx="1921">
                  <c:v>41.817999999999998</c:v>
                </c:pt>
                <c:pt idx="1922">
                  <c:v>41.954999999999998</c:v>
                </c:pt>
                <c:pt idx="1923">
                  <c:v>41.954999999999998</c:v>
                </c:pt>
                <c:pt idx="1924">
                  <c:v>41.954999999999998</c:v>
                </c:pt>
                <c:pt idx="1925">
                  <c:v>42.362000000000002</c:v>
                </c:pt>
                <c:pt idx="1926">
                  <c:v>42.021999999999998</c:v>
                </c:pt>
                <c:pt idx="1927">
                  <c:v>42.158000000000001</c:v>
                </c:pt>
                <c:pt idx="1928">
                  <c:v>41.954999999999998</c:v>
                </c:pt>
                <c:pt idx="1929">
                  <c:v>42.021999999999998</c:v>
                </c:pt>
                <c:pt idx="1930">
                  <c:v>42.362000000000002</c:v>
                </c:pt>
                <c:pt idx="1931">
                  <c:v>42.158000000000001</c:v>
                </c:pt>
                <c:pt idx="1932">
                  <c:v>41.817999999999998</c:v>
                </c:pt>
                <c:pt idx="1933">
                  <c:v>42.021999999999998</c:v>
                </c:pt>
                <c:pt idx="1934">
                  <c:v>42.362000000000002</c:v>
                </c:pt>
                <c:pt idx="1935">
                  <c:v>42.226999999999997</c:v>
                </c:pt>
                <c:pt idx="1936">
                  <c:v>42.021999999999998</c:v>
                </c:pt>
                <c:pt idx="1937">
                  <c:v>41.954999999999998</c:v>
                </c:pt>
                <c:pt idx="1938">
                  <c:v>41.75</c:v>
                </c:pt>
                <c:pt idx="1939">
                  <c:v>41.954999999999998</c:v>
                </c:pt>
                <c:pt idx="1940">
                  <c:v>42.09</c:v>
                </c:pt>
                <c:pt idx="1941">
                  <c:v>42.021999999999998</c:v>
                </c:pt>
                <c:pt idx="1942">
                  <c:v>41.887</c:v>
                </c:pt>
                <c:pt idx="1943">
                  <c:v>42.09</c:v>
                </c:pt>
                <c:pt idx="1944">
                  <c:v>42.295000000000002</c:v>
                </c:pt>
                <c:pt idx="1945">
                  <c:v>41.75</c:v>
                </c:pt>
                <c:pt idx="1946">
                  <c:v>41.887</c:v>
                </c:pt>
                <c:pt idx="1947">
                  <c:v>42.09</c:v>
                </c:pt>
                <c:pt idx="1948">
                  <c:v>42.021999999999998</c:v>
                </c:pt>
                <c:pt idx="1949">
                  <c:v>42.226999999999997</c:v>
                </c:pt>
                <c:pt idx="1950">
                  <c:v>41.615000000000002</c:v>
                </c:pt>
                <c:pt idx="1951">
                  <c:v>42.295000000000002</c:v>
                </c:pt>
                <c:pt idx="1952">
                  <c:v>41.954999999999998</c:v>
                </c:pt>
                <c:pt idx="1953">
                  <c:v>42.226999999999997</c:v>
                </c:pt>
                <c:pt idx="1954">
                  <c:v>42.021999999999998</c:v>
                </c:pt>
                <c:pt idx="1955">
                  <c:v>42.295000000000002</c:v>
                </c:pt>
                <c:pt idx="1956">
                  <c:v>42.226999999999997</c:v>
                </c:pt>
                <c:pt idx="1957">
                  <c:v>41.817999999999998</c:v>
                </c:pt>
                <c:pt idx="1958">
                  <c:v>42.021999999999998</c:v>
                </c:pt>
                <c:pt idx="1959">
                  <c:v>42.021999999999998</c:v>
                </c:pt>
                <c:pt idx="1960">
                  <c:v>42.362000000000002</c:v>
                </c:pt>
                <c:pt idx="1961">
                  <c:v>42.226999999999997</c:v>
                </c:pt>
                <c:pt idx="1962">
                  <c:v>42.021999999999998</c:v>
                </c:pt>
                <c:pt idx="1963">
                  <c:v>41.887</c:v>
                </c:pt>
                <c:pt idx="1964">
                  <c:v>42.09</c:v>
                </c:pt>
                <c:pt idx="1965">
                  <c:v>42.43</c:v>
                </c:pt>
                <c:pt idx="1966">
                  <c:v>42.226999999999997</c:v>
                </c:pt>
                <c:pt idx="1967">
                  <c:v>42.226999999999997</c:v>
                </c:pt>
                <c:pt idx="1968">
                  <c:v>42.158000000000001</c:v>
                </c:pt>
                <c:pt idx="1969">
                  <c:v>41.887</c:v>
                </c:pt>
                <c:pt idx="1970">
                  <c:v>42.362000000000002</c:v>
                </c:pt>
                <c:pt idx="1971">
                  <c:v>42.226999999999997</c:v>
                </c:pt>
                <c:pt idx="1972">
                  <c:v>42.021999999999998</c:v>
                </c:pt>
                <c:pt idx="1973">
                  <c:v>42.226999999999997</c:v>
                </c:pt>
                <c:pt idx="1974">
                  <c:v>42.158000000000001</c:v>
                </c:pt>
                <c:pt idx="1975">
                  <c:v>42.295000000000002</c:v>
                </c:pt>
                <c:pt idx="1976">
                  <c:v>42.158000000000001</c:v>
                </c:pt>
                <c:pt idx="1977">
                  <c:v>42.226999999999997</c:v>
                </c:pt>
                <c:pt idx="1978">
                  <c:v>42.09</c:v>
                </c:pt>
                <c:pt idx="1979">
                  <c:v>42.09</c:v>
                </c:pt>
                <c:pt idx="1980">
                  <c:v>42.158000000000001</c:v>
                </c:pt>
                <c:pt idx="1981">
                  <c:v>42.158000000000001</c:v>
                </c:pt>
                <c:pt idx="1982">
                  <c:v>42.158000000000001</c:v>
                </c:pt>
                <c:pt idx="1983">
                  <c:v>42.295000000000002</c:v>
                </c:pt>
                <c:pt idx="1984">
                  <c:v>42.158000000000001</c:v>
                </c:pt>
                <c:pt idx="1985">
                  <c:v>42.295000000000002</c:v>
                </c:pt>
                <c:pt idx="1986">
                  <c:v>42.158000000000001</c:v>
                </c:pt>
                <c:pt idx="1987">
                  <c:v>42.021999999999998</c:v>
                </c:pt>
                <c:pt idx="1988">
                  <c:v>42.158000000000001</c:v>
                </c:pt>
                <c:pt idx="1989">
                  <c:v>42.362000000000002</c:v>
                </c:pt>
                <c:pt idx="1990">
                  <c:v>42.43</c:v>
                </c:pt>
                <c:pt idx="1991">
                  <c:v>42.226999999999997</c:v>
                </c:pt>
                <c:pt idx="1992">
                  <c:v>42.09</c:v>
                </c:pt>
                <c:pt idx="1993">
                  <c:v>41.682000000000002</c:v>
                </c:pt>
                <c:pt idx="1994">
                  <c:v>42.09</c:v>
                </c:pt>
                <c:pt idx="1995">
                  <c:v>42.021999999999998</c:v>
                </c:pt>
                <c:pt idx="1996">
                  <c:v>42.021999999999998</c:v>
                </c:pt>
                <c:pt idx="1997">
                  <c:v>42.158000000000001</c:v>
                </c:pt>
                <c:pt idx="1998">
                  <c:v>42.497999999999998</c:v>
                </c:pt>
                <c:pt idx="1999">
                  <c:v>42.158000000000001</c:v>
                </c:pt>
                <c:pt idx="2000">
                  <c:v>41.887</c:v>
                </c:pt>
                <c:pt idx="2001">
                  <c:v>42.226999999999997</c:v>
                </c:pt>
                <c:pt idx="2002">
                  <c:v>42.226999999999997</c:v>
                </c:pt>
                <c:pt idx="2003">
                  <c:v>42.497999999999998</c:v>
                </c:pt>
                <c:pt idx="2004">
                  <c:v>42.226999999999997</c:v>
                </c:pt>
                <c:pt idx="2005">
                  <c:v>42.158000000000001</c:v>
                </c:pt>
                <c:pt idx="2006">
                  <c:v>42.158000000000001</c:v>
                </c:pt>
                <c:pt idx="2007">
                  <c:v>41.954999999999998</c:v>
                </c:pt>
                <c:pt idx="2008">
                  <c:v>42.021999999999998</c:v>
                </c:pt>
                <c:pt idx="2009">
                  <c:v>42.158000000000001</c:v>
                </c:pt>
                <c:pt idx="2010">
                  <c:v>42.295000000000002</c:v>
                </c:pt>
                <c:pt idx="2011">
                  <c:v>42.09</c:v>
                </c:pt>
                <c:pt idx="2012">
                  <c:v>42.158000000000001</c:v>
                </c:pt>
                <c:pt idx="2013">
                  <c:v>42.226999999999997</c:v>
                </c:pt>
                <c:pt idx="2014">
                  <c:v>42.362000000000002</c:v>
                </c:pt>
                <c:pt idx="2015">
                  <c:v>42.43</c:v>
                </c:pt>
                <c:pt idx="2016">
                  <c:v>42.226999999999997</c:v>
                </c:pt>
                <c:pt idx="2017">
                  <c:v>42.43</c:v>
                </c:pt>
                <c:pt idx="2018">
                  <c:v>42.226999999999997</c:v>
                </c:pt>
                <c:pt idx="2019">
                  <c:v>42.43</c:v>
                </c:pt>
                <c:pt idx="2020">
                  <c:v>42.43</c:v>
                </c:pt>
                <c:pt idx="2021">
                  <c:v>42.362000000000002</c:v>
                </c:pt>
                <c:pt idx="2022">
                  <c:v>42.567</c:v>
                </c:pt>
                <c:pt idx="2023">
                  <c:v>41.954999999999998</c:v>
                </c:pt>
                <c:pt idx="2024">
                  <c:v>42.158000000000001</c:v>
                </c:pt>
                <c:pt idx="2025">
                  <c:v>42.021999999999998</c:v>
                </c:pt>
                <c:pt idx="2026">
                  <c:v>41.887</c:v>
                </c:pt>
                <c:pt idx="2027">
                  <c:v>42.226999999999997</c:v>
                </c:pt>
                <c:pt idx="2028">
                  <c:v>42.362000000000002</c:v>
                </c:pt>
                <c:pt idx="2029">
                  <c:v>42.362000000000002</c:v>
                </c:pt>
                <c:pt idx="2030">
                  <c:v>42.43</c:v>
                </c:pt>
                <c:pt idx="2031">
                  <c:v>42.295000000000002</c:v>
                </c:pt>
                <c:pt idx="2032">
                  <c:v>42.158000000000001</c:v>
                </c:pt>
                <c:pt idx="2033">
                  <c:v>42.362000000000002</c:v>
                </c:pt>
                <c:pt idx="2034">
                  <c:v>42.09</c:v>
                </c:pt>
                <c:pt idx="2035">
                  <c:v>42.158000000000001</c:v>
                </c:pt>
                <c:pt idx="2036">
                  <c:v>42.09</c:v>
                </c:pt>
                <c:pt idx="2037">
                  <c:v>42.158000000000001</c:v>
                </c:pt>
                <c:pt idx="2038">
                  <c:v>42.09</c:v>
                </c:pt>
                <c:pt idx="2039">
                  <c:v>42.295000000000002</c:v>
                </c:pt>
                <c:pt idx="2040">
                  <c:v>41.954999999999998</c:v>
                </c:pt>
                <c:pt idx="2041">
                  <c:v>42.295000000000002</c:v>
                </c:pt>
                <c:pt idx="2042">
                  <c:v>42.295000000000002</c:v>
                </c:pt>
                <c:pt idx="2043">
                  <c:v>42.362000000000002</c:v>
                </c:pt>
                <c:pt idx="2044">
                  <c:v>42.09</c:v>
                </c:pt>
                <c:pt idx="2045">
                  <c:v>42.09</c:v>
                </c:pt>
                <c:pt idx="2046">
                  <c:v>42.634999999999998</c:v>
                </c:pt>
                <c:pt idx="2047">
                  <c:v>42.295000000000002</c:v>
                </c:pt>
                <c:pt idx="2048">
                  <c:v>42.021999999999998</c:v>
                </c:pt>
                <c:pt idx="2049">
                  <c:v>42.295000000000002</c:v>
                </c:pt>
                <c:pt idx="2050">
                  <c:v>42.226999999999997</c:v>
                </c:pt>
                <c:pt idx="2051">
                  <c:v>42.226999999999997</c:v>
                </c:pt>
                <c:pt idx="2052">
                  <c:v>42.362000000000002</c:v>
                </c:pt>
                <c:pt idx="2053">
                  <c:v>42.497999999999998</c:v>
                </c:pt>
                <c:pt idx="2054">
                  <c:v>42.158000000000001</c:v>
                </c:pt>
                <c:pt idx="2055">
                  <c:v>42.295000000000002</c:v>
                </c:pt>
                <c:pt idx="2056">
                  <c:v>42.226999999999997</c:v>
                </c:pt>
                <c:pt idx="2057">
                  <c:v>42.226999999999997</c:v>
                </c:pt>
                <c:pt idx="2058">
                  <c:v>42.362000000000002</c:v>
                </c:pt>
                <c:pt idx="2059">
                  <c:v>42.567</c:v>
                </c:pt>
                <c:pt idx="2060">
                  <c:v>42.497999999999998</c:v>
                </c:pt>
                <c:pt idx="2061">
                  <c:v>42.497999999999998</c:v>
                </c:pt>
                <c:pt idx="2062">
                  <c:v>42.295000000000002</c:v>
                </c:pt>
                <c:pt idx="2063">
                  <c:v>42.021999999999998</c:v>
                </c:pt>
                <c:pt idx="2064">
                  <c:v>42.43</c:v>
                </c:pt>
                <c:pt idx="2065">
                  <c:v>42.362000000000002</c:v>
                </c:pt>
                <c:pt idx="2066">
                  <c:v>42.295000000000002</c:v>
                </c:pt>
                <c:pt idx="2067">
                  <c:v>42.43</c:v>
                </c:pt>
                <c:pt idx="2068">
                  <c:v>42.43</c:v>
                </c:pt>
                <c:pt idx="2069">
                  <c:v>42.226999999999997</c:v>
                </c:pt>
                <c:pt idx="2070">
                  <c:v>42.497999999999998</c:v>
                </c:pt>
                <c:pt idx="2071">
                  <c:v>42.567</c:v>
                </c:pt>
                <c:pt idx="2072">
                  <c:v>42.362000000000002</c:v>
                </c:pt>
                <c:pt idx="2073">
                  <c:v>42.295000000000002</c:v>
                </c:pt>
                <c:pt idx="2074">
                  <c:v>42.226999999999997</c:v>
                </c:pt>
                <c:pt idx="2075">
                  <c:v>42.295000000000002</c:v>
                </c:pt>
                <c:pt idx="2076">
                  <c:v>42.362000000000002</c:v>
                </c:pt>
                <c:pt idx="2077">
                  <c:v>42.567</c:v>
                </c:pt>
                <c:pt idx="2078">
                  <c:v>42.158000000000001</c:v>
                </c:pt>
                <c:pt idx="2079">
                  <c:v>42.362000000000002</c:v>
                </c:pt>
                <c:pt idx="2080">
                  <c:v>42.362000000000002</c:v>
                </c:pt>
                <c:pt idx="2081">
                  <c:v>42.634999999999998</c:v>
                </c:pt>
                <c:pt idx="2082">
                  <c:v>42.497999999999998</c:v>
                </c:pt>
                <c:pt idx="2083">
                  <c:v>42.295000000000002</c:v>
                </c:pt>
                <c:pt idx="2084">
                  <c:v>42.158000000000001</c:v>
                </c:pt>
                <c:pt idx="2085">
                  <c:v>42.43</c:v>
                </c:pt>
                <c:pt idx="2086">
                  <c:v>42.226999999999997</c:v>
                </c:pt>
                <c:pt idx="2087">
                  <c:v>42.567</c:v>
                </c:pt>
                <c:pt idx="2088">
                  <c:v>42.295000000000002</c:v>
                </c:pt>
                <c:pt idx="2089">
                  <c:v>42.362000000000002</c:v>
                </c:pt>
                <c:pt idx="2090">
                  <c:v>41.954999999999998</c:v>
                </c:pt>
                <c:pt idx="2091">
                  <c:v>42.701999999999998</c:v>
                </c:pt>
                <c:pt idx="2092">
                  <c:v>42.09</c:v>
                </c:pt>
                <c:pt idx="2093">
                  <c:v>42.43</c:v>
                </c:pt>
                <c:pt idx="2094">
                  <c:v>42.701999999999998</c:v>
                </c:pt>
                <c:pt idx="2095">
                  <c:v>42.497999999999998</c:v>
                </c:pt>
                <c:pt idx="2096">
                  <c:v>42.43</c:v>
                </c:pt>
                <c:pt idx="2097">
                  <c:v>42.158000000000001</c:v>
                </c:pt>
                <c:pt idx="2098">
                  <c:v>42.567</c:v>
                </c:pt>
                <c:pt idx="2099">
                  <c:v>42.158000000000001</c:v>
                </c:pt>
                <c:pt idx="2100">
                  <c:v>42.497999999999998</c:v>
                </c:pt>
                <c:pt idx="2101">
                  <c:v>42.226999999999997</c:v>
                </c:pt>
                <c:pt idx="2102">
                  <c:v>42.362000000000002</c:v>
                </c:pt>
                <c:pt idx="2103">
                  <c:v>42.497999999999998</c:v>
                </c:pt>
                <c:pt idx="2104">
                  <c:v>42.226999999999997</c:v>
                </c:pt>
                <c:pt idx="2105">
                  <c:v>42.09</c:v>
                </c:pt>
                <c:pt idx="2106">
                  <c:v>42.362000000000002</c:v>
                </c:pt>
                <c:pt idx="2107">
                  <c:v>42.295000000000002</c:v>
                </c:pt>
                <c:pt idx="2108">
                  <c:v>42.295000000000002</c:v>
                </c:pt>
                <c:pt idx="2109">
                  <c:v>42.567</c:v>
                </c:pt>
                <c:pt idx="2110">
                  <c:v>42.497999999999998</c:v>
                </c:pt>
                <c:pt idx="2111">
                  <c:v>42.497999999999998</c:v>
                </c:pt>
                <c:pt idx="2112">
                  <c:v>42.362000000000002</c:v>
                </c:pt>
                <c:pt idx="2113">
                  <c:v>42.158000000000001</c:v>
                </c:pt>
                <c:pt idx="2114">
                  <c:v>42.43</c:v>
                </c:pt>
                <c:pt idx="2115">
                  <c:v>42.226999999999997</c:v>
                </c:pt>
                <c:pt idx="2116">
                  <c:v>42.362000000000002</c:v>
                </c:pt>
                <c:pt idx="2117">
                  <c:v>42.362000000000002</c:v>
                </c:pt>
                <c:pt idx="2118">
                  <c:v>42.567</c:v>
                </c:pt>
                <c:pt idx="2119">
                  <c:v>42.634999999999998</c:v>
                </c:pt>
                <c:pt idx="2120">
                  <c:v>42.295000000000002</c:v>
                </c:pt>
                <c:pt idx="2121">
                  <c:v>42.362000000000002</c:v>
                </c:pt>
                <c:pt idx="2122">
                  <c:v>42.295000000000002</c:v>
                </c:pt>
                <c:pt idx="2123">
                  <c:v>42.362000000000002</c:v>
                </c:pt>
                <c:pt idx="2124">
                  <c:v>42.77</c:v>
                </c:pt>
                <c:pt idx="2125">
                  <c:v>42.226999999999997</c:v>
                </c:pt>
                <c:pt idx="2126">
                  <c:v>42.362000000000002</c:v>
                </c:pt>
                <c:pt idx="2127">
                  <c:v>42.362000000000002</c:v>
                </c:pt>
                <c:pt idx="2128">
                  <c:v>42.43</c:v>
                </c:pt>
                <c:pt idx="2129">
                  <c:v>42.362000000000002</c:v>
                </c:pt>
                <c:pt idx="2130">
                  <c:v>42.295000000000002</c:v>
                </c:pt>
                <c:pt idx="2131">
                  <c:v>42.497999999999998</c:v>
                </c:pt>
                <c:pt idx="2132">
                  <c:v>42.43</c:v>
                </c:pt>
                <c:pt idx="2133">
                  <c:v>42.567</c:v>
                </c:pt>
                <c:pt idx="2134">
                  <c:v>42.362000000000002</c:v>
                </c:pt>
                <c:pt idx="2135">
                  <c:v>42.567</c:v>
                </c:pt>
                <c:pt idx="2136">
                  <c:v>42.77</c:v>
                </c:pt>
                <c:pt idx="2137">
                  <c:v>42.497999999999998</c:v>
                </c:pt>
                <c:pt idx="2138">
                  <c:v>42.43</c:v>
                </c:pt>
                <c:pt idx="2139">
                  <c:v>42.43</c:v>
                </c:pt>
                <c:pt idx="2140">
                  <c:v>42.43</c:v>
                </c:pt>
                <c:pt idx="2141">
                  <c:v>42.362000000000002</c:v>
                </c:pt>
                <c:pt idx="2142">
                  <c:v>42.567</c:v>
                </c:pt>
                <c:pt idx="2143">
                  <c:v>42.362000000000002</c:v>
                </c:pt>
                <c:pt idx="2144">
                  <c:v>42.43</c:v>
                </c:pt>
                <c:pt idx="2145">
                  <c:v>42.497999999999998</c:v>
                </c:pt>
                <c:pt idx="2146">
                  <c:v>42.497999999999998</c:v>
                </c:pt>
                <c:pt idx="2147">
                  <c:v>42.497999999999998</c:v>
                </c:pt>
                <c:pt idx="2148">
                  <c:v>42.43</c:v>
                </c:pt>
                <c:pt idx="2149">
                  <c:v>42.226999999999997</c:v>
                </c:pt>
                <c:pt idx="2150">
                  <c:v>42.295000000000002</c:v>
                </c:pt>
                <c:pt idx="2151">
                  <c:v>42.43</c:v>
                </c:pt>
                <c:pt idx="2152">
                  <c:v>42.43</c:v>
                </c:pt>
                <c:pt idx="2153">
                  <c:v>42.295000000000002</c:v>
                </c:pt>
                <c:pt idx="2154">
                  <c:v>42.567</c:v>
                </c:pt>
                <c:pt idx="2155">
                  <c:v>42.362000000000002</c:v>
                </c:pt>
                <c:pt idx="2156">
                  <c:v>42.158000000000001</c:v>
                </c:pt>
                <c:pt idx="2157">
                  <c:v>42.567</c:v>
                </c:pt>
                <c:pt idx="2158">
                  <c:v>42.906999999999996</c:v>
                </c:pt>
                <c:pt idx="2159">
                  <c:v>42.09</c:v>
                </c:pt>
                <c:pt idx="2160">
                  <c:v>42.43</c:v>
                </c:pt>
                <c:pt idx="2161">
                  <c:v>42.295000000000002</c:v>
                </c:pt>
                <c:pt idx="2162">
                  <c:v>42.43</c:v>
                </c:pt>
                <c:pt idx="2163">
                  <c:v>42.43</c:v>
                </c:pt>
                <c:pt idx="2164">
                  <c:v>42.295000000000002</c:v>
                </c:pt>
                <c:pt idx="2165">
                  <c:v>42.43</c:v>
                </c:pt>
                <c:pt idx="2166">
                  <c:v>42.567</c:v>
                </c:pt>
                <c:pt idx="2167">
                  <c:v>42.497999999999998</c:v>
                </c:pt>
                <c:pt idx="2168">
                  <c:v>42.77</c:v>
                </c:pt>
                <c:pt idx="2169">
                  <c:v>42.497999999999998</c:v>
                </c:pt>
                <c:pt idx="2170">
                  <c:v>42.43</c:v>
                </c:pt>
                <c:pt idx="2171">
                  <c:v>42.362000000000002</c:v>
                </c:pt>
                <c:pt idx="2172">
                  <c:v>42.701999999999998</c:v>
                </c:pt>
                <c:pt idx="2173">
                  <c:v>42.567</c:v>
                </c:pt>
                <c:pt idx="2174">
                  <c:v>42.43</c:v>
                </c:pt>
                <c:pt idx="2175">
                  <c:v>42.295000000000002</c:v>
                </c:pt>
                <c:pt idx="2176">
                  <c:v>42.362000000000002</c:v>
                </c:pt>
                <c:pt idx="2177">
                  <c:v>42.497999999999998</c:v>
                </c:pt>
                <c:pt idx="2178">
                  <c:v>42.497999999999998</c:v>
                </c:pt>
                <c:pt idx="2179">
                  <c:v>42.497999999999998</c:v>
                </c:pt>
                <c:pt idx="2180">
                  <c:v>42.77</c:v>
                </c:pt>
                <c:pt idx="2181">
                  <c:v>42.497999999999998</c:v>
                </c:pt>
                <c:pt idx="2182">
                  <c:v>42.567</c:v>
                </c:pt>
                <c:pt idx="2183">
                  <c:v>42.295000000000002</c:v>
                </c:pt>
                <c:pt idx="2184">
                  <c:v>42.634999999999998</c:v>
                </c:pt>
                <c:pt idx="2185">
                  <c:v>42.43</c:v>
                </c:pt>
                <c:pt idx="2186">
                  <c:v>42.295000000000002</c:v>
                </c:pt>
                <c:pt idx="2187">
                  <c:v>42.701999999999998</c:v>
                </c:pt>
                <c:pt idx="2188">
                  <c:v>42.362000000000002</c:v>
                </c:pt>
                <c:pt idx="2189">
                  <c:v>42.43</c:v>
                </c:pt>
                <c:pt idx="2190">
                  <c:v>42.497999999999998</c:v>
                </c:pt>
                <c:pt idx="2191">
                  <c:v>42.77</c:v>
                </c:pt>
                <c:pt idx="2192">
                  <c:v>42.497999999999998</c:v>
                </c:pt>
                <c:pt idx="2193">
                  <c:v>42.634999999999998</c:v>
                </c:pt>
                <c:pt idx="2194">
                  <c:v>42.634999999999998</c:v>
                </c:pt>
                <c:pt idx="2195">
                  <c:v>42.567</c:v>
                </c:pt>
                <c:pt idx="2196">
                  <c:v>42.497999999999998</c:v>
                </c:pt>
                <c:pt idx="2197">
                  <c:v>42.567</c:v>
                </c:pt>
                <c:pt idx="2198">
                  <c:v>42.362000000000002</c:v>
                </c:pt>
                <c:pt idx="2199">
                  <c:v>42.362000000000002</c:v>
                </c:pt>
                <c:pt idx="2200">
                  <c:v>42.295000000000002</c:v>
                </c:pt>
                <c:pt idx="2201">
                  <c:v>42.567</c:v>
                </c:pt>
                <c:pt idx="2202">
                  <c:v>42.362000000000002</c:v>
                </c:pt>
                <c:pt idx="2203">
                  <c:v>42.497999999999998</c:v>
                </c:pt>
                <c:pt idx="2204">
                  <c:v>42.497999999999998</c:v>
                </c:pt>
                <c:pt idx="2205">
                  <c:v>42.362000000000002</c:v>
                </c:pt>
                <c:pt idx="2206">
                  <c:v>42.634999999999998</c:v>
                </c:pt>
                <c:pt idx="2207">
                  <c:v>42.634999999999998</c:v>
                </c:pt>
                <c:pt idx="2208">
                  <c:v>42.634999999999998</c:v>
                </c:pt>
                <c:pt idx="2209">
                  <c:v>42.497999999999998</c:v>
                </c:pt>
                <c:pt idx="2210">
                  <c:v>42.497999999999998</c:v>
                </c:pt>
                <c:pt idx="2211">
                  <c:v>42.838000000000001</c:v>
                </c:pt>
                <c:pt idx="2212">
                  <c:v>42.497999999999998</c:v>
                </c:pt>
                <c:pt idx="2213">
                  <c:v>42.362000000000002</c:v>
                </c:pt>
                <c:pt idx="2214">
                  <c:v>42.634999999999998</c:v>
                </c:pt>
                <c:pt idx="2215">
                  <c:v>42.701999999999998</c:v>
                </c:pt>
                <c:pt idx="2216">
                  <c:v>42.906999999999996</c:v>
                </c:pt>
                <c:pt idx="2217">
                  <c:v>42.634999999999998</c:v>
                </c:pt>
                <c:pt idx="2218">
                  <c:v>42.634999999999998</c:v>
                </c:pt>
                <c:pt idx="2219">
                  <c:v>42.567</c:v>
                </c:pt>
                <c:pt idx="2220">
                  <c:v>42.634999999999998</c:v>
                </c:pt>
                <c:pt idx="2221">
                  <c:v>42.634999999999998</c:v>
                </c:pt>
                <c:pt idx="2222">
                  <c:v>42.634999999999998</c:v>
                </c:pt>
                <c:pt idx="2223">
                  <c:v>42.497999999999998</c:v>
                </c:pt>
                <c:pt idx="2224">
                  <c:v>42.701999999999998</c:v>
                </c:pt>
                <c:pt idx="2225">
                  <c:v>42.567</c:v>
                </c:pt>
                <c:pt idx="2226">
                  <c:v>42.701999999999998</c:v>
                </c:pt>
                <c:pt idx="2227">
                  <c:v>42.838000000000001</c:v>
                </c:pt>
                <c:pt idx="2228">
                  <c:v>42.567</c:v>
                </c:pt>
                <c:pt idx="2229">
                  <c:v>42.497999999999998</c:v>
                </c:pt>
                <c:pt idx="2230">
                  <c:v>42.77</c:v>
                </c:pt>
                <c:pt idx="2231">
                  <c:v>42.497999999999998</c:v>
                </c:pt>
                <c:pt idx="2232">
                  <c:v>42.906999999999996</c:v>
                </c:pt>
                <c:pt idx="2233">
                  <c:v>42.362000000000002</c:v>
                </c:pt>
                <c:pt idx="2234">
                  <c:v>42.77</c:v>
                </c:pt>
                <c:pt idx="2235">
                  <c:v>42.701999999999998</c:v>
                </c:pt>
                <c:pt idx="2236">
                  <c:v>42.567</c:v>
                </c:pt>
                <c:pt idx="2237">
                  <c:v>42.701999999999998</c:v>
                </c:pt>
                <c:pt idx="2238">
                  <c:v>42.701999999999998</c:v>
                </c:pt>
                <c:pt idx="2239">
                  <c:v>42.906999999999996</c:v>
                </c:pt>
                <c:pt idx="2240">
                  <c:v>42.701999999999998</c:v>
                </c:pt>
                <c:pt idx="2241">
                  <c:v>42.567</c:v>
                </c:pt>
                <c:pt idx="2242">
                  <c:v>42.567</c:v>
                </c:pt>
                <c:pt idx="2243">
                  <c:v>42.497999999999998</c:v>
                </c:pt>
                <c:pt idx="2244">
                  <c:v>42.567</c:v>
                </c:pt>
                <c:pt idx="2245">
                  <c:v>42.838000000000001</c:v>
                </c:pt>
                <c:pt idx="2246">
                  <c:v>42.497999999999998</c:v>
                </c:pt>
                <c:pt idx="2247">
                  <c:v>42.567</c:v>
                </c:pt>
                <c:pt idx="2248">
                  <c:v>42.701999999999998</c:v>
                </c:pt>
                <c:pt idx="2249">
                  <c:v>42.906999999999996</c:v>
                </c:pt>
                <c:pt idx="2250">
                  <c:v>42.701999999999998</c:v>
                </c:pt>
                <c:pt idx="2251">
                  <c:v>42.77</c:v>
                </c:pt>
                <c:pt idx="2252">
                  <c:v>42.634999999999998</c:v>
                </c:pt>
                <c:pt idx="2253">
                  <c:v>42.975000000000001</c:v>
                </c:pt>
                <c:pt idx="2254">
                  <c:v>42.362000000000002</c:v>
                </c:pt>
                <c:pt idx="2255">
                  <c:v>43.042000000000002</c:v>
                </c:pt>
                <c:pt idx="2256">
                  <c:v>42.906999999999996</c:v>
                </c:pt>
                <c:pt idx="2257">
                  <c:v>42.77</c:v>
                </c:pt>
                <c:pt idx="2258">
                  <c:v>43.11</c:v>
                </c:pt>
                <c:pt idx="2259">
                  <c:v>42.362000000000002</c:v>
                </c:pt>
                <c:pt idx="2260">
                  <c:v>42.634999999999998</c:v>
                </c:pt>
                <c:pt idx="2261">
                  <c:v>42.77</c:v>
                </c:pt>
                <c:pt idx="2262">
                  <c:v>42.77</c:v>
                </c:pt>
                <c:pt idx="2263">
                  <c:v>42.497999999999998</c:v>
                </c:pt>
                <c:pt idx="2264">
                  <c:v>42.838000000000001</c:v>
                </c:pt>
                <c:pt idx="2265">
                  <c:v>42.497999999999998</c:v>
                </c:pt>
                <c:pt idx="2266">
                  <c:v>42.701999999999998</c:v>
                </c:pt>
                <c:pt idx="2267">
                  <c:v>42.701999999999998</c:v>
                </c:pt>
                <c:pt idx="2268">
                  <c:v>42.701999999999998</c:v>
                </c:pt>
                <c:pt idx="2269">
                  <c:v>42.497999999999998</c:v>
                </c:pt>
                <c:pt idx="2270">
                  <c:v>42.701999999999998</c:v>
                </c:pt>
                <c:pt idx="2271">
                  <c:v>42.634999999999998</c:v>
                </c:pt>
                <c:pt idx="2272">
                  <c:v>42.567</c:v>
                </c:pt>
                <c:pt idx="2273">
                  <c:v>42.634999999999998</c:v>
                </c:pt>
                <c:pt idx="2274">
                  <c:v>42.975000000000001</c:v>
                </c:pt>
                <c:pt idx="2275">
                  <c:v>42.77</c:v>
                </c:pt>
                <c:pt idx="2276">
                  <c:v>42.634999999999998</c:v>
                </c:pt>
                <c:pt idx="2277">
                  <c:v>42.567</c:v>
                </c:pt>
                <c:pt idx="2278">
                  <c:v>42.158000000000001</c:v>
                </c:pt>
                <c:pt idx="2279">
                  <c:v>43.177999999999997</c:v>
                </c:pt>
                <c:pt idx="2280">
                  <c:v>42.77</c:v>
                </c:pt>
                <c:pt idx="2281">
                  <c:v>42.701999999999998</c:v>
                </c:pt>
                <c:pt idx="2282">
                  <c:v>42.77</c:v>
                </c:pt>
                <c:pt idx="2283">
                  <c:v>42.634999999999998</c:v>
                </c:pt>
                <c:pt idx="2284">
                  <c:v>42.975000000000001</c:v>
                </c:pt>
                <c:pt idx="2285">
                  <c:v>42.634999999999998</c:v>
                </c:pt>
                <c:pt idx="2286">
                  <c:v>42.975000000000001</c:v>
                </c:pt>
                <c:pt idx="2287">
                  <c:v>42.838000000000001</c:v>
                </c:pt>
                <c:pt idx="2288">
                  <c:v>42.634999999999998</c:v>
                </c:pt>
                <c:pt idx="2289">
                  <c:v>42.906999999999996</c:v>
                </c:pt>
                <c:pt idx="2290">
                  <c:v>42.838000000000001</c:v>
                </c:pt>
                <c:pt idx="2291">
                  <c:v>42.906999999999996</c:v>
                </c:pt>
                <c:pt idx="2292">
                  <c:v>42.701999999999998</c:v>
                </c:pt>
                <c:pt idx="2293">
                  <c:v>42.295000000000002</c:v>
                </c:pt>
                <c:pt idx="2294">
                  <c:v>42.77</c:v>
                </c:pt>
                <c:pt idx="2295">
                  <c:v>42.975000000000001</c:v>
                </c:pt>
                <c:pt idx="2296">
                  <c:v>42.838000000000001</c:v>
                </c:pt>
                <c:pt idx="2297">
                  <c:v>42.634999999999998</c:v>
                </c:pt>
                <c:pt idx="2298">
                  <c:v>42.634999999999998</c:v>
                </c:pt>
                <c:pt idx="2299">
                  <c:v>42.838000000000001</c:v>
                </c:pt>
                <c:pt idx="2300">
                  <c:v>42.838000000000001</c:v>
                </c:pt>
                <c:pt idx="2301">
                  <c:v>42.701999999999998</c:v>
                </c:pt>
                <c:pt idx="2302">
                  <c:v>42.838000000000001</c:v>
                </c:pt>
                <c:pt idx="2303">
                  <c:v>42.906999999999996</c:v>
                </c:pt>
                <c:pt idx="2304">
                  <c:v>42.77</c:v>
                </c:pt>
                <c:pt idx="2305">
                  <c:v>42.77</c:v>
                </c:pt>
                <c:pt idx="2306">
                  <c:v>42.838000000000001</c:v>
                </c:pt>
                <c:pt idx="2307">
                  <c:v>42.497999999999998</c:v>
                </c:pt>
                <c:pt idx="2308">
                  <c:v>42.838000000000001</c:v>
                </c:pt>
                <c:pt idx="2309">
                  <c:v>42.906999999999996</c:v>
                </c:pt>
                <c:pt idx="2310">
                  <c:v>42.567</c:v>
                </c:pt>
                <c:pt idx="2311">
                  <c:v>42.701999999999998</c:v>
                </c:pt>
                <c:pt idx="2312">
                  <c:v>42.838000000000001</c:v>
                </c:pt>
                <c:pt idx="2313">
                  <c:v>42.975000000000001</c:v>
                </c:pt>
                <c:pt idx="2314">
                  <c:v>42.838000000000001</c:v>
                </c:pt>
                <c:pt idx="2315">
                  <c:v>42.838000000000001</c:v>
                </c:pt>
                <c:pt idx="2316">
                  <c:v>43.177999999999997</c:v>
                </c:pt>
                <c:pt idx="2317">
                  <c:v>43.042000000000002</c:v>
                </c:pt>
                <c:pt idx="2318">
                  <c:v>42.975000000000001</c:v>
                </c:pt>
                <c:pt idx="2319">
                  <c:v>43.042000000000002</c:v>
                </c:pt>
                <c:pt idx="2320">
                  <c:v>42.77</c:v>
                </c:pt>
                <c:pt idx="2321">
                  <c:v>42.906999999999996</c:v>
                </c:pt>
                <c:pt idx="2322">
                  <c:v>42.975000000000001</c:v>
                </c:pt>
                <c:pt idx="2323">
                  <c:v>42.634999999999998</c:v>
                </c:pt>
                <c:pt idx="2324">
                  <c:v>42.975000000000001</c:v>
                </c:pt>
                <c:pt idx="2325">
                  <c:v>42.634999999999998</c:v>
                </c:pt>
                <c:pt idx="2326">
                  <c:v>42.838000000000001</c:v>
                </c:pt>
                <c:pt idx="2327">
                  <c:v>43.11</c:v>
                </c:pt>
                <c:pt idx="2328">
                  <c:v>43.042000000000002</c:v>
                </c:pt>
                <c:pt idx="2329">
                  <c:v>42.701999999999998</c:v>
                </c:pt>
                <c:pt idx="2330">
                  <c:v>42.634999999999998</c:v>
                </c:pt>
                <c:pt idx="2331">
                  <c:v>42.906999999999996</c:v>
                </c:pt>
                <c:pt idx="2332">
                  <c:v>42.838000000000001</c:v>
                </c:pt>
                <c:pt idx="2333">
                  <c:v>42.701999999999998</c:v>
                </c:pt>
                <c:pt idx="2334">
                  <c:v>43.11</c:v>
                </c:pt>
                <c:pt idx="2335">
                  <c:v>42.567</c:v>
                </c:pt>
                <c:pt idx="2336">
                  <c:v>42.634999999999998</c:v>
                </c:pt>
                <c:pt idx="2337">
                  <c:v>42.975000000000001</c:v>
                </c:pt>
                <c:pt idx="2338">
                  <c:v>42.77</c:v>
                </c:pt>
                <c:pt idx="2339">
                  <c:v>43.11</c:v>
                </c:pt>
                <c:pt idx="2340">
                  <c:v>42.838000000000001</c:v>
                </c:pt>
                <c:pt idx="2341">
                  <c:v>42.906999999999996</c:v>
                </c:pt>
                <c:pt idx="2342">
                  <c:v>42.838000000000001</c:v>
                </c:pt>
                <c:pt idx="2343">
                  <c:v>42.838000000000001</c:v>
                </c:pt>
                <c:pt idx="2344">
                  <c:v>42.701999999999998</c:v>
                </c:pt>
                <c:pt idx="2345">
                  <c:v>43.177999999999997</c:v>
                </c:pt>
                <c:pt idx="2346">
                  <c:v>42.567</c:v>
                </c:pt>
                <c:pt idx="2347">
                  <c:v>43.177999999999997</c:v>
                </c:pt>
                <c:pt idx="2348">
                  <c:v>43.247</c:v>
                </c:pt>
                <c:pt idx="2349">
                  <c:v>42.838000000000001</c:v>
                </c:pt>
                <c:pt idx="2350">
                  <c:v>42.77</c:v>
                </c:pt>
                <c:pt idx="2351">
                  <c:v>42.567</c:v>
                </c:pt>
                <c:pt idx="2352">
                  <c:v>43.247</c:v>
                </c:pt>
                <c:pt idx="2353">
                  <c:v>43.247</c:v>
                </c:pt>
                <c:pt idx="2354">
                  <c:v>43.11</c:v>
                </c:pt>
                <c:pt idx="2355">
                  <c:v>42.634999999999998</c:v>
                </c:pt>
                <c:pt idx="2356">
                  <c:v>42.975000000000001</c:v>
                </c:pt>
                <c:pt idx="2357">
                  <c:v>42.975000000000001</c:v>
                </c:pt>
                <c:pt idx="2358">
                  <c:v>43.11</c:v>
                </c:pt>
                <c:pt idx="2359">
                  <c:v>43.177999999999997</c:v>
                </c:pt>
                <c:pt idx="2360">
                  <c:v>42.701999999999998</c:v>
                </c:pt>
                <c:pt idx="2361">
                  <c:v>42.975000000000001</c:v>
                </c:pt>
                <c:pt idx="2362">
                  <c:v>43.11</c:v>
                </c:pt>
                <c:pt idx="2363">
                  <c:v>42.975000000000001</c:v>
                </c:pt>
                <c:pt idx="2364">
                  <c:v>43.042000000000002</c:v>
                </c:pt>
                <c:pt idx="2365">
                  <c:v>43.177999999999997</c:v>
                </c:pt>
                <c:pt idx="2366">
                  <c:v>43.11</c:v>
                </c:pt>
                <c:pt idx="2367">
                  <c:v>43.042000000000002</c:v>
                </c:pt>
                <c:pt idx="2368">
                  <c:v>43.042000000000002</c:v>
                </c:pt>
                <c:pt idx="2369">
                  <c:v>42.77</c:v>
                </c:pt>
                <c:pt idx="2370">
                  <c:v>42.838000000000001</c:v>
                </c:pt>
                <c:pt idx="2371">
                  <c:v>42.975000000000001</c:v>
                </c:pt>
                <c:pt idx="2372">
                  <c:v>42.77</c:v>
                </c:pt>
                <c:pt idx="2373">
                  <c:v>43.042000000000002</c:v>
                </c:pt>
                <c:pt idx="2374">
                  <c:v>43.042000000000002</c:v>
                </c:pt>
                <c:pt idx="2375">
                  <c:v>42.975000000000001</c:v>
                </c:pt>
                <c:pt idx="2376">
                  <c:v>43.11</c:v>
                </c:pt>
                <c:pt idx="2377">
                  <c:v>43.11</c:v>
                </c:pt>
                <c:pt idx="2378">
                  <c:v>42.838000000000001</c:v>
                </c:pt>
                <c:pt idx="2379">
                  <c:v>43.177999999999997</c:v>
                </c:pt>
                <c:pt idx="2380">
                  <c:v>43.042000000000002</c:v>
                </c:pt>
                <c:pt idx="2381">
                  <c:v>43.177999999999997</c:v>
                </c:pt>
                <c:pt idx="2382">
                  <c:v>42.975000000000001</c:v>
                </c:pt>
                <c:pt idx="2383">
                  <c:v>42.701999999999998</c:v>
                </c:pt>
                <c:pt idx="2384">
                  <c:v>43.177999999999997</c:v>
                </c:pt>
                <c:pt idx="2385">
                  <c:v>43.177999999999997</c:v>
                </c:pt>
                <c:pt idx="2386">
                  <c:v>42.906999999999996</c:v>
                </c:pt>
                <c:pt idx="2387">
                  <c:v>42.906999999999996</c:v>
                </c:pt>
                <c:pt idx="2388">
                  <c:v>43.042000000000002</c:v>
                </c:pt>
                <c:pt idx="2389">
                  <c:v>43.042000000000002</c:v>
                </c:pt>
                <c:pt idx="2390">
                  <c:v>43.11</c:v>
                </c:pt>
                <c:pt idx="2391">
                  <c:v>43.042000000000002</c:v>
                </c:pt>
                <c:pt idx="2392">
                  <c:v>42.906999999999996</c:v>
                </c:pt>
                <c:pt idx="2393">
                  <c:v>43.042000000000002</c:v>
                </c:pt>
                <c:pt idx="2394">
                  <c:v>42.701999999999998</c:v>
                </c:pt>
                <c:pt idx="2395">
                  <c:v>42.838000000000001</c:v>
                </c:pt>
                <c:pt idx="2396">
                  <c:v>42.838000000000001</c:v>
                </c:pt>
                <c:pt idx="2397">
                  <c:v>43.042000000000002</c:v>
                </c:pt>
                <c:pt idx="2398">
                  <c:v>42.906999999999996</c:v>
                </c:pt>
                <c:pt idx="2399">
                  <c:v>42.77</c:v>
                </c:pt>
                <c:pt idx="2400">
                  <c:v>42.634999999999998</c:v>
                </c:pt>
                <c:pt idx="2401">
                  <c:v>42.975000000000001</c:v>
                </c:pt>
                <c:pt idx="2402">
                  <c:v>43.247</c:v>
                </c:pt>
                <c:pt idx="2403">
                  <c:v>43.247</c:v>
                </c:pt>
                <c:pt idx="2404">
                  <c:v>42.975000000000001</c:v>
                </c:pt>
                <c:pt idx="2405">
                  <c:v>42.838000000000001</c:v>
                </c:pt>
                <c:pt idx="2406">
                  <c:v>43.177999999999997</c:v>
                </c:pt>
                <c:pt idx="2407">
                  <c:v>43.247</c:v>
                </c:pt>
                <c:pt idx="2408">
                  <c:v>42.838000000000001</c:v>
                </c:pt>
                <c:pt idx="2409">
                  <c:v>43.11</c:v>
                </c:pt>
                <c:pt idx="2410">
                  <c:v>42.567</c:v>
                </c:pt>
                <c:pt idx="2411">
                  <c:v>42.77</c:v>
                </c:pt>
                <c:pt idx="2412">
                  <c:v>43.042000000000002</c:v>
                </c:pt>
                <c:pt idx="2413">
                  <c:v>43.314999999999998</c:v>
                </c:pt>
                <c:pt idx="2414">
                  <c:v>42.838000000000001</c:v>
                </c:pt>
                <c:pt idx="2415">
                  <c:v>42.77</c:v>
                </c:pt>
                <c:pt idx="2416">
                  <c:v>43.314999999999998</c:v>
                </c:pt>
                <c:pt idx="2417">
                  <c:v>43.381999999999998</c:v>
                </c:pt>
                <c:pt idx="2418">
                  <c:v>42.906999999999996</c:v>
                </c:pt>
                <c:pt idx="2419">
                  <c:v>43.11</c:v>
                </c:pt>
                <c:pt idx="2420">
                  <c:v>43.177999999999997</c:v>
                </c:pt>
                <c:pt idx="2421">
                  <c:v>42.906999999999996</c:v>
                </c:pt>
                <c:pt idx="2422">
                  <c:v>43.042000000000002</c:v>
                </c:pt>
                <c:pt idx="2423">
                  <c:v>42.906999999999996</c:v>
                </c:pt>
                <c:pt idx="2424">
                  <c:v>43.042000000000002</c:v>
                </c:pt>
                <c:pt idx="2425">
                  <c:v>43.177999999999997</c:v>
                </c:pt>
                <c:pt idx="2426">
                  <c:v>42.975000000000001</c:v>
                </c:pt>
                <c:pt idx="2427">
                  <c:v>43.11</c:v>
                </c:pt>
                <c:pt idx="2428">
                  <c:v>42.77</c:v>
                </c:pt>
                <c:pt idx="2429">
                  <c:v>43.177999999999997</c:v>
                </c:pt>
                <c:pt idx="2430">
                  <c:v>42.975000000000001</c:v>
                </c:pt>
                <c:pt idx="2431">
                  <c:v>42.975000000000001</c:v>
                </c:pt>
                <c:pt idx="2432">
                  <c:v>43.247</c:v>
                </c:pt>
                <c:pt idx="2433">
                  <c:v>43.177999999999997</c:v>
                </c:pt>
                <c:pt idx="2434">
                  <c:v>42.906999999999996</c:v>
                </c:pt>
                <c:pt idx="2435">
                  <c:v>43.11</c:v>
                </c:pt>
                <c:pt idx="2436">
                  <c:v>42.77</c:v>
                </c:pt>
                <c:pt idx="2437">
                  <c:v>43.042000000000002</c:v>
                </c:pt>
                <c:pt idx="2438">
                  <c:v>43.247</c:v>
                </c:pt>
                <c:pt idx="2439">
                  <c:v>42.906999999999996</c:v>
                </c:pt>
                <c:pt idx="2440">
                  <c:v>43.042000000000002</c:v>
                </c:pt>
                <c:pt idx="2441">
                  <c:v>43.247</c:v>
                </c:pt>
                <c:pt idx="2442">
                  <c:v>42.701999999999998</c:v>
                </c:pt>
                <c:pt idx="2443">
                  <c:v>42.77</c:v>
                </c:pt>
                <c:pt idx="2444">
                  <c:v>43.11</c:v>
                </c:pt>
                <c:pt idx="2445">
                  <c:v>43.042000000000002</c:v>
                </c:pt>
                <c:pt idx="2446">
                  <c:v>43.314999999999998</c:v>
                </c:pt>
                <c:pt idx="2447">
                  <c:v>43.11</c:v>
                </c:pt>
                <c:pt idx="2448">
                  <c:v>42.975000000000001</c:v>
                </c:pt>
                <c:pt idx="2449">
                  <c:v>43.11</c:v>
                </c:pt>
                <c:pt idx="2450">
                  <c:v>43.177999999999997</c:v>
                </c:pt>
                <c:pt idx="2451">
                  <c:v>43.247</c:v>
                </c:pt>
                <c:pt idx="2452">
                  <c:v>43.042000000000002</c:v>
                </c:pt>
                <c:pt idx="2453">
                  <c:v>43.177999999999997</c:v>
                </c:pt>
                <c:pt idx="2454">
                  <c:v>43.381999999999998</c:v>
                </c:pt>
                <c:pt idx="2455">
                  <c:v>43.11</c:v>
                </c:pt>
                <c:pt idx="2456">
                  <c:v>42.975000000000001</c:v>
                </c:pt>
                <c:pt idx="2457">
                  <c:v>43.247</c:v>
                </c:pt>
                <c:pt idx="2458">
                  <c:v>43.177999999999997</c:v>
                </c:pt>
                <c:pt idx="2459">
                  <c:v>43.177999999999997</c:v>
                </c:pt>
                <c:pt idx="2460">
                  <c:v>42.838000000000001</c:v>
                </c:pt>
                <c:pt idx="2461">
                  <c:v>43.177999999999997</c:v>
                </c:pt>
                <c:pt idx="2462">
                  <c:v>42.77</c:v>
                </c:pt>
                <c:pt idx="2463">
                  <c:v>43.042000000000002</c:v>
                </c:pt>
                <c:pt idx="2464">
                  <c:v>43.247</c:v>
                </c:pt>
                <c:pt idx="2465">
                  <c:v>43.177999999999997</c:v>
                </c:pt>
                <c:pt idx="2466">
                  <c:v>43.177999999999997</c:v>
                </c:pt>
                <c:pt idx="2467">
                  <c:v>43.042000000000002</c:v>
                </c:pt>
                <c:pt idx="2468">
                  <c:v>42.906999999999996</c:v>
                </c:pt>
                <c:pt idx="2469">
                  <c:v>43.314999999999998</c:v>
                </c:pt>
                <c:pt idx="2470">
                  <c:v>43.11</c:v>
                </c:pt>
                <c:pt idx="2471">
                  <c:v>43.381999999999998</c:v>
                </c:pt>
                <c:pt idx="2472">
                  <c:v>43.11</c:v>
                </c:pt>
                <c:pt idx="2473">
                  <c:v>43.247</c:v>
                </c:pt>
                <c:pt idx="2474">
                  <c:v>43.314999999999998</c:v>
                </c:pt>
                <c:pt idx="2475">
                  <c:v>43.177999999999997</c:v>
                </c:pt>
                <c:pt idx="2476">
                  <c:v>43.11</c:v>
                </c:pt>
                <c:pt idx="2477">
                  <c:v>43.177999999999997</c:v>
                </c:pt>
                <c:pt idx="2478">
                  <c:v>43.177999999999997</c:v>
                </c:pt>
                <c:pt idx="2479">
                  <c:v>43.042000000000002</c:v>
                </c:pt>
                <c:pt idx="2480">
                  <c:v>43.314999999999998</c:v>
                </c:pt>
                <c:pt idx="2481">
                  <c:v>43.042000000000002</c:v>
                </c:pt>
                <c:pt idx="2482">
                  <c:v>43.177999999999997</c:v>
                </c:pt>
                <c:pt idx="2483">
                  <c:v>43.177999999999997</c:v>
                </c:pt>
                <c:pt idx="2484">
                  <c:v>43.042000000000002</c:v>
                </c:pt>
                <c:pt idx="2485">
                  <c:v>43.314999999999998</c:v>
                </c:pt>
                <c:pt idx="2486">
                  <c:v>43.042000000000002</c:v>
                </c:pt>
                <c:pt idx="2487">
                  <c:v>43.247</c:v>
                </c:pt>
                <c:pt idx="2488">
                  <c:v>43.247</c:v>
                </c:pt>
                <c:pt idx="2489">
                  <c:v>43.177999999999997</c:v>
                </c:pt>
                <c:pt idx="2490">
                  <c:v>43.45</c:v>
                </c:pt>
                <c:pt idx="2491">
                  <c:v>43.381999999999998</c:v>
                </c:pt>
                <c:pt idx="2492">
                  <c:v>43.314999999999998</c:v>
                </c:pt>
                <c:pt idx="2493">
                  <c:v>43.042000000000002</c:v>
                </c:pt>
                <c:pt idx="2494">
                  <c:v>42.975000000000001</c:v>
                </c:pt>
                <c:pt idx="2495">
                  <c:v>43.11</c:v>
                </c:pt>
                <c:pt idx="2496">
                  <c:v>43.381999999999998</c:v>
                </c:pt>
                <c:pt idx="2497">
                  <c:v>43.11</c:v>
                </c:pt>
                <c:pt idx="2498">
                  <c:v>42.634999999999998</c:v>
                </c:pt>
                <c:pt idx="2499">
                  <c:v>43.042000000000002</c:v>
                </c:pt>
                <c:pt idx="2500">
                  <c:v>43.247</c:v>
                </c:pt>
                <c:pt idx="2501">
                  <c:v>43.247</c:v>
                </c:pt>
                <c:pt idx="2502">
                  <c:v>43.11</c:v>
                </c:pt>
                <c:pt idx="2503">
                  <c:v>43.042000000000002</c:v>
                </c:pt>
                <c:pt idx="2504">
                  <c:v>42.838000000000001</c:v>
                </c:pt>
                <c:pt idx="2505">
                  <c:v>43.381999999999998</c:v>
                </c:pt>
                <c:pt idx="2506">
                  <c:v>42.906999999999996</c:v>
                </c:pt>
                <c:pt idx="2507">
                  <c:v>43.042000000000002</c:v>
                </c:pt>
                <c:pt idx="2508">
                  <c:v>43.177999999999997</c:v>
                </c:pt>
                <c:pt idx="2509">
                  <c:v>43.314999999999998</c:v>
                </c:pt>
                <c:pt idx="2510">
                  <c:v>42.975000000000001</c:v>
                </c:pt>
                <c:pt idx="2511">
                  <c:v>42.975000000000001</c:v>
                </c:pt>
                <c:pt idx="2512">
                  <c:v>43.247</c:v>
                </c:pt>
                <c:pt idx="2513">
                  <c:v>43.177999999999997</c:v>
                </c:pt>
                <c:pt idx="2514">
                  <c:v>43.247</c:v>
                </c:pt>
                <c:pt idx="2515">
                  <c:v>43.381999999999998</c:v>
                </c:pt>
                <c:pt idx="2516">
                  <c:v>43.11</c:v>
                </c:pt>
                <c:pt idx="2517">
                  <c:v>42.975000000000001</c:v>
                </c:pt>
                <c:pt idx="2518">
                  <c:v>42.975000000000001</c:v>
                </c:pt>
                <c:pt idx="2519">
                  <c:v>43.177999999999997</c:v>
                </c:pt>
                <c:pt idx="2520">
                  <c:v>43.177999999999997</c:v>
                </c:pt>
                <c:pt idx="2521">
                  <c:v>43.247</c:v>
                </c:pt>
                <c:pt idx="2522">
                  <c:v>43.177999999999997</c:v>
                </c:pt>
                <c:pt idx="2523">
                  <c:v>43.314999999999998</c:v>
                </c:pt>
                <c:pt idx="2524">
                  <c:v>43.45</c:v>
                </c:pt>
                <c:pt idx="2525">
                  <c:v>43.247</c:v>
                </c:pt>
                <c:pt idx="2526">
                  <c:v>43.381999999999998</c:v>
                </c:pt>
                <c:pt idx="2527">
                  <c:v>43.45</c:v>
                </c:pt>
                <c:pt idx="2528">
                  <c:v>43.314999999999998</c:v>
                </c:pt>
                <c:pt idx="2529">
                  <c:v>43.042000000000002</c:v>
                </c:pt>
                <c:pt idx="2530">
                  <c:v>43.11</c:v>
                </c:pt>
                <c:pt idx="2531">
                  <c:v>43.381999999999998</c:v>
                </c:pt>
                <c:pt idx="2532">
                  <c:v>43.11</c:v>
                </c:pt>
                <c:pt idx="2533">
                  <c:v>43.314999999999998</c:v>
                </c:pt>
                <c:pt idx="2534">
                  <c:v>43.177999999999997</c:v>
                </c:pt>
                <c:pt idx="2535">
                  <c:v>43.314999999999998</c:v>
                </c:pt>
                <c:pt idx="2536">
                  <c:v>43.314999999999998</c:v>
                </c:pt>
                <c:pt idx="2537">
                  <c:v>43.45</c:v>
                </c:pt>
                <c:pt idx="2538">
                  <c:v>43.042000000000002</c:v>
                </c:pt>
                <c:pt idx="2539">
                  <c:v>42.975000000000001</c:v>
                </c:pt>
                <c:pt idx="2540">
                  <c:v>43.247</c:v>
                </c:pt>
                <c:pt idx="2541">
                  <c:v>43.177999999999997</c:v>
                </c:pt>
                <c:pt idx="2542">
                  <c:v>43.45</c:v>
                </c:pt>
                <c:pt idx="2543">
                  <c:v>42.906999999999996</c:v>
                </c:pt>
                <c:pt idx="2544">
                  <c:v>43.247</c:v>
                </c:pt>
                <c:pt idx="2545">
                  <c:v>43.247</c:v>
                </c:pt>
                <c:pt idx="2546">
                  <c:v>43.381999999999998</c:v>
                </c:pt>
                <c:pt idx="2547">
                  <c:v>43.314999999999998</c:v>
                </c:pt>
                <c:pt idx="2548">
                  <c:v>43.11</c:v>
                </c:pt>
                <c:pt idx="2549">
                  <c:v>43.45</c:v>
                </c:pt>
                <c:pt idx="2550">
                  <c:v>43.381999999999998</c:v>
                </c:pt>
                <c:pt idx="2551">
                  <c:v>43.587000000000003</c:v>
                </c:pt>
                <c:pt idx="2552">
                  <c:v>43.11</c:v>
                </c:pt>
                <c:pt idx="2553">
                  <c:v>43.45</c:v>
                </c:pt>
                <c:pt idx="2554">
                  <c:v>43.177999999999997</c:v>
                </c:pt>
                <c:pt idx="2555">
                  <c:v>43.587000000000003</c:v>
                </c:pt>
                <c:pt idx="2556">
                  <c:v>43.177999999999997</c:v>
                </c:pt>
                <c:pt idx="2557">
                  <c:v>43.722000000000001</c:v>
                </c:pt>
                <c:pt idx="2558">
                  <c:v>43.45</c:v>
                </c:pt>
                <c:pt idx="2559">
                  <c:v>43.247</c:v>
                </c:pt>
                <c:pt idx="2560">
                  <c:v>43.177999999999997</c:v>
                </c:pt>
                <c:pt idx="2561">
                  <c:v>43.518000000000001</c:v>
                </c:pt>
                <c:pt idx="2562">
                  <c:v>43.381999999999998</c:v>
                </c:pt>
                <c:pt idx="2563">
                  <c:v>43.381999999999998</c:v>
                </c:pt>
                <c:pt idx="2564">
                  <c:v>43.45</c:v>
                </c:pt>
                <c:pt idx="2565">
                  <c:v>43.45</c:v>
                </c:pt>
                <c:pt idx="2566">
                  <c:v>43.314999999999998</c:v>
                </c:pt>
                <c:pt idx="2567">
                  <c:v>43.381999999999998</c:v>
                </c:pt>
                <c:pt idx="2568">
                  <c:v>43.314999999999998</c:v>
                </c:pt>
                <c:pt idx="2569">
                  <c:v>43.587000000000003</c:v>
                </c:pt>
                <c:pt idx="2570">
                  <c:v>43.247</c:v>
                </c:pt>
                <c:pt idx="2571">
                  <c:v>43.247</c:v>
                </c:pt>
                <c:pt idx="2572">
                  <c:v>43.518000000000001</c:v>
                </c:pt>
                <c:pt idx="2573">
                  <c:v>43.381999999999998</c:v>
                </c:pt>
                <c:pt idx="2574">
                  <c:v>43.247</c:v>
                </c:pt>
                <c:pt idx="2575">
                  <c:v>42.975000000000001</c:v>
                </c:pt>
                <c:pt idx="2576">
                  <c:v>43.722000000000001</c:v>
                </c:pt>
                <c:pt idx="2577">
                  <c:v>43.518000000000001</c:v>
                </c:pt>
                <c:pt idx="2578">
                  <c:v>43.381999999999998</c:v>
                </c:pt>
                <c:pt idx="2579">
                  <c:v>43.45</c:v>
                </c:pt>
                <c:pt idx="2580">
                  <c:v>43.314999999999998</c:v>
                </c:pt>
                <c:pt idx="2581">
                  <c:v>43.247</c:v>
                </c:pt>
                <c:pt idx="2582">
                  <c:v>43.45</c:v>
                </c:pt>
                <c:pt idx="2583">
                  <c:v>43.314999999999998</c:v>
                </c:pt>
                <c:pt idx="2584">
                  <c:v>43.247</c:v>
                </c:pt>
                <c:pt idx="2585">
                  <c:v>43.587000000000003</c:v>
                </c:pt>
                <c:pt idx="2586">
                  <c:v>43.381999999999998</c:v>
                </c:pt>
                <c:pt idx="2587">
                  <c:v>43.45</c:v>
                </c:pt>
                <c:pt idx="2588">
                  <c:v>43.45</c:v>
                </c:pt>
                <c:pt idx="2589">
                  <c:v>43.45</c:v>
                </c:pt>
                <c:pt idx="2590">
                  <c:v>43.722000000000001</c:v>
                </c:pt>
                <c:pt idx="2591">
                  <c:v>43.518000000000001</c:v>
                </c:pt>
                <c:pt idx="2592">
                  <c:v>43.314999999999998</c:v>
                </c:pt>
                <c:pt idx="2593">
                  <c:v>43.45</c:v>
                </c:pt>
                <c:pt idx="2594">
                  <c:v>43.314999999999998</c:v>
                </c:pt>
                <c:pt idx="2595">
                  <c:v>43.314999999999998</c:v>
                </c:pt>
                <c:pt idx="2596">
                  <c:v>43.042000000000002</c:v>
                </c:pt>
                <c:pt idx="2597">
                  <c:v>43.587000000000003</c:v>
                </c:pt>
                <c:pt idx="2598">
                  <c:v>43.381999999999998</c:v>
                </c:pt>
                <c:pt idx="2599">
                  <c:v>43.247</c:v>
                </c:pt>
                <c:pt idx="2600">
                  <c:v>43.518000000000001</c:v>
                </c:pt>
                <c:pt idx="2601">
                  <c:v>43.314999999999998</c:v>
                </c:pt>
                <c:pt idx="2602">
                  <c:v>43.11</c:v>
                </c:pt>
                <c:pt idx="2603">
                  <c:v>43.247</c:v>
                </c:pt>
                <c:pt idx="2604">
                  <c:v>43.655000000000001</c:v>
                </c:pt>
                <c:pt idx="2605">
                  <c:v>43.518000000000001</c:v>
                </c:pt>
                <c:pt idx="2606">
                  <c:v>43.518000000000001</c:v>
                </c:pt>
                <c:pt idx="2607">
                  <c:v>43.381999999999998</c:v>
                </c:pt>
                <c:pt idx="2608">
                  <c:v>43.177999999999997</c:v>
                </c:pt>
                <c:pt idx="2609">
                  <c:v>43.587000000000003</c:v>
                </c:pt>
                <c:pt idx="2610">
                  <c:v>43.381999999999998</c:v>
                </c:pt>
                <c:pt idx="2611">
                  <c:v>43.381999999999998</c:v>
                </c:pt>
                <c:pt idx="2612">
                  <c:v>43.587000000000003</c:v>
                </c:pt>
                <c:pt idx="2613">
                  <c:v>43.177999999999997</c:v>
                </c:pt>
                <c:pt idx="2614">
                  <c:v>43.45</c:v>
                </c:pt>
                <c:pt idx="2615">
                  <c:v>43.177999999999997</c:v>
                </c:pt>
                <c:pt idx="2616">
                  <c:v>43.722000000000001</c:v>
                </c:pt>
                <c:pt idx="2617">
                  <c:v>43.247</c:v>
                </c:pt>
                <c:pt idx="2618">
                  <c:v>43.587000000000003</c:v>
                </c:pt>
                <c:pt idx="2619">
                  <c:v>43.587000000000003</c:v>
                </c:pt>
                <c:pt idx="2620">
                  <c:v>43.518000000000001</c:v>
                </c:pt>
                <c:pt idx="2621">
                  <c:v>43.381999999999998</c:v>
                </c:pt>
                <c:pt idx="2622">
                  <c:v>43.381999999999998</c:v>
                </c:pt>
                <c:pt idx="2623">
                  <c:v>43.247</c:v>
                </c:pt>
                <c:pt idx="2624">
                  <c:v>43.45</c:v>
                </c:pt>
                <c:pt idx="2625">
                  <c:v>43.247</c:v>
                </c:pt>
                <c:pt idx="2626">
                  <c:v>43.247</c:v>
                </c:pt>
                <c:pt idx="2627">
                  <c:v>43.587000000000003</c:v>
                </c:pt>
                <c:pt idx="2628">
                  <c:v>43.381999999999998</c:v>
                </c:pt>
                <c:pt idx="2629">
                  <c:v>43.655000000000001</c:v>
                </c:pt>
                <c:pt idx="2630">
                  <c:v>43.518000000000001</c:v>
                </c:pt>
                <c:pt idx="2631">
                  <c:v>43.655000000000001</c:v>
                </c:pt>
                <c:pt idx="2632">
                  <c:v>43.177999999999997</c:v>
                </c:pt>
                <c:pt idx="2633">
                  <c:v>43.177999999999997</c:v>
                </c:pt>
                <c:pt idx="2634">
                  <c:v>43.587000000000003</c:v>
                </c:pt>
                <c:pt idx="2635">
                  <c:v>43.381999999999998</c:v>
                </c:pt>
                <c:pt idx="2636">
                  <c:v>43.45</c:v>
                </c:pt>
                <c:pt idx="2637">
                  <c:v>43.45</c:v>
                </c:pt>
                <c:pt idx="2638">
                  <c:v>43.587000000000003</c:v>
                </c:pt>
                <c:pt idx="2639">
                  <c:v>43.314999999999998</c:v>
                </c:pt>
                <c:pt idx="2640">
                  <c:v>43.587000000000003</c:v>
                </c:pt>
                <c:pt idx="2641">
                  <c:v>43.857999999999997</c:v>
                </c:pt>
                <c:pt idx="2642">
                  <c:v>43.381999999999998</c:v>
                </c:pt>
                <c:pt idx="2643">
                  <c:v>43.381999999999998</c:v>
                </c:pt>
                <c:pt idx="2644">
                  <c:v>43.722000000000001</c:v>
                </c:pt>
                <c:pt idx="2645">
                  <c:v>43.177999999999997</c:v>
                </c:pt>
                <c:pt idx="2646">
                  <c:v>43.655000000000001</c:v>
                </c:pt>
                <c:pt idx="2647">
                  <c:v>43.518000000000001</c:v>
                </c:pt>
                <c:pt idx="2648">
                  <c:v>43.381999999999998</c:v>
                </c:pt>
                <c:pt idx="2649">
                  <c:v>43.314999999999998</c:v>
                </c:pt>
                <c:pt idx="2650">
                  <c:v>43.45</c:v>
                </c:pt>
                <c:pt idx="2651">
                  <c:v>43.381999999999998</c:v>
                </c:pt>
                <c:pt idx="2652">
                  <c:v>43.587000000000003</c:v>
                </c:pt>
                <c:pt idx="2653">
                  <c:v>43.587000000000003</c:v>
                </c:pt>
                <c:pt idx="2654">
                  <c:v>43.655000000000001</c:v>
                </c:pt>
                <c:pt idx="2655">
                  <c:v>43.247</c:v>
                </c:pt>
                <c:pt idx="2656">
                  <c:v>43.587000000000003</c:v>
                </c:pt>
                <c:pt idx="2657">
                  <c:v>43.45</c:v>
                </c:pt>
                <c:pt idx="2658">
                  <c:v>43.655000000000001</c:v>
                </c:pt>
                <c:pt idx="2659">
                  <c:v>43.247</c:v>
                </c:pt>
                <c:pt idx="2660">
                  <c:v>43.587000000000003</c:v>
                </c:pt>
                <c:pt idx="2661">
                  <c:v>43.927</c:v>
                </c:pt>
                <c:pt idx="2662">
                  <c:v>43.177999999999997</c:v>
                </c:pt>
                <c:pt idx="2663">
                  <c:v>43.314999999999998</c:v>
                </c:pt>
                <c:pt idx="2664">
                  <c:v>43.722000000000001</c:v>
                </c:pt>
                <c:pt idx="2665">
                  <c:v>43.314999999999998</c:v>
                </c:pt>
                <c:pt idx="2666">
                  <c:v>43.857999999999997</c:v>
                </c:pt>
                <c:pt idx="2667">
                  <c:v>43.79</c:v>
                </c:pt>
                <c:pt idx="2668">
                  <c:v>43.381999999999998</c:v>
                </c:pt>
                <c:pt idx="2669">
                  <c:v>43.381999999999998</c:v>
                </c:pt>
                <c:pt idx="2670">
                  <c:v>43.587000000000003</c:v>
                </c:pt>
                <c:pt idx="2671">
                  <c:v>43.655000000000001</c:v>
                </c:pt>
                <c:pt idx="2672">
                  <c:v>43.587000000000003</c:v>
                </c:pt>
                <c:pt idx="2673">
                  <c:v>43.587000000000003</c:v>
                </c:pt>
                <c:pt idx="2674">
                  <c:v>43.381999999999998</c:v>
                </c:pt>
                <c:pt idx="2675">
                  <c:v>43.314999999999998</c:v>
                </c:pt>
                <c:pt idx="2676">
                  <c:v>43.857999999999997</c:v>
                </c:pt>
                <c:pt idx="2677">
                  <c:v>43.518000000000001</c:v>
                </c:pt>
                <c:pt idx="2678">
                  <c:v>43.381999999999998</c:v>
                </c:pt>
                <c:pt idx="2679">
                  <c:v>43.518000000000001</c:v>
                </c:pt>
                <c:pt idx="2680">
                  <c:v>43.518000000000001</c:v>
                </c:pt>
                <c:pt idx="2681">
                  <c:v>43.177999999999997</c:v>
                </c:pt>
                <c:pt idx="2682">
                  <c:v>43.927</c:v>
                </c:pt>
                <c:pt idx="2683">
                  <c:v>43.247</c:v>
                </c:pt>
                <c:pt idx="2684">
                  <c:v>43.587000000000003</c:v>
                </c:pt>
                <c:pt idx="2685">
                  <c:v>43.314999999999998</c:v>
                </c:pt>
                <c:pt idx="2686">
                  <c:v>43.587000000000003</c:v>
                </c:pt>
                <c:pt idx="2687">
                  <c:v>43.177999999999997</c:v>
                </c:pt>
                <c:pt idx="2688">
                  <c:v>43.587000000000003</c:v>
                </c:pt>
                <c:pt idx="2689">
                  <c:v>43.655000000000001</c:v>
                </c:pt>
                <c:pt idx="2690">
                  <c:v>43.45</c:v>
                </c:pt>
                <c:pt idx="2691">
                  <c:v>43.518000000000001</c:v>
                </c:pt>
                <c:pt idx="2692">
                  <c:v>43.587000000000003</c:v>
                </c:pt>
                <c:pt idx="2693">
                  <c:v>43.722000000000001</c:v>
                </c:pt>
                <c:pt idx="2694">
                  <c:v>43.587000000000003</c:v>
                </c:pt>
                <c:pt idx="2695">
                  <c:v>43.587000000000003</c:v>
                </c:pt>
                <c:pt idx="2696">
                  <c:v>43.45</c:v>
                </c:pt>
                <c:pt idx="2697">
                  <c:v>43.518000000000001</c:v>
                </c:pt>
                <c:pt idx="2698">
                  <c:v>43.381999999999998</c:v>
                </c:pt>
                <c:pt idx="2699">
                  <c:v>43.247</c:v>
                </c:pt>
                <c:pt idx="2700">
                  <c:v>43.722000000000001</c:v>
                </c:pt>
                <c:pt idx="2701">
                  <c:v>43.79</c:v>
                </c:pt>
                <c:pt idx="2702">
                  <c:v>43.587000000000003</c:v>
                </c:pt>
                <c:pt idx="2703">
                  <c:v>43.655000000000001</c:v>
                </c:pt>
                <c:pt idx="2704">
                  <c:v>43.247</c:v>
                </c:pt>
                <c:pt idx="2705">
                  <c:v>43.518000000000001</c:v>
                </c:pt>
                <c:pt idx="2706">
                  <c:v>43.381999999999998</c:v>
                </c:pt>
                <c:pt idx="2707">
                  <c:v>43.518000000000001</c:v>
                </c:pt>
                <c:pt idx="2708">
                  <c:v>43.722000000000001</c:v>
                </c:pt>
                <c:pt idx="2709">
                  <c:v>43.722000000000001</c:v>
                </c:pt>
                <c:pt idx="2710">
                  <c:v>43.314999999999998</c:v>
                </c:pt>
                <c:pt idx="2711">
                  <c:v>43.857999999999997</c:v>
                </c:pt>
                <c:pt idx="2712">
                  <c:v>43.381999999999998</c:v>
                </c:pt>
                <c:pt idx="2713">
                  <c:v>43.45</c:v>
                </c:pt>
                <c:pt idx="2714">
                  <c:v>43.45</c:v>
                </c:pt>
                <c:pt idx="2715">
                  <c:v>43.857999999999997</c:v>
                </c:pt>
                <c:pt idx="2716">
                  <c:v>43.79</c:v>
                </c:pt>
                <c:pt idx="2717">
                  <c:v>43.381999999999998</c:v>
                </c:pt>
                <c:pt idx="2718">
                  <c:v>43.518000000000001</c:v>
                </c:pt>
                <c:pt idx="2719">
                  <c:v>43.722000000000001</c:v>
                </c:pt>
                <c:pt idx="2720">
                  <c:v>43.722000000000001</c:v>
                </c:pt>
                <c:pt idx="2721">
                  <c:v>43.857999999999997</c:v>
                </c:pt>
                <c:pt idx="2722">
                  <c:v>43.247</c:v>
                </c:pt>
                <c:pt idx="2723">
                  <c:v>43.655000000000001</c:v>
                </c:pt>
                <c:pt idx="2724">
                  <c:v>43.587000000000003</c:v>
                </c:pt>
                <c:pt idx="2725">
                  <c:v>43.722000000000001</c:v>
                </c:pt>
                <c:pt idx="2726">
                  <c:v>43.994999999999997</c:v>
                </c:pt>
                <c:pt idx="2727">
                  <c:v>43.857999999999997</c:v>
                </c:pt>
                <c:pt idx="2728">
                  <c:v>43.79</c:v>
                </c:pt>
                <c:pt idx="2729">
                  <c:v>43.518000000000001</c:v>
                </c:pt>
                <c:pt idx="2730">
                  <c:v>43.655000000000001</c:v>
                </c:pt>
                <c:pt idx="2731">
                  <c:v>43.722000000000001</c:v>
                </c:pt>
                <c:pt idx="2732">
                  <c:v>43.587000000000003</c:v>
                </c:pt>
                <c:pt idx="2733">
                  <c:v>43.655000000000001</c:v>
                </c:pt>
                <c:pt idx="2734">
                  <c:v>43.45</c:v>
                </c:pt>
                <c:pt idx="2735">
                  <c:v>43.381999999999998</c:v>
                </c:pt>
                <c:pt idx="2736">
                  <c:v>43.518000000000001</c:v>
                </c:pt>
                <c:pt idx="2737">
                  <c:v>43.587000000000003</c:v>
                </c:pt>
                <c:pt idx="2738">
                  <c:v>43.587000000000003</c:v>
                </c:pt>
                <c:pt idx="2739">
                  <c:v>43.79</c:v>
                </c:pt>
                <c:pt idx="2740">
                  <c:v>43.587000000000003</c:v>
                </c:pt>
                <c:pt idx="2741">
                  <c:v>43.722000000000001</c:v>
                </c:pt>
                <c:pt idx="2742">
                  <c:v>43.587000000000003</c:v>
                </c:pt>
                <c:pt idx="2743">
                  <c:v>43.655000000000001</c:v>
                </c:pt>
                <c:pt idx="2744">
                  <c:v>43.79</c:v>
                </c:pt>
                <c:pt idx="2745">
                  <c:v>43.927</c:v>
                </c:pt>
                <c:pt idx="2746">
                  <c:v>43.587000000000003</c:v>
                </c:pt>
                <c:pt idx="2747">
                  <c:v>43.722000000000001</c:v>
                </c:pt>
                <c:pt idx="2748">
                  <c:v>43.79</c:v>
                </c:pt>
                <c:pt idx="2749">
                  <c:v>43.381999999999998</c:v>
                </c:pt>
                <c:pt idx="2750">
                  <c:v>43.655000000000001</c:v>
                </c:pt>
                <c:pt idx="2751">
                  <c:v>43.722000000000001</c:v>
                </c:pt>
                <c:pt idx="2752">
                  <c:v>43.45</c:v>
                </c:pt>
                <c:pt idx="2753">
                  <c:v>43.518000000000001</c:v>
                </c:pt>
                <c:pt idx="2754">
                  <c:v>43.45</c:v>
                </c:pt>
                <c:pt idx="2755">
                  <c:v>43.45</c:v>
                </c:pt>
                <c:pt idx="2756">
                  <c:v>43.381999999999998</c:v>
                </c:pt>
                <c:pt idx="2757">
                  <c:v>43.587000000000003</c:v>
                </c:pt>
                <c:pt idx="2758">
                  <c:v>43.587000000000003</c:v>
                </c:pt>
                <c:pt idx="2759">
                  <c:v>43.79</c:v>
                </c:pt>
                <c:pt idx="2760">
                  <c:v>43.587000000000003</c:v>
                </c:pt>
                <c:pt idx="2761">
                  <c:v>43.655000000000001</c:v>
                </c:pt>
                <c:pt idx="2762">
                  <c:v>43.857999999999997</c:v>
                </c:pt>
                <c:pt idx="2763">
                  <c:v>43.722000000000001</c:v>
                </c:pt>
                <c:pt idx="2764">
                  <c:v>43.857999999999997</c:v>
                </c:pt>
                <c:pt idx="2765">
                  <c:v>43.587000000000003</c:v>
                </c:pt>
                <c:pt idx="2766">
                  <c:v>43.655000000000001</c:v>
                </c:pt>
                <c:pt idx="2767">
                  <c:v>43.587000000000003</c:v>
                </c:pt>
                <c:pt idx="2768">
                  <c:v>43.587000000000003</c:v>
                </c:pt>
                <c:pt idx="2769">
                  <c:v>43.857999999999997</c:v>
                </c:pt>
                <c:pt idx="2770">
                  <c:v>43.857999999999997</c:v>
                </c:pt>
                <c:pt idx="2771">
                  <c:v>43.857999999999997</c:v>
                </c:pt>
                <c:pt idx="2772">
                  <c:v>43.587000000000003</c:v>
                </c:pt>
                <c:pt idx="2773">
                  <c:v>43.927</c:v>
                </c:pt>
                <c:pt idx="2774">
                  <c:v>43.927</c:v>
                </c:pt>
                <c:pt idx="2775">
                  <c:v>43.994999999999997</c:v>
                </c:pt>
                <c:pt idx="2776">
                  <c:v>43.79</c:v>
                </c:pt>
                <c:pt idx="2777">
                  <c:v>43.655000000000001</c:v>
                </c:pt>
                <c:pt idx="2778">
                  <c:v>43.79</c:v>
                </c:pt>
                <c:pt idx="2779">
                  <c:v>43.857999999999997</c:v>
                </c:pt>
                <c:pt idx="2780">
                  <c:v>43.79</c:v>
                </c:pt>
                <c:pt idx="2781">
                  <c:v>43.79</c:v>
                </c:pt>
                <c:pt idx="2782">
                  <c:v>43.857999999999997</c:v>
                </c:pt>
                <c:pt idx="2783">
                  <c:v>44.061999999999998</c:v>
                </c:pt>
                <c:pt idx="2784">
                  <c:v>43.79</c:v>
                </c:pt>
                <c:pt idx="2785">
                  <c:v>43.381999999999998</c:v>
                </c:pt>
                <c:pt idx="2786">
                  <c:v>43.857999999999997</c:v>
                </c:pt>
                <c:pt idx="2787">
                  <c:v>43.79</c:v>
                </c:pt>
                <c:pt idx="2788">
                  <c:v>43.927</c:v>
                </c:pt>
                <c:pt idx="2789">
                  <c:v>43.655000000000001</c:v>
                </c:pt>
                <c:pt idx="2790">
                  <c:v>43.587000000000003</c:v>
                </c:pt>
                <c:pt idx="2791">
                  <c:v>43.722000000000001</c:v>
                </c:pt>
                <c:pt idx="2792">
                  <c:v>43.587000000000003</c:v>
                </c:pt>
                <c:pt idx="2793">
                  <c:v>43.994999999999997</c:v>
                </c:pt>
                <c:pt idx="2794">
                  <c:v>43.994999999999997</c:v>
                </c:pt>
                <c:pt idx="2795">
                  <c:v>43.857999999999997</c:v>
                </c:pt>
                <c:pt idx="2796">
                  <c:v>44.13</c:v>
                </c:pt>
                <c:pt idx="2797">
                  <c:v>43.722000000000001</c:v>
                </c:pt>
                <c:pt idx="2798">
                  <c:v>44.13</c:v>
                </c:pt>
                <c:pt idx="2799">
                  <c:v>43.655000000000001</c:v>
                </c:pt>
                <c:pt idx="2800">
                  <c:v>44.061999999999998</c:v>
                </c:pt>
                <c:pt idx="2801">
                  <c:v>43.722000000000001</c:v>
                </c:pt>
                <c:pt idx="2802">
                  <c:v>43.655000000000001</c:v>
                </c:pt>
                <c:pt idx="2803">
                  <c:v>43.857999999999997</c:v>
                </c:pt>
                <c:pt idx="2804">
                  <c:v>43.857999999999997</c:v>
                </c:pt>
                <c:pt idx="2805">
                  <c:v>43.857999999999997</c:v>
                </c:pt>
                <c:pt idx="2806">
                  <c:v>43.79</c:v>
                </c:pt>
                <c:pt idx="2807">
                  <c:v>44.198</c:v>
                </c:pt>
                <c:pt idx="2808">
                  <c:v>43.857999999999997</c:v>
                </c:pt>
                <c:pt idx="2809">
                  <c:v>43.994999999999997</c:v>
                </c:pt>
                <c:pt idx="2810">
                  <c:v>43.927</c:v>
                </c:pt>
                <c:pt idx="2811">
                  <c:v>43.79</c:v>
                </c:pt>
                <c:pt idx="2812">
                  <c:v>44.061999999999998</c:v>
                </c:pt>
                <c:pt idx="2813">
                  <c:v>44.402000000000001</c:v>
                </c:pt>
                <c:pt idx="2814">
                  <c:v>43.994999999999997</c:v>
                </c:pt>
                <c:pt idx="2815">
                  <c:v>43.722000000000001</c:v>
                </c:pt>
                <c:pt idx="2816">
                  <c:v>43.927</c:v>
                </c:pt>
                <c:pt idx="2817">
                  <c:v>43.79</c:v>
                </c:pt>
                <c:pt idx="2818">
                  <c:v>43.927</c:v>
                </c:pt>
                <c:pt idx="2819">
                  <c:v>44.13</c:v>
                </c:pt>
                <c:pt idx="2820">
                  <c:v>43.518000000000001</c:v>
                </c:pt>
                <c:pt idx="2821">
                  <c:v>43.722000000000001</c:v>
                </c:pt>
                <c:pt idx="2822">
                  <c:v>43.722000000000001</c:v>
                </c:pt>
                <c:pt idx="2823">
                  <c:v>43.655000000000001</c:v>
                </c:pt>
                <c:pt idx="2824">
                  <c:v>43.994999999999997</c:v>
                </c:pt>
                <c:pt idx="2825">
                  <c:v>43.655000000000001</c:v>
                </c:pt>
                <c:pt idx="2826">
                  <c:v>43.994999999999997</c:v>
                </c:pt>
                <c:pt idx="2827">
                  <c:v>43.79</c:v>
                </c:pt>
                <c:pt idx="2828">
                  <c:v>43.994999999999997</c:v>
                </c:pt>
                <c:pt idx="2829">
                  <c:v>43.857999999999997</c:v>
                </c:pt>
                <c:pt idx="2830">
                  <c:v>43.79</c:v>
                </c:pt>
                <c:pt idx="2831">
                  <c:v>43.857999999999997</c:v>
                </c:pt>
                <c:pt idx="2832">
                  <c:v>44.267000000000003</c:v>
                </c:pt>
                <c:pt idx="2833">
                  <c:v>43.722000000000001</c:v>
                </c:pt>
                <c:pt idx="2834">
                  <c:v>44.061999999999998</c:v>
                </c:pt>
                <c:pt idx="2835">
                  <c:v>43.927</c:v>
                </c:pt>
                <c:pt idx="2836">
                  <c:v>43.857999999999997</c:v>
                </c:pt>
                <c:pt idx="2837">
                  <c:v>44.13</c:v>
                </c:pt>
                <c:pt idx="2838">
                  <c:v>43.79</c:v>
                </c:pt>
                <c:pt idx="2839">
                  <c:v>44.061999999999998</c:v>
                </c:pt>
                <c:pt idx="2840">
                  <c:v>43.857999999999997</c:v>
                </c:pt>
                <c:pt idx="2841">
                  <c:v>43.927</c:v>
                </c:pt>
                <c:pt idx="2842">
                  <c:v>43.857999999999997</c:v>
                </c:pt>
                <c:pt idx="2843">
                  <c:v>44.061999999999998</c:v>
                </c:pt>
                <c:pt idx="2844">
                  <c:v>43.722000000000001</c:v>
                </c:pt>
                <c:pt idx="2845">
                  <c:v>44.061999999999998</c:v>
                </c:pt>
                <c:pt idx="2846">
                  <c:v>43.587000000000003</c:v>
                </c:pt>
                <c:pt idx="2847">
                  <c:v>43.79</c:v>
                </c:pt>
                <c:pt idx="2848">
                  <c:v>43.722000000000001</c:v>
                </c:pt>
                <c:pt idx="2849">
                  <c:v>43.927</c:v>
                </c:pt>
                <c:pt idx="2850">
                  <c:v>43.927</c:v>
                </c:pt>
                <c:pt idx="2851">
                  <c:v>43.79</c:v>
                </c:pt>
                <c:pt idx="2852">
                  <c:v>43.79</c:v>
                </c:pt>
                <c:pt idx="2853">
                  <c:v>43.927</c:v>
                </c:pt>
                <c:pt idx="2854">
                  <c:v>44.198</c:v>
                </c:pt>
                <c:pt idx="2855">
                  <c:v>44.267000000000003</c:v>
                </c:pt>
                <c:pt idx="2856">
                  <c:v>44.267000000000003</c:v>
                </c:pt>
                <c:pt idx="2857">
                  <c:v>44.061999999999998</c:v>
                </c:pt>
                <c:pt idx="2858">
                  <c:v>43.927</c:v>
                </c:pt>
                <c:pt idx="2859">
                  <c:v>43.857999999999997</c:v>
                </c:pt>
                <c:pt idx="2860">
                  <c:v>43.927</c:v>
                </c:pt>
                <c:pt idx="2861">
                  <c:v>44.13</c:v>
                </c:pt>
                <c:pt idx="2862">
                  <c:v>44.061999999999998</c:v>
                </c:pt>
                <c:pt idx="2863">
                  <c:v>43.927</c:v>
                </c:pt>
                <c:pt idx="2864">
                  <c:v>43.857999999999997</c:v>
                </c:pt>
                <c:pt idx="2865">
                  <c:v>43.655000000000001</c:v>
                </c:pt>
                <c:pt idx="2866">
                  <c:v>44.13</c:v>
                </c:pt>
                <c:pt idx="2867">
                  <c:v>43.994999999999997</c:v>
                </c:pt>
                <c:pt idx="2868">
                  <c:v>44.061999999999998</c:v>
                </c:pt>
                <c:pt idx="2869">
                  <c:v>44.267000000000003</c:v>
                </c:pt>
                <c:pt idx="2870">
                  <c:v>43.994999999999997</c:v>
                </c:pt>
                <c:pt idx="2871">
                  <c:v>44.198</c:v>
                </c:pt>
                <c:pt idx="2872">
                  <c:v>43.994999999999997</c:v>
                </c:pt>
                <c:pt idx="2873">
                  <c:v>43.927</c:v>
                </c:pt>
                <c:pt idx="2874">
                  <c:v>43.518000000000001</c:v>
                </c:pt>
                <c:pt idx="2875">
                  <c:v>44.13</c:v>
                </c:pt>
                <c:pt idx="2876">
                  <c:v>43.927</c:v>
                </c:pt>
                <c:pt idx="2877">
                  <c:v>44.402000000000001</c:v>
                </c:pt>
                <c:pt idx="2878">
                  <c:v>43.857999999999997</c:v>
                </c:pt>
                <c:pt idx="2879">
                  <c:v>43.994999999999997</c:v>
                </c:pt>
                <c:pt idx="2880">
                  <c:v>44.061999999999998</c:v>
                </c:pt>
                <c:pt idx="2881">
                  <c:v>43.994999999999997</c:v>
                </c:pt>
                <c:pt idx="2882">
                  <c:v>43.927</c:v>
                </c:pt>
                <c:pt idx="2883">
                  <c:v>43.994999999999997</c:v>
                </c:pt>
                <c:pt idx="2884">
                  <c:v>44.13</c:v>
                </c:pt>
                <c:pt idx="2885">
                  <c:v>43.994999999999997</c:v>
                </c:pt>
                <c:pt idx="2886">
                  <c:v>44.267000000000003</c:v>
                </c:pt>
                <c:pt idx="2887">
                  <c:v>44.061999999999998</c:v>
                </c:pt>
                <c:pt idx="2888">
                  <c:v>44.13</c:v>
                </c:pt>
                <c:pt idx="2889">
                  <c:v>44.198</c:v>
                </c:pt>
                <c:pt idx="2890">
                  <c:v>44.13</c:v>
                </c:pt>
                <c:pt idx="2891">
                  <c:v>43.857999999999997</c:v>
                </c:pt>
                <c:pt idx="2892">
                  <c:v>44.267000000000003</c:v>
                </c:pt>
                <c:pt idx="2893">
                  <c:v>44.13</c:v>
                </c:pt>
                <c:pt idx="2894">
                  <c:v>44.267000000000003</c:v>
                </c:pt>
                <c:pt idx="2895">
                  <c:v>43.927</c:v>
                </c:pt>
                <c:pt idx="2896">
                  <c:v>43.857999999999997</c:v>
                </c:pt>
                <c:pt idx="2897">
                  <c:v>43.722000000000001</c:v>
                </c:pt>
                <c:pt idx="2898">
                  <c:v>44.061999999999998</c:v>
                </c:pt>
                <c:pt idx="2899">
                  <c:v>44.061999999999998</c:v>
                </c:pt>
                <c:pt idx="2900">
                  <c:v>44.061999999999998</c:v>
                </c:pt>
                <c:pt idx="2901">
                  <c:v>44.198</c:v>
                </c:pt>
                <c:pt idx="2902">
                  <c:v>43.927</c:v>
                </c:pt>
                <c:pt idx="2903">
                  <c:v>44.061999999999998</c:v>
                </c:pt>
                <c:pt idx="2904">
                  <c:v>43.927</c:v>
                </c:pt>
                <c:pt idx="2905">
                  <c:v>43.927</c:v>
                </c:pt>
                <c:pt idx="2906">
                  <c:v>44.267000000000003</c:v>
                </c:pt>
                <c:pt idx="2907">
                  <c:v>44.267000000000003</c:v>
                </c:pt>
                <c:pt idx="2908">
                  <c:v>44.13</c:v>
                </c:pt>
                <c:pt idx="2909">
                  <c:v>43.927</c:v>
                </c:pt>
                <c:pt idx="2910">
                  <c:v>44.267000000000003</c:v>
                </c:pt>
                <c:pt idx="2911">
                  <c:v>43.994999999999997</c:v>
                </c:pt>
                <c:pt idx="2912">
                  <c:v>44.198</c:v>
                </c:pt>
                <c:pt idx="2913">
                  <c:v>43.927</c:v>
                </c:pt>
                <c:pt idx="2914">
                  <c:v>43.994999999999997</c:v>
                </c:pt>
                <c:pt idx="2915">
                  <c:v>43.79</c:v>
                </c:pt>
                <c:pt idx="2916">
                  <c:v>43.994999999999997</c:v>
                </c:pt>
                <c:pt idx="2917">
                  <c:v>43.994999999999997</c:v>
                </c:pt>
                <c:pt idx="2918">
                  <c:v>44.13</c:v>
                </c:pt>
                <c:pt idx="2919">
                  <c:v>44.061999999999998</c:v>
                </c:pt>
                <c:pt idx="2920">
                  <c:v>44.267000000000003</c:v>
                </c:pt>
                <c:pt idx="2921">
                  <c:v>44.402000000000001</c:v>
                </c:pt>
                <c:pt idx="2922">
                  <c:v>43.994999999999997</c:v>
                </c:pt>
                <c:pt idx="2923">
                  <c:v>43.927</c:v>
                </c:pt>
                <c:pt idx="2924">
                  <c:v>44.061999999999998</c:v>
                </c:pt>
                <c:pt idx="2925">
                  <c:v>43.722000000000001</c:v>
                </c:pt>
                <c:pt idx="2926">
                  <c:v>43.994999999999997</c:v>
                </c:pt>
                <c:pt idx="2927">
                  <c:v>44.198</c:v>
                </c:pt>
                <c:pt idx="2928">
                  <c:v>44.198</c:v>
                </c:pt>
                <c:pt idx="2929">
                  <c:v>44.267000000000003</c:v>
                </c:pt>
                <c:pt idx="2930">
                  <c:v>43.927</c:v>
                </c:pt>
                <c:pt idx="2931">
                  <c:v>44.061999999999998</c:v>
                </c:pt>
                <c:pt idx="2932">
                  <c:v>44.335000000000001</c:v>
                </c:pt>
                <c:pt idx="2933">
                  <c:v>44.13</c:v>
                </c:pt>
                <c:pt idx="2934">
                  <c:v>43.994999999999997</c:v>
                </c:pt>
                <c:pt idx="2935">
                  <c:v>44.267000000000003</c:v>
                </c:pt>
                <c:pt idx="2936">
                  <c:v>43.994999999999997</c:v>
                </c:pt>
                <c:pt idx="2937">
                  <c:v>44.198</c:v>
                </c:pt>
                <c:pt idx="2938">
                  <c:v>44.198</c:v>
                </c:pt>
                <c:pt idx="2939">
                  <c:v>44.13</c:v>
                </c:pt>
                <c:pt idx="2940">
                  <c:v>44.13</c:v>
                </c:pt>
                <c:pt idx="2941">
                  <c:v>43.927</c:v>
                </c:pt>
                <c:pt idx="2942">
                  <c:v>43.79</c:v>
                </c:pt>
                <c:pt idx="2943">
                  <c:v>43.927</c:v>
                </c:pt>
                <c:pt idx="2944">
                  <c:v>44.198</c:v>
                </c:pt>
                <c:pt idx="2945">
                  <c:v>43.994999999999997</c:v>
                </c:pt>
                <c:pt idx="2946">
                  <c:v>43.857999999999997</c:v>
                </c:pt>
                <c:pt idx="2947">
                  <c:v>44.198</c:v>
                </c:pt>
                <c:pt idx="2948">
                  <c:v>44.267000000000003</c:v>
                </c:pt>
                <c:pt idx="2949">
                  <c:v>44.267000000000003</c:v>
                </c:pt>
                <c:pt idx="2950">
                  <c:v>44.13</c:v>
                </c:pt>
                <c:pt idx="2951">
                  <c:v>43.994999999999997</c:v>
                </c:pt>
                <c:pt idx="2952">
                  <c:v>44.267000000000003</c:v>
                </c:pt>
                <c:pt idx="2953">
                  <c:v>44.13</c:v>
                </c:pt>
                <c:pt idx="2954">
                  <c:v>44.47</c:v>
                </c:pt>
                <c:pt idx="2955">
                  <c:v>44.198</c:v>
                </c:pt>
                <c:pt idx="2956">
                  <c:v>43.994999999999997</c:v>
                </c:pt>
                <c:pt idx="2957">
                  <c:v>44.13</c:v>
                </c:pt>
                <c:pt idx="2958">
                  <c:v>44.061999999999998</c:v>
                </c:pt>
                <c:pt idx="2959">
                  <c:v>44.402000000000001</c:v>
                </c:pt>
                <c:pt idx="2960">
                  <c:v>44.13</c:v>
                </c:pt>
                <c:pt idx="2961">
                  <c:v>44.402000000000001</c:v>
                </c:pt>
                <c:pt idx="2962">
                  <c:v>44.267000000000003</c:v>
                </c:pt>
                <c:pt idx="2963">
                  <c:v>44.198</c:v>
                </c:pt>
                <c:pt idx="2964">
                  <c:v>43.994999999999997</c:v>
                </c:pt>
                <c:pt idx="2965">
                  <c:v>44.198</c:v>
                </c:pt>
                <c:pt idx="2966">
                  <c:v>43.927</c:v>
                </c:pt>
                <c:pt idx="2967">
                  <c:v>43.994999999999997</c:v>
                </c:pt>
                <c:pt idx="2968">
                  <c:v>44.061999999999998</c:v>
                </c:pt>
                <c:pt idx="2969">
                  <c:v>43.994999999999997</c:v>
                </c:pt>
                <c:pt idx="2970">
                  <c:v>44.13</c:v>
                </c:pt>
                <c:pt idx="2971">
                  <c:v>44.13</c:v>
                </c:pt>
                <c:pt idx="2972">
                  <c:v>44.267000000000003</c:v>
                </c:pt>
                <c:pt idx="2973">
                  <c:v>43.994999999999997</c:v>
                </c:pt>
                <c:pt idx="2974">
                  <c:v>44.061999999999998</c:v>
                </c:pt>
                <c:pt idx="2975">
                  <c:v>44.061999999999998</c:v>
                </c:pt>
                <c:pt idx="2976">
                  <c:v>44.13</c:v>
                </c:pt>
                <c:pt idx="2977">
                  <c:v>44.47</c:v>
                </c:pt>
                <c:pt idx="2978">
                  <c:v>44.198</c:v>
                </c:pt>
                <c:pt idx="2979">
                  <c:v>44.198</c:v>
                </c:pt>
                <c:pt idx="2980">
                  <c:v>43.994999999999997</c:v>
                </c:pt>
                <c:pt idx="2981">
                  <c:v>43.994999999999997</c:v>
                </c:pt>
                <c:pt idx="2982">
                  <c:v>44.267000000000003</c:v>
                </c:pt>
                <c:pt idx="2983">
                  <c:v>44.402000000000001</c:v>
                </c:pt>
                <c:pt idx="2984">
                  <c:v>43.79</c:v>
                </c:pt>
                <c:pt idx="2985">
                  <c:v>44.402000000000001</c:v>
                </c:pt>
                <c:pt idx="2986">
                  <c:v>44.061999999999998</c:v>
                </c:pt>
                <c:pt idx="2987">
                  <c:v>44.198</c:v>
                </c:pt>
                <c:pt idx="2988">
                  <c:v>43.857999999999997</c:v>
                </c:pt>
                <c:pt idx="2989">
                  <c:v>44.267000000000003</c:v>
                </c:pt>
                <c:pt idx="2990">
                  <c:v>44.061999999999998</c:v>
                </c:pt>
                <c:pt idx="2991">
                  <c:v>44.267000000000003</c:v>
                </c:pt>
                <c:pt idx="2992">
                  <c:v>44.335000000000001</c:v>
                </c:pt>
                <c:pt idx="2993">
                  <c:v>44.198</c:v>
                </c:pt>
                <c:pt idx="2994">
                  <c:v>44.13</c:v>
                </c:pt>
                <c:pt idx="2995">
                  <c:v>44.267000000000003</c:v>
                </c:pt>
                <c:pt idx="2996">
                  <c:v>44.335000000000001</c:v>
                </c:pt>
                <c:pt idx="2997">
                  <c:v>44.13</c:v>
                </c:pt>
                <c:pt idx="2998">
                  <c:v>44.606999999999999</c:v>
                </c:pt>
                <c:pt idx="2999">
                  <c:v>43.994999999999997</c:v>
                </c:pt>
                <c:pt idx="3000">
                  <c:v>44.267000000000003</c:v>
                </c:pt>
                <c:pt idx="3001">
                  <c:v>44.335000000000001</c:v>
                </c:pt>
                <c:pt idx="3002">
                  <c:v>44.267000000000003</c:v>
                </c:pt>
                <c:pt idx="3003">
                  <c:v>44.267000000000003</c:v>
                </c:pt>
                <c:pt idx="3004">
                  <c:v>44.061999999999998</c:v>
                </c:pt>
                <c:pt idx="3005">
                  <c:v>44.198</c:v>
                </c:pt>
                <c:pt idx="3006">
                  <c:v>43.927</c:v>
                </c:pt>
                <c:pt idx="3007">
                  <c:v>44.267000000000003</c:v>
                </c:pt>
                <c:pt idx="3008">
                  <c:v>44.335000000000001</c:v>
                </c:pt>
                <c:pt idx="3009">
                  <c:v>44.061999999999998</c:v>
                </c:pt>
                <c:pt idx="3010">
                  <c:v>44.267000000000003</c:v>
                </c:pt>
                <c:pt idx="3011">
                  <c:v>44.198</c:v>
                </c:pt>
                <c:pt idx="3012">
                  <c:v>44.061999999999998</c:v>
                </c:pt>
                <c:pt idx="3013">
                  <c:v>44.402000000000001</c:v>
                </c:pt>
                <c:pt idx="3014">
                  <c:v>44.335000000000001</c:v>
                </c:pt>
                <c:pt idx="3015">
                  <c:v>44.13</c:v>
                </c:pt>
                <c:pt idx="3016">
                  <c:v>44.537999999999997</c:v>
                </c:pt>
                <c:pt idx="3017">
                  <c:v>44.198</c:v>
                </c:pt>
                <c:pt idx="3018">
                  <c:v>44.061999999999998</c:v>
                </c:pt>
                <c:pt idx="3019">
                  <c:v>43.994999999999997</c:v>
                </c:pt>
                <c:pt idx="3020">
                  <c:v>44.335000000000001</c:v>
                </c:pt>
                <c:pt idx="3021">
                  <c:v>44.335000000000001</c:v>
                </c:pt>
                <c:pt idx="3022">
                  <c:v>44.47</c:v>
                </c:pt>
                <c:pt idx="3023">
                  <c:v>44.198</c:v>
                </c:pt>
                <c:pt idx="3024">
                  <c:v>44.267000000000003</c:v>
                </c:pt>
                <c:pt idx="3025">
                  <c:v>44.537999999999997</c:v>
                </c:pt>
                <c:pt idx="3026">
                  <c:v>44.335000000000001</c:v>
                </c:pt>
                <c:pt idx="3027">
                  <c:v>44.335000000000001</c:v>
                </c:pt>
                <c:pt idx="3028">
                  <c:v>44.335000000000001</c:v>
                </c:pt>
                <c:pt idx="3029">
                  <c:v>43.994999999999997</c:v>
                </c:pt>
                <c:pt idx="3030">
                  <c:v>44.13</c:v>
                </c:pt>
                <c:pt idx="3031">
                  <c:v>44.267000000000003</c:v>
                </c:pt>
                <c:pt idx="3032">
                  <c:v>44.335000000000001</c:v>
                </c:pt>
                <c:pt idx="3033">
                  <c:v>43.927</c:v>
                </c:pt>
                <c:pt idx="3034">
                  <c:v>44.198</c:v>
                </c:pt>
                <c:pt idx="3035">
                  <c:v>43.927</c:v>
                </c:pt>
                <c:pt idx="3036">
                  <c:v>44.537999999999997</c:v>
                </c:pt>
                <c:pt idx="3037">
                  <c:v>44.267000000000003</c:v>
                </c:pt>
                <c:pt idx="3038">
                  <c:v>44.061999999999998</c:v>
                </c:pt>
                <c:pt idx="3039">
                  <c:v>44.198</c:v>
                </c:pt>
                <c:pt idx="3040">
                  <c:v>44.267000000000003</c:v>
                </c:pt>
                <c:pt idx="3041">
                  <c:v>44.267000000000003</c:v>
                </c:pt>
                <c:pt idx="3042">
                  <c:v>44.267000000000003</c:v>
                </c:pt>
                <c:pt idx="3043">
                  <c:v>44.13</c:v>
                </c:pt>
                <c:pt idx="3044">
                  <c:v>44.402000000000001</c:v>
                </c:pt>
                <c:pt idx="3045">
                  <c:v>44.47</c:v>
                </c:pt>
                <c:pt idx="3046">
                  <c:v>44.13</c:v>
                </c:pt>
                <c:pt idx="3047">
                  <c:v>44.402000000000001</c:v>
                </c:pt>
                <c:pt idx="3048">
                  <c:v>44.198</c:v>
                </c:pt>
                <c:pt idx="3049">
                  <c:v>44.198</c:v>
                </c:pt>
                <c:pt idx="3050">
                  <c:v>44.198</c:v>
                </c:pt>
                <c:pt idx="3051">
                  <c:v>44.674999999999997</c:v>
                </c:pt>
                <c:pt idx="3052">
                  <c:v>44.198</c:v>
                </c:pt>
                <c:pt idx="3053">
                  <c:v>44.198</c:v>
                </c:pt>
                <c:pt idx="3054">
                  <c:v>44.198</c:v>
                </c:pt>
                <c:pt idx="3055">
                  <c:v>44.061999999999998</c:v>
                </c:pt>
                <c:pt idx="3056">
                  <c:v>44.402000000000001</c:v>
                </c:pt>
                <c:pt idx="3057">
                  <c:v>44.198</c:v>
                </c:pt>
                <c:pt idx="3058">
                  <c:v>44.267000000000003</c:v>
                </c:pt>
                <c:pt idx="3059">
                  <c:v>44.335000000000001</c:v>
                </c:pt>
                <c:pt idx="3060">
                  <c:v>44.198</c:v>
                </c:pt>
                <c:pt idx="3061">
                  <c:v>44.13</c:v>
                </c:pt>
                <c:pt idx="3062">
                  <c:v>44.267000000000003</c:v>
                </c:pt>
                <c:pt idx="3063">
                  <c:v>44.267000000000003</c:v>
                </c:pt>
                <c:pt idx="3064">
                  <c:v>43.994999999999997</c:v>
                </c:pt>
                <c:pt idx="3065">
                  <c:v>44.267000000000003</c:v>
                </c:pt>
                <c:pt idx="3066">
                  <c:v>44.47</c:v>
                </c:pt>
                <c:pt idx="3067">
                  <c:v>44.13</c:v>
                </c:pt>
                <c:pt idx="3068">
                  <c:v>44.47</c:v>
                </c:pt>
                <c:pt idx="3069">
                  <c:v>44.335000000000001</c:v>
                </c:pt>
                <c:pt idx="3070">
                  <c:v>44.335000000000001</c:v>
                </c:pt>
                <c:pt idx="3071">
                  <c:v>43.994999999999997</c:v>
                </c:pt>
                <c:pt idx="3072">
                  <c:v>44.335000000000001</c:v>
                </c:pt>
                <c:pt idx="3073">
                  <c:v>44.402000000000001</c:v>
                </c:pt>
                <c:pt idx="3074">
                  <c:v>44.47</c:v>
                </c:pt>
                <c:pt idx="3075">
                  <c:v>44.402000000000001</c:v>
                </c:pt>
                <c:pt idx="3076">
                  <c:v>44.13</c:v>
                </c:pt>
                <c:pt idx="3077">
                  <c:v>44.537999999999997</c:v>
                </c:pt>
                <c:pt idx="3078">
                  <c:v>44.198</c:v>
                </c:pt>
                <c:pt idx="3079">
                  <c:v>44.606999999999999</c:v>
                </c:pt>
                <c:pt idx="3080">
                  <c:v>44.335000000000001</c:v>
                </c:pt>
                <c:pt idx="3081">
                  <c:v>44.267000000000003</c:v>
                </c:pt>
                <c:pt idx="3082">
                  <c:v>44.335000000000001</c:v>
                </c:pt>
                <c:pt idx="3083">
                  <c:v>44.402000000000001</c:v>
                </c:pt>
                <c:pt idx="3084">
                  <c:v>44.198</c:v>
                </c:pt>
                <c:pt idx="3085">
                  <c:v>44.267000000000003</c:v>
                </c:pt>
                <c:pt idx="3086">
                  <c:v>44.198</c:v>
                </c:pt>
                <c:pt idx="3087">
                  <c:v>44.198</c:v>
                </c:pt>
                <c:pt idx="3088">
                  <c:v>44.741999999999997</c:v>
                </c:pt>
                <c:pt idx="3089">
                  <c:v>44.198</c:v>
                </c:pt>
                <c:pt idx="3090">
                  <c:v>44.267000000000003</c:v>
                </c:pt>
                <c:pt idx="3091">
                  <c:v>44.335000000000001</c:v>
                </c:pt>
                <c:pt idx="3092">
                  <c:v>44.198</c:v>
                </c:pt>
                <c:pt idx="3093">
                  <c:v>43.994999999999997</c:v>
                </c:pt>
                <c:pt idx="3094">
                  <c:v>44.335000000000001</c:v>
                </c:pt>
                <c:pt idx="3095">
                  <c:v>44.537999999999997</c:v>
                </c:pt>
                <c:pt idx="3096">
                  <c:v>44.47</c:v>
                </c:pt>
                <c:pt idx="3097">
                  <c:v>44.537999999999997</c:v>
                </c:pt>
                <c:pt idx="3098">
                  <c:v>44.606999999999999</c:v>
                </c:pt>
                <c:pt idx="3099">
                  <c:v>44.47</c:v>
                </c:pt>
                <c:pt idx="3100">
                  <c:v>44.741999999999997</c:v>
                </c:pt>
                <c:pt idx="3101">
                  <c:v>44.198</c:v>
                </c:pt>
                <c:pt idx="3102">
                  <c:v>44.13</c:v>
                </c:pt>
                <c:pt idx="3103">
                  <c:v>44.13</c:v>
                </c:pt>
                <c:pt idx="3104">
                  <c:v>44.47</c:v>
                </c:pt>
                <c:pt idx="3105">
                  <c:v>44.537999999999997</c:v>
                </c:pt>
                <c:pt idx="3106">
                  <c:v>44.402000000000001</c:v>
                </c:pt>
                <c:pt idx="3107">
                  <c:v>44.537999999999997</c:v>
                </c:pt>
                <c:pt idx="3108">
                  <c:v>44.537999999999997</c:v>
                </c:pt>
                <c:pt idx="3109">
                  <c:v>44.335000000000001</c:v>
                </c:pt>
                <c:pt idx="3110">
                  <c:v>44.741999999999997</c:v>
                </c:pt>
                <c:pt idx="3111">
                  <c:v>44.13</c:v>
                </c:pt>
                <c:pt idx="3112">
                  <c:v>44.606999999999999</c:v>
                </c:pt>
                <c:pt idx="3113">
                  <c:v>44.537999999999997</c:v>
                </c:pt>
                <c:pt idx="3114">
                  <c:v>44.335000000000001</c:v>
                </c:pt>
                <c:pt idx="3115">
                  <c:v>44.47</c:v>
                </c:pt>
                <c:pt idx="3116">
                  <c:v>44.537999999999997</c:v>
                </c:pt>
                <c:pt idx="3117">
                  <c:v>44.606999999999999</c:v>
                </c:pt>
                <c:pt idx="3118">
                  <c:v>44.335000000000001</c:v>
                </c:pt>
                <c:pt idx="3119">
                  <c:v>44.537999999999997</c:v>
                </c:pt>
                <c:pt idx="3120">
                  <c:v>44.537999999999997</c:v>
                </c:pt>
                <c:pt idx="3121">
                  <c:v>44.267000000000003</c:v>
                </c:pt>
                <c:pt idx="3122">
                  <c:v>44.267000000000003</c:v>
                </c:pt>
                <c:pt idx="3123">
                  <c:v>44.402000000000001</c:v>
                </c:pt>
                <c:pt idx="3124">
                  <c:v>44.402000000000001</c:v>
                </c:pt>
                <c:pt idx="3125">
                  <c:v>44.402000000000001</c:v>
                </c:pt>
                <c:pt idx="3126">
                  <c:v>44.741999999999997</c:v>
                </c:pt>
                <c:pt idx="3127">
                  <c:v>44.13</c:v>
                </c:pt>
                <c:pt idx="3128">
                  <c:v>44.402000000000001</c:v>
                </c:pt>
                <c:pt idx="3129">
                  <c:v>44.606999999999999</c:v>
                </c:pt>
                <c:pt idx="3130">
                  <c:v>44.537999999999997</c:v>
                </c:pt>
                <c:pt idx="3131">
                  <c:v>44.537999999999997</c:v>
                </c:pt>
                <c:pt idx="3132">
                  <c:v>44.267000000000003</c:v>
                </c:pt>
                <c:pt idx="3133">
                  <c:v>44.674999999999997</c:v>
                </c:pt>
                <c:pt idx="3134">
                  <c:v>44.81</c:v>
                </c:pt>
                <c:pt idx="3135">
                  <c:v>44.198</c:v>
                </c:pt>
                <c:pt idx="3136">
                  <c:v>44.061999999999998</c:v>
                </c:pt>
                <c:pt idx="3137">
                  <c:v>44.335000000000001</c:v>
                </c:pt>
                <c:pt idx="3138">
                  <c:v>44.537999999999997</c:v>
                </c:pt>
                <c:pt idx="3139">
                  <c:v>44.198</c:v>
                </c:pt>
                <c:pt idx="3140">
                  <c:v>44.606999999999999</c:v>
                </c:pt>
                <c:pt idx="3141">
                  <c:v>44.47</c:v>
                </c:pt>
                <c:pt idx="3142">
                  <c:v>44.335000000000001</c:v>
                </c:pt>
                <c:pt idx="3143">
                  <c:v>44.674999999999997</c:v>
                </c:pt>
                <c:pt idx="3144">
                  <c:v>44.537999999999997</c:v>
                </c:pt>
                <c:pt idx="3145">
                  <c:v>44.47</c:v>
                </c:pt>
                <c:pt idx="3146">
                  <c:v>44.537999999999997</c:v>
                </c:pt>
                <c:pt idx="3147">
                  <c:v>44.13</c:v>
                </c:pt>
                <c:pt idx="3148">
                  <c:v>44.47</c:v>
                </c:pt>
                <c:pt idx="3149">
                  <c:v>44.402000000000001</c:v>
                </c:pt>
                <c:pt idx="3150">
                  <c:v>44.606999999999999</c:v>
                </c:pt>
                <c:pt idx="3151">
                  <c:v>44.47</c:v>
                </c:pt>
                <c:pt idx="3152">
                  <c:v>44.402000000000001</c:v>
                </c:pt>
                <c:pt idx="3153">
                  <c:v>44.402000000000001</c:v>
                </c:pt>
                <c:pt idx="3154">
                  <c:v>44.741999999999997</c:v>
                </c:pt>
                <c:pt idx="3155">
                  <c:v>44.606999999999999</c:v>
                </c:pt>
                <c:pt idx="3156">
                  <c:v>44.47</c:v>
                </c:pt>
                <c:pt idx="3157">
                  <c:v>44.674999999999997</c:v>
                </c:pt>
                <c:pt idx="3158">
                  <c:v>44.402000000000001</c:v>
                </c:pt>
                <c:pt idx="3159">
                  <c:v>44.267000000000003</c:v>
                </c:pt>
                <c:pt idx="3160">
                  <c:v>44.061999999999998</c:v>
                </c:pt>
                <c:pt idx="3161">
                  <c:v>44.537999999999997</c:v>
                </c:pt>
                <c:pt idx="3162">
                  <c:v>44.267000000000003</c:v>
                </c:pt>
                <c:pt idx="3163">
                  <c:v>44.741999999999997</c:v>
                </c:pt>
                <c:pt idx="3164">
                  <c:v>44.606999999999999</c:v>
                </c:pt>
                <c:pt idx="3165">
                  <c:v>44.198</c:v>
                </c:pt>
                <c:pt idx="3166">
                  <c:v>44.741999999999997</c:v>
                </c:pt>
                <c:pt idx="3167">
                  <c:v>44.674999999999997</c:v>
                </c:pt>
                <c:pt idx="3168">
                  <c:v>44.402000000000001</c:v>
                </c:pt>
                <c:pt idx="3169">
                  <c:v>44.198</c:v>
                </c:pt>
                <c:pt idx="3170">
                  <c:v>44.537999999999997</c:v>
                </c:pt>
                <c:pt idx="3171">
                  <c:v>44.741999999999997</c:v>
                </c:pt>
                <c:pt idx="3172">
                  <c:v>44.606999999999999</c:v>
                </c:pt>
                <c:pt idx="3173">
                  <c:v>44.402000000000001</c:v>
                </c:pt>
                <c:pt idx="3174">
                  <c:v>44.537999999999997</c:v>
                </c:pt>
                <c:pt idx="3175">
                  <c:v>44.741999999999997</c:v>
                </c:pt>
                <c:pt idx="3176">
                  <c:v>44.878</c:v>
                </c:pt>
                <c:pt idx="3177">
                  <c:v>44.81</c:v>
                </c:pt>
                <c:pt idx="3178">
                  <c:v>44.674999999999997</c:v>
                </c:pt>
                <c:pt idx="3179">
                  <c:v>44.47</c:v>
                </c:pt>
                <c:pt idx="3180">
                  <c:v>44.537999999999997</c:v>
                </c:pt>
                <c:pt idx="3181">
                  <c:v>44.537999999999997</c:v>
                </c:pt>
                <c:pt idx="3182">
                  <c:v>44.81</c:v>
                </c:pt>
                <c:pt idx="3183">
                  <c:v>44.606999999999999</c:v>
                </c:pt>
                <c:pt idx="3184">
                  <c:v>44.47</c:v>
                </c:pt>
                <c:pt idx="3185">
                  <c:v>44.606999999999999</c:v>
                </c:pt>
                <c:pt idx="3186">
                  <c:v>44.537999999999997</c:v>
                </c:pt>
                <c:pt idx="3187">
                  <c:v>44.335000000000001</c:v>
                </c:pt>
                <c:pt idx="3188">
                  <c:v>44.47</c:v>
                </c:pt>
                <c:pt idx="3189">
                  <c:v>44.402000000000001</c:v>
                </c:pt>
                <c:pt idx="3190">
                  <c:v>44.674999999999997</c:v>
                </c:pt>
                <c:pt idx="3191">
                  <c:v>44.402000000000001</c:v>
                </c:pt>
                <c:pt idx="3192">
                  <c:v>44.537999999999997</c:v>
                </c:pt>
                <c:pt idx="3193">
                  <c:v>44.47</c:v>
                </c:pt>
                <c:pt idx="3194">
                  <c:v>44.674999999999997</c:v>
                </c:pt>
                <c:pt idx="3195">
                  <c:v>44.402000000000001</c:v>
                </c:pt>
                <c:pt idx="3196">
                  <c:v>44.335000000000001</c:v>
                </c:pt>
                <c:pt idx="3197">
                  <c:v>44.606999999999999</c:v>
                </c:pt>
                <c:pt idx="3198">
                  <c:v>44.81</c:v>
                </c:pt>
                <c:pt idx="3199">
                  <c:v>44.606999999999999</c:v>
                </c:pt>
                <c:pt idx="3200">
                  <c:v>44.335000000000001</c:v>
                </c:pt>
                <c:pt idx="3201">
                  <c:v>44.81</c:v>
                </c:pt>
                <c:pt idx="3202">
                  <c:v>44.47</c:v>
                </c:pt>
                <c:pt idx="3203">
                  <c:v>44.81</c:v>
                </c:pt>
                <c:pt idx="3204">
                  <c:v>44.606999999999999</c:v>
                </c:pt>
                <c:pt idx="3205">
                  <c:v>44.878</c:v>
                </c:pt>
                <c:pt idx="3206">
                  <c:v>44.47</c:v>
                </c:pt>
                <c:pt idx="3207">
                  <c:v>44.47</c:v>
                </c:pt>
                <c:pt idx="3208">
                  <c:v>44.537999999999997</c:v>
                </c:pt>
                <c:pt idx="3209">
                  <c:v>44.537999999999997</c:v>
                </c:pt>
                <c:pt idx="3210">
                  <c:v>44.947000000000003</c:v>
                </c:pt>
                <c:pt idx="3211">
                  <c:v>45.015000000000001</c:v>
                </c:pt>
                <c:pt idx="3212">
                  <c:v>44.674999999999997</c:v>
                </c:pt>
                <c:pt idx="3213">
                  <c:v>44.606999999999999</c:v>
                </c:pt>
                <c:pt idx="3214">
                  <c:v>44.267000000000003</c:v>
                </c:pt>
                <c:pt idx="3215">
                  <c:v>44.606999999999999</c:v>
                </c:pt>
                <c:pt idx="3216">
                  <c:v>44.741999999999997</c:v>
                </c:pt>
                <c:pt idx="3217">
                  <c:v>44.606999999999999</c:v>
                </c:pt>
                <c:pt idx="3218">
                  <c:v>44.606999999999999</c:v>
                </c:pt>
                <c:pt idx="3219">
                  <c:v>44.402000000000001</c:v>
                </c:pt>
                <c:pt idx="3220">
                  <c:v>44.741999999999997</c:v>
                </c:pt>
                <c:pt idx="3221">
                  <c:v>44.81</c:v>
                </c:pt>
                <c:pt idx="3222">
                  <c:v>44.537999999999997</c:v>
                </c:pt>
                <c:pt idx="3223">
                  <c:v>44.335000000000001</c:v>
                </c:pt>
                <c:pt idx="3224">
                  <c:v>44.537999999999997</c:v>
                </c:pt>
                <c:pt idx="3225">
                  <c:v>44.537999999999997</c:v>
                </c:pt>
                <c:pt idx="3226">
                  <c:v>44.537999999999997</c:v>
                </c:pt>
                <c:pt idx="3227">
                  <c:v>44.606999999999999</c:v>
                </c:pt>
                <c:pt idx="3228">
                  <c:v>44.741999999999997</c:v>
                </c:pt>
                <c:pt idx="3229">
                  <c:v>44.741999999999997</c:v>
                </c:pt>
                <c:pt idx="3230">
                  <c:v>44.674999999999997</c:v>
                </c:pt>
                <c:pt idx="3231">
                  <c:v>44.878</c:v>
                </c:pt>
                <c:pt idx="3232">
                  <c:v>44.674999999999997</c:v>
                </c:pt>
                <c:pt idx="3233">
                  <c:v>44.741999999999997</c:v>
                </c:pt>
                <c:pt idx="3234">
                  <c:v>44.741999999999997</c:v>
                </c:pt>
                <c:pt idx="3235">
                  <c:v>44.537999999999997</c:v>
                </c:pt>
                <c:pt idx="3236">
                  <c:v>44.674999999999997</c:v>
                </c:pt>
                <c:pt idx="3237">
                  <c:v>44.81</c:v>
                </c:pt>
                <c:pt idx="3238">
                  <c:v>44.537999999999997</c:v>
                </c:pt>
                <c:pt idx="3239">
                  <c:v>44.674999999999997</c:v>
                </c:pt>
                <c:pt idx="3240">
                  <c:v>44.878</c:v>
                </c:pt>
                <c:pt idx="3241">
                  <c:v>44.741999999999997</c:v>
                </c:pt>
                <c:pt idx="3242">
                  <c:v>44.606999999999999</c:v>
                </c:pt>
                <c:pt idx="3243">
                  <c:v>45.15</c:v>
                </c:pt>
                <c:pt idx="3244">
                  <c:v>44.267000000000003</c:v>
                </c:pt>
                <c:pt idx="3245">
                  <c:v>44.674999999999997</c:v>
                </c:pt>
                <c:pt idx="3246">
                  <c:v>44.741999999999997</c:v>
                </c:pt>
                <c:pt idx="3247">
                  <c:v>44.674999999999997</c:v>
                </c:pt>
                <c:pt idx="3248">
                  <c:v>44.741999999999997</c:v>
                </c:pt>
                <c:pt idx="3249">
                  <c:v>44.674999999999997</c:v>
                </c:pt>
                <c:pt idx="3250">
                  <c:v>44.947000000000003</c:v>
                </c:pt>
                <c:pt idx="3251">
                  <c:v>44.47</c:v>
                </c:pt>
                <c:pt idx="3252">
                  <c:v>44.947000000000003</c:v>
                </c:pt>
                <c:pt idx="3253">
                  <c:v>44.878</c:v>
                </c:pt>
                <c:pt idx="3254">
                  <c:v>44.674999999999997</c:v>
                </c:pt>
                <c:pt idx="3255">
                  <c:v>44.878</c:v>
                </c:pt>
                <c:pt idx="3256">
                  <c:v>44.606999999999999</c:v>
                </c:pt>
                <c:pt idx="3257">
                  <c:v>44.674999999999997</c:v>
                </c:pt>
                <c:pt idx="3258">
                  <c:v>44.81</c:v>
                </c:pt>
                <c:pt idx="3259">
                  <c:v>44.47</c:v>
                </c:pt>
                <c:pt idx="3260">
                  <c:v>44.335000000000001</c:v>
                </c:pt>
                <c:pt idx="3261">
                  <c:v>44.947000000000003</c:v>
                </c:pt>
                <c:pt idx="3262">
                  <c:v>44.878</c:v>
                </c:pt>
                <c:pt idx="3263">
                  <c:v>44.741999999999997</c:v>
                </c:pt>
                <c:pt idx="3264">
                  <c:v>44.674999999999997</c:v>
                </c:pt>
                <c:pt idx="3265">
                  <c:v>44.947000000000003</c:v>
                </c:pt>
                <c:pt idx="3266">
                  <c:v>44.741999999999997</c:v>
                </c:pt>
                <c:pt idx="3267">
                  <c:v>44.741999999999997</c:v>
                </c:pt>
                <c:pt idx="3268">
                  <c:v>44.81</c:v>
                </c:pt>
                <c:pt idx="3269">
                  <c:v>45.082000000000001</c:v>
                </c:pt>
                <c:pt idx="3270">
                  <c:v>44.741999999999997</c:v>
                </c:pt>
                <c:pt idx="3271">
                  <c:v>44.606999999999999</c:v>
                </c:pt>
                <c:pt idx="3272">
                  <c:v>44.606999999999999</c:v>
                </c:pt>
                <c:pt idx="3273">
                  <c:v>44.947000000000003</c:v>
                </c:pt>
                <c:pt idx="3274">
                  <c:v>44.537999999999997</c:v>
                </c:pt>
                <c:pt idx="3275">
                  <c:v>44.47</c:v>
                </c:pt>
                <c:pt idx="3276">
                  <c:v>44.878</c:v>
                </c:pt>
                <c:pt idx="3277">
                  <c:v>44.674999999999997</c:v>
                </c:pt>
                <c:pt idx="3278">
                  <c:v>44.674999999999997</c:v>
                </c:pt>
                <c:pt idx="3279">
                  <c:v>44.674999999999997</c:v>
                </c:pt>
                <c:pt idx="3280">
                  <c:v>44.674999999999997</c:v>
                </c:pt>
                <c:pt idx="3281">
                  <c:v>44.741999999999997</c:v>
                </c:pt>
                <c:pt idx="3282">
                  <c:v>44.878</c:v>
                </c:pt>
                <c:pt idx="3283">
                  <c:v>44.741999999999997</c:v>
                </c:pt>
                <c:pt idx="3284">
                  <c:v>44.674999999999997</c:v>
                </c:pt>
                <c:pt idx="3285">
                  <c:v>44.537999999999997</c:v>
                </c:pt>
                <c:pt idx="3286">
                  <c:v>44.81</c:v>
                </c:pt>
                <c:pt idx="3287">
                  <c:v>45.082000000000001</c:v>
                </c:pt>
                <c:pt idx="3288">
                  <c:v>44.878</c:v>
                </c:pt>
                <c:pt idx="3289">
                  <c:v>44.81</c:v>
                </c:pt>
                <c:pt idx="3290">
                  <c:v>44.81</c:v>
                </c:pt>
                <c:pt idx="3291">
                  <c:v>44.947000000000003</c:v>
                </c:pt>
                <c:pt idx="3292">
                  <c:v>44.606999999999999</c:v>
                </c:pt>
                <c:pt idx="3293">
                  <c:v>44.81</c:v>
                </c:pt>
                <c:pt idx="3294">
                  <c:v>44.537999999999997</c:v>
                </c:pt>
                <c:pt idx="3295">
                  <c:v>44.878</c:v>
                </c:pt>
                <c:pt idx="3296">
                  <c:v>44.402000000000001</c:v>
                </c:pt>
                <c:pt idx="3297">
                  <c:v>44.741999999999997</c:v>
                </c:pt>
                <c:pt idx="3298">
                  <c:v>44.741999999999997</c:v>
                </c:pt>
                <c:pt idx="3299">
                  <c:v>44.878</c:v>
                </c:pt>
                <c:pt idx="3300">
                  <c:v>44.674999999999997</c:v>
                </c:pt>
                <c:pt idx="3301">
                  <c:v>44.741999999999997</c:v>
                </c:pt>
                <c:pt idx="3302">
                  <c:v>44.335000000000001</c:v>
                </c:pt>
                <c:pt idx="3303">
                  <c:v>44.47</c:v>
                </c:pt>
                <c:pt idx="3304">
                  <c:v>44.674999999999997</c:v>
                </c:pt>
                <c:pt idx="3305">
                  <c:v>45.015000000000001</c:v>
                </c:pt>
                <c:pt idx="3306">
                  <c:v>45.015000000000001</c:v>
                </c:pt>
                <c:pt idx="3307">
                  <c:v>44.878</c:v>
                </c:pt>
                <c:pt idx="3308">
                  <c:v>44.81</c:v>
                </c:pt>
                <c:pt idx="3309">
                  <c:v>44.741999999999997</c:v>
                </c:pt>
                <c:pt idx="3310">
                  <c:v>44.537999999999997</c:v>
                </c:pt>
                <c:pt idx="3311">
                  <c:v>44.741999999999997</c:v>
                </c:pt>
                <c:pt idx="3312">
                  <c:v>44.878</c:v>
                </c:pt>
                <c:pt idx="3313">
                  <c:v>45.015000000000001</c:v>
                </c:pt>
                <c:pt idx="3314">
                  <c:v>45.082000000000001</c:v>
                </c:pt>
                <c:pt idx="3315">
                  <c:v>44.606999999999999</c:v>
                </c:pt>
                <c:pt idx="3316">
                  <c:v>45.15</c:v>
                </c:pt>
                <c:pt idx="3317">
                  <c:v>44.674999999999997</c:v>
                </c:pt>
                <c:pt idx="3318">
                  <c:v>44.741999999999997</c:v>
                </c:pt>
                <c:pt idx="3319">
                  <c:v>44.947000000000003</c:v>
                </c:pt>
                <c:pt idx="3320">
                  <c:v>44.741999999999997</c:v>
                </c:pt>
                <c:pt idx="3321">
                  <c:v>44.537999999999997</c:v>
                </c:pt>
                <c:pt idx="3322">
                  <c:v>44.741999999999997</c:v>
                </c:pt>
                <c:pt idx="3323">
                  <c:v>44.741999999999997</c:v>
                </c:pt>
                <c:pt idx="3324">
                  <c:v>44.741999999999997</c:v>
                </c:pt>
                <c:pt idx="3325">
                  <c:v>44.947000000000003</c:v>
                </c:pt>
                <c:pt idx="3326">
                  <c:v>44.878</c:v>
                </c:pt>
                <c:pt idx="3327">
                  <c:v>44.674999999999997</c:v>
                </c:pt>
                <c:pt idx="3328">
                  <c:v>44.947000000000003</c:v>
                </c:pt>
                <c:pt idx="3329">
                  <c:v>44.878</c:v>
                </c:pt>
                <c:pt idx="3330">
                  <c:v>44.947000000000003</c:v>
                </c:pt>
                <c:pt idx="3331">
                  <c:v>44.81</c:v>
                </c:pt>
                <c:pt idx="3332">
                  <c:v>44.878</c:v>
                </c:pt>
                <c:pt idx="3333">
                  <c:v>44.674999999999997</c:v>
                </c:pt>
                <c:pt idx="3334">
                  <c:v>45.15</c:v>
                </c:pt>
                <c:pt idx="3335">
                  <c:v>44.81</c:v>
                </c:pt>
                <c:pt idx="3336">
                  <c:v>44.878</c:v>
                </c:pt>
                <c:pt idx="3337">
                  <c:v>45.015000000000001</c:v>
                </c:pt>
                <c:pt idx="3338">
                  <c:v>44.878</c:v>
                </c:pt>
                <c:pt idx="3339">
                  <c:v>45.082000000000001</c:v>
                </c:pt>
                <c:pt idx="3340">
                  <c:v>44.606999999999999</c:v>
                </c:pt>
                <c:pt idx="3341">
                  <c:v>44.674999999999997</c:v>
                </c:pt>
                <c:pt idx="3342">
                  <c:v>44.947000000000003</c:v>
                </c:pt>
                <c:pt idx="3343">
                  <c:v>44.81</c:v>
                </c:pt>
                <c:pt idx="3344">
                  <c:v>45.15</c:v>
                </c:pt>
                <c:pt idx="3345">
                  <c:v>45.082000000000001</c:v>
                </c:pt>
                <c:pt idx="3346">
                  <c:v>45.015000000000001</c:v>
                </c:pt>
                <c:pt idx="3347">
                  <c:v>44.947000000000003</c:v>
                </c:pt>
                <c:pt idx="3348">
                  <c:v>44.878</c:v>
                </c:pt>
                <c:pt idx="3349">
                  <c:v>44.878</c:v>
                </c:pt>
                <c:pt idx="3350">
                  <c:v>45.218000000000004</c:v>
                </c:pt>
                <c:pt idx="3351">
                  <c:v>45.015000000000001</c:v>
                </c:pt>
                <c:pt idx="3352">
                  <c:v>44.947000000000003</c:v>
                </c:pt>
                <c:pt idx="3353">
                  <c:v>44.878</c:v>
                </c:pt>
                <c:pt idx="3354">
                  <c:v>45.015000000000001</c:v>
                </c:pt>
                <c:pt idx="3355">
                  <c:v>45.15</c:v>
                </c:pt>
                <c:pt idx="3356">
                  <c:v>44.81</c:v>
                </c:pt>
                <c:pt idx="3357">
                  <c:v>44.81</c:v>
                </c:pt>
                <c:pt idx="3358">
                  <c:v>44.674999999999997</c:v>
                </c:pt>
                <c:pt idx="3359">
                  <c:v>45.218000000000004</c:v>
                </c:pt>
                <c:pt idx="3360">
                  <c:v>44.537999999999997</c:v>
                </c:pt>
                <c:pt idx="3361">
                  <c:v>44.81</c:v>
                </c:pt>
                <c:pt idx="3362">
                  <c:v>44.947000000000003</c:v>
                </c:pt>
                <c:pt idx="3363">
                  <c:v>45.015000000000001</c:v>
                </c:pt>
                <c:pt idx="3364">
                  <c:v>45.015000000000001</c:v>
                </c:pt>
                <c:pt idx="3365">
                  <c:v>44.947000000000003</c:v>
                </c:pt>
                <c:pt idx="3366">
                  <c:v>44.878</c:v>
                </c:pt>
                <c:pt idx="3367">
                  <c:v>45.015000000000001</c:v>
                </c:pt>
                <c:pt idx="3368">
                  <c:v>45.015000000000001</c:v>
                </c:pt>
                <c:pt idx="3369">
                  <c:v>44.81</c:v>
                </c:pt>
                <c:pt idx="3370">
                  <c:v>45.15</c:v>
                </c:pt>
                <c:pt idx="3371">
                  <c:v>44.741999999999997</c:v>
                </c:pt>
                <c:pt idx="3372">
                  <c:v>44.878</c:v>
                </c:pt>
                <c:pt idx="3373">
                  <c:v>44.878</c:v>
                </c:pt>
                <c:pt idx="3374">
                  <c:v>44.47</c:v>
                </c:pt>
                <c:pt idx="3375">
                  <c:v>45.015000000000001</c:v>
                </c:pt>
                <c:pt idx="3376">
                  <c:v>45.015000000000001</c:v>
                </c:pt>
                <c:pt idx="3377">
                  <c:v>44.741999999999997</c:v>
                </c:pt>
                <c:pt idx="3378">
                  <c:v>45.082000000000001</c:v>
                </c:pt>
                <c:pt idx="3379">
                  <c:v>44.947000000000003</c:v>
                </c:pt>
                <c:pt idx="3380">
                  <c:v>44.81</c:v>
                </c:pt>
                <c:pt idx="3381">
                  <c:v>44.947000000000003</c:v>
                </c:pt>
                <c:pt idx="3382">
                  <c:v>44.606999999999999</c:v>
                </c:pt>
                <c:pt idx="3383">
                  <c:v>45.015000000000001</c:v>
                </c:pt>
                <c:pt idx="3384">
                  <c:v>44.947000000000003</c:v>
                </c:pt>
                <c:pt idx="3385">
                  <c:v>45.015000000000001</c:v>
                </c:pt>
                <c:pt idx="3386">
                  <c:v>44.947000000000003</c:v>
                </c:pt>
                <c:pt idx="3387">
                  <c:v>45.082000000000001</c:v>
                </c:pt>
                <c:pt idx="3388">
                  <c:v>44.81</c:v>
                </c:pt>
                <c:pt idx="3389">
                  <c:v>45.015000000000001</c:v>
                </c:pt>
                <c:pt idx="3390">
                  <c:v>44.674999999999997</c:v>
                </c:pt>
                <c:pt idx="3391">
                  <c:v>44.878</c:v>
                </c:pt>
                <c:pt idx="3392">
                  <c:v>44.947000000000003</c:v>
                </c:pt>
                <c:pt idx="3393">
                  <c:v>45.015000000000001</c:v>
                </c:pt>
                <c:pt idx="3394">
                  <c:v>44.947000000000003</c:v>
                </c:pt>
                <c:pt idx="3395">
                  <c:v>45.015000000000001</c:v>
                </c:pt>
                <c:pt idx="3396">
                  <c:v>45.082000000000001</c:v>
                </c:pt>
                <c:pt idx="3397">
                  <c:v>44.741999999999997</c:v>
                </c:pt>
                <c:pt idx="3398">
                  <c:v>44.741999999999997</c:v>
                </c:pt>
                <c:pt idx="3399">
                  <c:v>44.947000000000003</c:v>
                </c:pt>
                <c:pt idx="3400">
                  <c:v>44.878</c:v>
                </c:pt>
                <c:pt idx="3401">
                  <c:v>44.947000000000003</c:v>
                </c:pt>
                <c:pt idx="3402">
                  <c:v>44.947000000000003</c:v>
                </c:pt>
                <c:pt idx="3403">
                  <c:v>45.15</c:v>
                </c:pt>
                <c:pt idx="3404">
                  <c:v>45.015000000000001</c:v>
                </c:pt>
                <c:pt idx="3405">
                  <c:v>44.81</c:v>
                </c:pt>
                <c:pt idx="3406">
                  <c:v>44.878</c:v>
                </c:pt>
                <c:pt idx="3407">
                  <c:v>44.947000000000003</c:v>
                </c:pt>
                <c:pt idx="3408">
                  <c:v>45.015000000000001</c:v>
                </c:pt>
                <c:pt idx="3409">
                  <c:v>44.947000000000003</c:v>
                </c:pt>
                <c:pt idx="3410">
                  <c:v>44.947000000000003</c:v>
                </c:pt>
                <c:pt idx="3411">
                  <c:v>44.947000000000003</c:v>
                </c:pt>
                <c:pt idx="3412">
                  <c:v>45.015000000000001</c:v>
                </c:pt>
                <c:pt idx="3413">
                  <c:v>45.218000000000004</c:v>
                </c:pt>
                <c:pt idx="3414">
                  <c:v>44.947000000000003</c:v>
                </c:pt>
                <c:pt idx="3415">
                  <c:v>44.674999999999997</c:v>
                </c:pt>
                <c:pt idx="3416">
                  <c:v>44.947000000000003</c:v>
                </c:pt>
                <c:pt idx="3417">
                  <c:v>44.878</c:v>
                </c:pt>
                <c:pt idx="3418">
                  <c:v>45.015000000000001</c:v>
                </c:pt>
                <c:pt idx="3419">
                  <c:v>45.15</c:v>
                </c:pt>
                <c:pt idx="3420">
                  <c:v>45.286999999999999</c:v>
                </c:pt>
                <c:pt idx="3421">
                  <c:v>45.015000000000001</c:v>
                </c:pt>
                <c:pt idx="3422">
                  <c:v>44.81</c:v>
                </c:pt>
                <c:pt idx="3423">
                  <c:v>45.015000000000001</c:v>
                </c:pt>
                <c:pt idx="3424">
                  <c:v>44.81</c:v>
                </c:pt>
                <c:pt idx="3425">
                  <c:v>44.947000000000003</c:v>
                </c:pt>
                <c:pt idx="3426">
                  <c:v>44.878</c:v>
                </c:pt>
                <c:pt idx="3427">
                  <c:v>45.082000000000001</c:v>
                </c:pt>
                <c:pt idx="3428">
                  <c:v>44.947000000000003</c:v>
                </c:pt>
                <c:pt idx="3429">
                  <c:v>44.606999999999999</c:v>
                </c:pt>
                <c:pt idx="3430">
                  <c:v>44.878</c:v>
                </c:pt>
                <c:pt idx="3431">
                  <c:v>44.947000000000003</c:v>
                </c:pt>
                <c:pt idx="3432">
                  <c:v>44.947000000000003</c:v>
                </c:pt>
                <c:pt idx="3433">
                  <c:v>44.81</c:v>
                </c:pt>
                <c:pt idx="3434">
                  <c:v>44.741999999999997</c:v>
                </c:pt>
                <c:pt idx="3435">
                  <c:v>45.15</c:v>
                </c:pt>
                <c:pt idx="3436">
                  <c:v>44.81</c:v>
                </c:pt>
                <c:pt idx="3437">
                  <c:v>45.218000000000004</c:v>
                </c:pt>
                <c:pt idx="3438">
                  <c:v>45.082000000000001</c:v>
                </c:pt>
                <c:pt idx="3439">
                  <c:v>44.878</c:v>
                </c:pt>
                <c:pt idx="3440">
                  <c:v>44.81</c:v>
                </c:pt>
                <c:pt idx="3441">
                  <c:v>45.49</c:v>
                </c:pt>
                <c:pt idx="3442">
                  <c:v>45.15</c:v>
                </c:pt>
                <c:pt idx="3443">
                  <c:v>45.082000000000001</c:v>
                </c:pt>
                <c:pt idx="3444">
                  <c:v>44.878</c:v>
                </c:pt>
                <c:pt idx="3445">
                  <c:v>45.015000000000001</c:v>
                </c:pt>
                <c:pt idx="3446">
                  <c:v>45.015000000000001</c:v>
                </c:pt>
                <c:pt idx="3447">
                  <c:v>44.947000000000003</c:v>
                </c:pt>
                <c:pt idx="3448">
                  <c:v>44.878</c:v>
                </c:pt>
                <c:pt idx="3449">
                  <c:v>45.082000000000001</c:v>
                </c:pt>
                <c:pt idx="3450">
                  <c:v>45.015000000000001</c:v>
                </c:pt>
                <c:pt idx="3451">
                  <c:v>44.947000000000003</c:v>
                </c:pt>
                <c:pt idx="3452">
                  <c:v>45.15</c:v>
                </c:pt>
                <c:pt idx="3453">
                  <c:v>45.15</c:v>
                </c:pt>
                <c:pt idx="3454">
                  <c:v>44.947000000000003</c:v>
                </c:pt>
                <c:pt idx="3455">
                  <c:v>45.082000000000001</c:v>
                </c:pt>
                <c:pt idx="3456">
                  <c:v>45.15</c:v>
                </c:pt>
                <c:pt idx="3457">
                  <c:v>45.082000000000001</c:v>
                </c:pt>
                <c:pt idx="3458">
                  <c:v>44.947000000000003</c:v>
                </c:pt>
                <c:pt idx="3459">
                  <c:v>45.218000000000004</c:v>
                </c:pt>
                <c:pt idx="3460">
                  <c:v>45.218000000000004</c:v>
                </c:pt>
                <c:pt idx="3461">
                  <c:v>45.015000000000001</c:v>
                </c:pt>
                <c:pt idx="3462">
                  <c:v>45.082000000000001</c:v>
                </c:pt>
                <c:pt idx="3463">
                  <c:v>45.354999999999997</c:v>
                </c:pt>
                <c:pt idx="3464">
                  <c:v>45.286999999999999</c:v>
                </c:pt>
                <c:pt idx="3465">
                  <c:v>45.15</c:v>
                </c:pt>
                <c:pt idx="3466">
                  <c:v>45.218000000000004</c:v>
                </c:pt>
                <c:pt idx="3467">
                  <c:v>44.947000000000003</c:v>
                </c:pt>
                <c:pt idx="3468">
                  <c:v>45.015000000000001</c:v>
                </c:pt>
                <c:pt idx="3469">
                  <c:v>44.81</c:v>
                </c:pt>
                <c:pt idx="3470">
                  <c:v>45.15</c:v>
                </c:pt>
                <c:pt idx="3471">
                  <c:v>45.015000000000001</c:v>
                </c:pt>
                <c:pt idx="3472">
                  <c:v>45.015000000000001</c:v>
                </c:pt>
                <c:pt idx="3473">
                  <c:v>44.947000000000003</c:v>
                </c:pt>
                <c:pt idx="3474">
                  <c:v>45.15</c:v>
                </c:pt>
                <c:pt idx="3475">
                  <c:v>45.082000000000001</c:v>
                </c:pt>
                <c:pt idx="3476">
                  <c:v>45.082000000000001</c:v>
                </c:pt>
                <c:pt idx="3477">
                  <c:v>45.15</c:v>
                </c:pt>
                <c:pt idx="3478">
                  <c:v>45.15</c:v>
                </c:pt>
                <c:pt idx="3479">
                  <c:v>44.81</c:v>
                </c:pt>
                <c:pt idx="3480">
                  <c:v>45.15</c:v>
                </c:pt>
                <c:pt idx="3481">
                  <c:v>45.015000000000001</c:v>
                </c:pt>
                <c:pt idx="3482">
                  <c:v>45.082000000000001</c:v>
                </c:pt>
                <c:pt idx="3483">
                  <c:v>45.082000000000001</c:v>
                </c:pt>
                <c:pt idx="3484">
                  <c:v>45.421999999999997</c:v>
                </c:pt>
                <c:pt idx="3485">
                  <c:v>45.082000000000001</c:v>
                </c:pt>
                <c:pt idx="3486">
                  <c:v>45.015000000000001</c:v>
                </c:pt>
                <c:pt idx="3487">
                  <c:v>44.947000000000003</c:v>
                </c:pt>
                <c:pt idx="3488">
                  <c:v>45.082000000000001</c:v>
                </c:pt>
                <c:pt idx="3489">
                  <c:v>45.354999999999997</c:v>
                </c:pt>
                <c:pt idx="3490">
                  <c:v>45.082000000000001</c:v>
                </c:pt>
                <c:pt idx="3491">
                  <c:v>44.878</c:v>
                </c:pt>
                <c:pt idx="3492">
                  <c:v>45.082000000000001</c:v>
                </c:pt>
                <c:pt idx="3493">
                  <c:v>45.218000000000004</c:v>
                </c:pt>
                <c:pt idx="3494">
                  <c:v>45.286999999999999</c:v>
                </c:pt>
                <c:pt idx="3495">
                  <c:v>45.15</c:v>
                </c:pt>
                <c:pt idx="3496">
                  <c:v>45.15</c:v>
                </c:pt>
                <c:pt idx="3497">
                  <c:v>45.15</c:v>
                </c:pt>
                <c:pt idx="3498">
                  <c:v>45.082000000000001</c:v>
                </c:pt>
                <c:pt idx="3499">
                  <c:v>45.218000000000004</c:v>
                </c:pt>
                <c:pt idx="3500">
                  <c:v>45.015000000000001</c:v>
                </c:pt>
                <c:pt idx="3501">
                  <c:v>45.218000000000004</c:v>
                </c:pt>
                <c:pt idx="3502">
                  <c:v>45.49</c:v>
                </c:pt>
                <c:pt idx="3503">
                  <c:v>44.947000000000003</c:v>
                </c:pt>
                <c:pt idx="3504">
                  <c:v>45.15</c:v>
                </c:pt>
                <c:pt idx="3505">
                  <c:v>44.878</c:v>
                </c:pt>
                <c:pt idx="3506">
                  <c:v>45.218000000000004</c:v>
                </c:pt>
                <c:pt idx="3507">
                  <c:v>45.015000000000001</c:v>
                </c:pt>
                <c:pt idx="3508">
                  <c:v>45.15</c:v>
                </c:pt>
                <c:pt idx="3509">
                  <c:v>45.15</c:v>
                </c:pt>
                <c:pt idx="3510">
                  <c:v>45.082000000000001</c:v>
                </c:pt>
                <c:pt idx="3511">
                  <c:v>44.947000000000003</c:v>
                </c:pt>
                <c:pt idx="3512">
                  <c:v>45.15</c:v>
                </c:pt>
                <c:pt idx="3513">
                  <c:v>45.082000000000001</c:v>
                </c:pt>
                <c:pt idx="3514">
                  <c:v>45.286999999999999</c:v>
                </c:pt>
                <c:pt idx="3515">
                  <c:v>45.286999999999999</c:v>
                </c:pt>
                <c:pt idx="3516">
                  <c:v>45.286999999999999</c:v>
                </c:pt>
                <c:pt idx="3517">
                  <c:v>45.015000000000001</c:v>
                </c:pt>
                <c:pt idx="3518">
                  <c:v>45.286999999999999</c:v>
                </c:pt>
                <c:pt idx="3519">
                  <c:v>44.947000000000003</c:v>
                </c:pt>
                <c:pt idx="3520">
                  <c:v>44.947000000000003</c:v>
                </c:pt>
                <c:pt idx="3521">
                  <c:v>45.15</c:v>
                </c:pt>
                <c:pt idx="3522">
                  <c:v>45.218000000000004</c:v>
                </c:pt>
                <c:pt idx="3523">
                  <c:v>45.354999999999997</c:v>
                </c:pt>
                <c:pt idx="3524">
                  <c:v>45.15</c:v>
                </c:pt>
                <c:pt idx="3525">
                  <c:v>45.15</c:v>
                </c:pt>
                <c:pt idx="3526">
                  <c:v>45.15</c:v>
                </c:pt>
                <c:pt idx="3527">
                  <c:v>45.286999999999999</c:v>
                </c:pt>
                <c:pt idx="3528">
                  <c:v>45.15</c:v>
                </c:pt>
                <c:pt idx="3529">
                  <c:v>45.15</c:v>
                </c:pt>
                <c:pt idx="3530">
                  <c:v>45.082000000000001</c:v>
                </c:pt>
                <c:pt idx="3531">
                  <c:v>45.015000000000001</c:v>
                </c:pt>
                <c:pt idx="3532">
                  <c:v>45.015000000000001</c:v>
                </c:pt>
                <c:pt idx="3533">
                  <c:v>45.082000000000001</c:v>
                </c:pt>
                <c:pt idx="3534">
                  <c:v>45.218000000000004</c:v>
                </c:pt>
                <c:pt idx="3535">
                  <c:v>45.015000000000001</c:v>
                </c:pt>
                <c:pt idx="3536">
                  <c:v>45.15</c:v>
                </c:pt>
                <c:pt idx="3537">
                  <c:v>45.082000000000001</c:v>
                </c:pt>
                <c:pt idx="3538">
                  <c:v>44.947000000000003</c:v>
                </c:pt>
                <c:pt idx="3539">
                  <c:v>45.15</c:v>
                </c:pt>
                <c:pt idx="3540">
                  <c:v>45.218000000000004</c:v>
                </c:pt>
                <c:pt idx="3541">
                  <c:v>45.421999999999997</c:v>
                </c:pt>
                <c:pt idx="3542">
                  <c:v>45.762</c:v>
                </c:pt>
                <c:pt idx="3543">
                  <c:v>45.15</c:v>
                </c:pt>
                <c:pt idx="3544">
                  <c:v>45.15</c:v>
                </c:pt>
                <c:pt idx="3545">
                  <c:v>45.354999999999997</c:v>
                </c:pt>
                <c:pt idx="3546">
                  <c:v>45.218000000000004</c:v>
                </c:pt>
                <c:pt idx="3547">
                  <c:v>45.15</c:v>
                </c:pt>
                <c:pt idx="3548">
                  <c:v>45.558</c:v>
                </c:pt>
                <c:pt idx="3549">
                  <c:v>45.421999999999997</c:v>
                </c:pt>
                <c:pt idx="3550">
                  <c:v>45.15</c:v>
                </c:pt>
                <c:pt idx="3551">
                  <c:v>45.421999999999997</c:v>
                </c:pt>
                <c:pt idx="3552">
                  <c:v>45.218000000000004</c:v>
                </c:pt>
                <c:pt idx="3553">
                  <c:v>45.421999999999997</c:v>
                </c:pt>
                <c:pt idx="3554">
                  <c:v>45.49</c:v>
                </c:pt>
                <c:pt idx="3555">
                  <c:v>45.354999999999997</c:v>
                </c:pt>
                <c:pt idx="3556">
                  <c:v>45.354999999999997</c:v>
                </c:pt>
                <c:pt idx="3557">
                  <c:v>45.15</c:v>
                </c:pt>
                <c:pt idx="3558">
                  <c:v>45.082000000000001</c:v>
                </c:pt>
                <c:pt idx="3559">
                  <c:v>45.15</c:v>
                </c:pt>
                <c:pt idx="3560">
                  <c:v>45.421999999999997</c:v>
                </c:pt>
                <c:pt idx="3561">
                  <c:v>45.421999999999997</c:v>
                </c:pt>
                <c:pt idx="3562">
                  <c:v>45.421999999999997</c:v>
                </c:pt>
                <c:pt idx="3563">
                  <c:v>45.421999999999997</c:v>
                </c:pt>
                <c:pt idx="3564">
                  <c:v>45.15</c:v>
                </c:pt>
                <c:pt idx="3565">
                  <c:v>45.286999999999999</c:v>
                </c:pt>
                <c:pt idx="3566">
                  <c:v>45.286999999999999</c:v>
                </c:pt>
                <c:pt idx="3567">
                  <c:v>45.082000000000001</c:v>
                </c:pt>
                <c:pt idx="3568">
                  <c:v>45.218000000000004</c:v>
                </c:pt>
                <c:pt idx="3569">
                  <c:v>45.627000000000002</c:v>
                </c:pt>
                <c:pt idx="3570">
                  <c:v>45.015000000000001</c:v>
                </c:pt>
                <c:pt idx="3571">
                  <c:v>45.218000000000004</c:v>
                </c:pt>
                <c:pt idx="3572">
                  <c:v>45.558</c:v>
                </c:pt>
                <c:pt idx="3573">
                  <c:v>45.15</c:v>
                </c:pt>
                <c:pt idx="3574">
                  <c:v>45.218000000000004</c:v>
                </c:pt>
                <c:pt idx="3575">
                  <c:v>45.354999999999997</c:v>
                </c:pt>
                <c:pt idx="3576">
                  <c:v>45.286999999999999</c:v>
                </c:pt>
                <c:pt idx="3577">
                  <c:v>45.218000000000004</c:v>
                </c:pt>
                <c:pt idx="3578">
                  <c:v>45.286999999999999</c:v>
                </c:pt>
                <c:pt idx="3579">
                  <c:v>45.421999999999997</c:v>
                </c:pt>
                <c:pt idx="3580">
                  <c:v>45.218000000000004</c:v>
                </c:pt>
                <c:pt idx="3581">
                  <c:v>45.286999999999999</c:v>
                </c:pt>
                <c:pt idx="3582">
                  <c:v>45.354999999999997</c:v>
                </c:pt>
                <c:pt idx="3583">
                  <c:v>45.082000000000001</c:v>
                </c:pt>
                <c:pt idx="3584">
                  <c:v>45.218000000000004</c:v>
                </c:pt>
                <c:pt idx="3585">
                  <c:v>45.15</c:v>
                </c:pt>
                <c:pt idx="3586">
                  <c:v>45.218000000000004</c:v>
                </c:pt>
                <c:pt idx="3587">
                  <c:v>45.218000000000004</c:v>
                </c:pt>
                <c:pt idx="3588">
                  <c:v>45.15</c:v>
                </c:pt>
                <c:pt idx="3589">
                  <c:v>45.49</c:v>
                </c:pt>
                <c:pt idx="3590">
                  <c:v>45.558</c:v>
                </c:pt>
                <c:pt idx="3591">
                  <c:v>45.218000000000004</c:v>
                </c:pt>
                <c:pt idx="3592">
                  <c:v>45.015000000000001</c:v>
                </c:pt>
                <c:pt idx="3593">
                  <c:v>45.218000000000004</c:v>
                </c:pt>
                <c:pt idx="3594">
                  <c:v>45.421999999999997</c:v>
                </c:pt>
                <c:pt idx="3595">
                  <c:v>45.421999999999997</c:v>
                </c:pt>
                <c:pt idx="3596">
                  <c:v>45.421999999999997</c:v>
                </c:pt>
                <c:pt idx="3597">
                  <c:v>45.354999999999997</c:v>
                </c:pt>
                <c:pt idx="3598">
                  <c:v>45.286999999999999</c:v>
                </c:pt>
                <c:pt idx="3599">
                  <c:v>45.49</c:v>
                </c:pt>
                <c:pt idx="3600">
                  <c:v>45.49</c:v>
                </c:pt>
                <c:pt idx="3601">
                  <c:v>45.015000000000001</c:v>
                </c:pt>
                <c:pt idx="3602">
                  <c:v>45.558</c:v>
                </c:pt>
                <c:pt idx="3603">
                  <c:v>45.354999999999997</c:v>
                </c:pt>
                <c:pt idx="3604">
                  <c:v>45.354999999999997</c:v>
                </c:pt>
                <c:pt idx="3605">
                  <c:v>45.286999999999999</c:v>
                </c:pt>
                <c:pt idx="3606">
                  <c:v>45.15</c:v>
                </c:pt>
                <c:pt idx="3607">
                  <c:v>45.15</c:v>
                </c:pt>
                <c:pt idx="3608">
                  <c:v>45.218000000000004</c:v>
                </c:pt>
                <c:pt idx="3609">
                  <c:v>45.082000000000001</c:v>
                </c:pt>
                <c:pt idx="3610">
                  <c:v>45.15</c:v>
                </c:pt>
                <c:pt idx="3611">
                  <c:v>45.082000000000001</c:v>
                </c:pt>
                <c:pt idx="3612">
                  <c:v>45.286999999999999</c:v>
                </c:pt>
                <c:pt idx="3613">
                  <c:v>45.286999999999999</c:v>
                </c:pt>
                <c:pt idx="3614">
                  <c:v>45.354999999999997</c:v>
                </c:pt>
                <c:pt idx="3615">
                  <c:v>45.421999999999997</c:v>
                </c:pt>
                <c:pt idx="3616">
                  <c:v>45.558</c:v>
                </c:pt>
                <c:pt idx="3617">
                  <c:v>45.286999999999999</c:v>
                </c:pt>
                <c:pt idx="3618">
                  <c:v>45.421999999999997</c:v>
                </c:pt>
                <c:pt idx="3619">
                  <c:v>45.218000000000004</c:v>
                </c:pt>
                <c:pt idx="3620">
                  <c:v>45.558</c:v>
                </c:pt>
                <c:pt idx="3621">
                  <c:v>45.15</c:v>
                </c:pt>
                <c:pt idx="3622">
                  <c:v>45.49</c:v>
                </c:pt>
                <c:pt idx="3623">
                  <c:v>45.218000000000004</c:v>
                </c:pt>
                <c:pt idx="3624">
                  <c:v>45.15</c:v>
                </c:pt>
                <c:pt idx="3625">
                  <c:v>45.49</c:v>
                </c:pt>
                <c:pt idx="3626">
                  <c:v>45.354999999999997</c:v>
                </c:pt>
                <c:pt idx="3627">
                  <c:v>45.695</c:v>
                </c:pt>
                <c:pt idx="3628">
                  <c:v>45.082000000000001</c:v>
                </c:pt>
                <c:pt idx="3629">
                  <c:v>45.218000000000004</c:v>
                </c:pt>
                <c:pt idx="3630">
                  <c:v>45.354999999999997</c:v>
                </c:pt>
                <c:pt idx="3631">
                  <c:v>45.421999999999997</c:v>
                </c:pt>
                <c:pt idx="3632">
                  <c:v>45.286999999999999</c:v>
                </c:pt>
                <c:pt idx="3633">
                  <c:v>45.354999999999997</c:v>
                </c:pt>
                <c:pt idx="3634">
                  <c:v>45.354999999999997</c:v>
                </c:pt>
                <c:pt idx="3635">
                  <c:v>45.15</c:v>
                </c:pt>
                <c:pt idx="3636">
                  <c:v>45.354999999999997</c:v>
                </c:pt>
                <c:pt idx="3637">
                  <c:v>45.695</c:v>
                </c:pt>
                <c:pt idx="3638">
                  <c:v>45.695</c:v>
                </c:pt>
                <c:pt idx="3639">
                  <c:v>45.558</c:v>
                </c:pt>
                <c:pt idx="3640">
                  <c:v>45.354999999999997</c:v>
                </c:pt>
                <c:pt idx="3641">
                  <c:v>45.421999999999997</c:v>
                </c:pt>
                <c:pt idx="3642">
                  <c:v>45.354999999999997</c:v>
                </c:pt>
                <c:pt idx="3643">
                  <c:v>45.218000000000004</c:v>
                </c:pt>
                <c:pt idx="3644">
                  <c:v>45.286999999999999</c:v>
                </c:pt>
                <c:pt idx="3645">
                  <c:v>45.421999999999997</c:v>
                </c:pt>
                <c:pt idx="3646">
                  <c:v>45.558</c:v>
                </c:pt>
                <c:pt idx="3647">
                  <c:v>45.49</c:v>
                </c:pt>
                <c:pt idx="3648">
                  <c:v>45.082000000000001</c:v>
                </c:pt>
                <c:pt idx="3649">
                  <c:v>45.558</c:v>
                </c:pt>
                <c:pt idx="3650">
                  <c:v>45.49</c:v>
                </c:pt>
                <c:pt idx="3651">
                  <c:v>45.354999999999997</c:v>
                </c:pt>
                <c:pt idx="3652">
                  <c:v>45.421999999999997</c:v>
                </c:pt>
                <c:pt idx="3653">
                  <c:v>45.354999999999997</c:v>
                </c:pt>
                <c:pt idx="3654">
                  <c:v>45.218000000000004</c:v>
                </c:pt>
                <c:pt idx="3655">
                  <c:v>45.286999999999999</c:v>
                </c:pt>
                <c:pt idx="3656">
                  <c:v>45.218000000000004</c:v>
                </c:pt>
                <c:pt idx="3657">
                  <c:v>45.558</c:v>
                </c:pt>
                <c:pt idx="3658">
                  <c:v>45.627000000000002</c:v>
                </c:pt>
                <c:pt idx="3659">
                  <c:v>45.15</c:v>
                </c:pt>
                <c:pt idx="3660">
                  <c:v>45.627000000000002</c:v>
                </c:pt>
                <c:pt idx="3661">
                  <c:v>45.354999999999997</c:v>
                </c:pt>
                <c:pt idx="3662">
                  <c:v>45.558</c:v>
                </c:pt>
                <c:pt idx="3663">
                  <c:v>45.354999999999997</c:v>
                </c:pt>
                <c:pt idx="3664">
                  <c:v>45.627000000000002</c:v>
                </c:pt>
                <c:pt idx="3665">
                  <c:v>45.354999999999997</c:v>
                </c:pt>
                <c:pt idx="3666">
                  <c:v>45.49</c:v>
                </c:pt>
                <c:pt idx="3667">
                  <c:v>44.947000000000003</c:v>
                </c:pt>
                <c:pt idx="3668">
                  <c:v>45.218000000000004</c:v>
                </c:pt>
                <c:pt idx="3669">
                  <c:v>45.558</c:v>
                </c:pt>
                <c:pt idx="3670">
                  <c:v>45.49</c:v>
                </c:pt>
                <c:pt idx="3671">
                  <c:v>45.15</c:v>
                </c:pt>
                <c:pt idx="3672">
                  <c:v>45.627000000000002</c:v>
                </c:pt>
                <c:pt idx="3673">
                  <c:v>45.558</c:v>
                </c:pt>
                <c:pt idx="3674">
                  <c:v>45.354999999999997</c:v>
                </c:pt>
                <c:pt idx="3675">
                  <c:v>45.286999999999999</c:v>
                </c:pt>
                <c:pt idx="3676">
                  <c:v>45.49</c:v>
                </c:pt>
                <c:pt idx="3677">
                  <c:v>45.49</c:v>
                </c:pt>
                <c:pt idx="3678">
                  <c:v>45.286999999999999</c:v>
                </c:pt>
                <c:pt idx="3679">
                  <c:v>45.421999999999997</c:v>
                </c:pt>
                <c:pt idx="3680">
                  <c:v>45.421999999999997</c:v>
                </c:pt>
                <c:pt idx="3681">
                  <c:v>45.627000000000002</c:v>
                </c:pt>
                <c:pt idx="3682">
                  <c:v>45.558</c:v>
                </c:pt>
                <c:pt idx="3683">
                  <c:v>45.354999999999997</c:v>
                </c:pt>
                <c:pt idx="3684">
                  <c:v>45.627000000000002</c:v>
                </c:pt>
                <c:pt idx="3685">
                  <c:v>45.558</c:v>
                </c:pt>
                <c:pt idx="3686">
                  <c:v>45.218000000000004</c:v>
                </c:pt>
                <c:pt idx="3687">
                  <c:v>45.421999999999997</c:v>
                </c:pt>
                <c:pt idx="3688">
                  <c:v>45.898000000000003</c:v>
                </c:pt>
                <c:pt idx="3689">
                  <c:v>45.627000000000002</c:v>
                </c:pt>
                <c:pt idx="3690">
                  <c:v>45.218000000000004</c:v>
                </c:pt>
                <c:pt idx="3691">
                  <c:v>45.762</c:v>
                </c:pt>
                <c:pt idx="3692">
                  <c:v>45.49</c:v>
                </c:pt>
                <c:pt idx="3693">
                  <c:v>45.49</c:v>
                </c:pt>
                <c:pt idx="3694">
                  <c:v>45.421999999999997</c:v>
                </c:pt>
                <c:pt idx="3695">
                  <c:v>45.627000000000002</c:v>
                </c:pt>
                <c:pt idx="3696">
                  <c:v>45.49</c:v>
                </c:pt>
                <c:pt idx="3697">
                  <c:v>45.354999999999997</c:v>
                </c:pt>
                <c:pt idx="3698">
                  <c:v>45.354999999999997</c:v>
                </c:pt>
                <c:pt idx="3699">
                  <c:v>45.286999999999999</c:v>
                </c:pt>
                <c:pt idx="3700">
                  <c:v>45.286999999999999</c:v>
                </c:pt>
                <c:pt idx="3701">
                  <c:v>45.286999999999999</c:v>
                </c:pt>
                <c:pt idx="3702">
                  <c:v>45.558</c:v>
                </c:pt>
                <c:pt idx="3703">
                  <c:v>45.15</c:v>
                </c:pt>
                <c:pt idx="3704">
                  <c:v>45.421999999999997</c:v>
                </c:pt>
                <c:pt idx="3705">
                  <c:v>45.627000000000002</c:v>
                </c:pt>
                <c:pt idx="3706">
                  <c:v>45.627000000000002</c:v>
                </c:pt>
                <c:pt idx="3707">
                  <c:v>45.421999999999997</c:v>
                </c:pt>
                <c:pt idx="3708">
                  <c:v>45.49</c:v>
                </c:pt>
                <c:pt idx="3709">
                  <c:v>45.421999999999997</c:v>
                </c:pt>
                <c:pt idx="3710">
                  <c:v>45.354999999999997</c:v>
                </c:pt>
                <c:pt idx="3711">
                  <c:v>45.218000000000004</c:v>
                </c:pt>
                <c:pt idx="3712">
                  <c:v>45.558</c:v>
                </c:pt>
                <c:pt idx="3713">
                  <c:v>45.83</c:v>
                </c:pt>
                <c:pt idx="3714">
                  <c:v>45.627000000000002</c:v>
                </c:pt>
                <c:pt idx="3715">
                  <c:v>45.83</c:v>
                </c:pt>
                <c:pt idx="3716">
                  <c:v>45.627000000000002</c:v>
                </c:pt>
                <c:pt idx="3717">
                  <c:v>45.627000000000002</c:v>
                </c:pt>
                <c:pt idx="3718">
                  <c:v>45.762</c:v>
                </c:pt>
                <c:pt idx="3719">
                  <c:v>45.558</c:v>
                </c:pt>
                <c:pt idx="3720">
                  <c:v>45.286999999999999</c:v>
                </c:pt>
                <c:pt idx="3721">
                  <c:v>45.421999999999997</c:v>
                </c:pt>
                <c:pt idx="3722">
                  <c:v>45.421999999999997</c:v>
                </c:pt>
                <c:pt idx="3723">
                  <c:v>45.49</c:v>
                </c:pt>
                <c:pt idx="3724">
                  <c:v>45.627000000000002</c:v>
                </c:pt>
                <c:pt idx="3725">
                  <c:v>45.83</c:v>
                </c:pt>
                <c:pt idx="3726">
                  <c:v>45.627000000000002</c:v>
                </c:pt>
                <c:pt idx="3727">
                  <c:v>45.898000000000003</c:v>
                </c:pt>
                <c:pt idx="3728">
                  <c:v>45.627000000000002</c:v>
                </c:pt>
                <c:pt idx="3729">
                  <c:v>45.49</c:v>
                </c:pt>
                <c:pt idx="3730">
                  <c:v>45.558</c:v>
                </c:pt>
                <c:pt idx="3731">
                  <c:v>45.49</c:v>
                </c:pt>
                <c:pt idx="3732">
                  <c:v>45.49</c:v>
                </c:pt>
                <c:pt idx="3733">
                  <c:v>45.83</c:v>
                </c:pt>
                <c:pt idx="3734">
                  <c:v>45.354999999999997</c:v>
                </c:pt>
                <c:pt idx="3735">
                  <c:v>45.558</c:v>
                </c:pt>
                <c:pt idx="3736">
                  <c:v>45.49</c:v>
                </c:pt>
                <c:pt idx="3737">
                  <c:v>45.695</c:v>
                </c:pt>
                <c:pt idx="3738">
                  <c:v>45.695</c:v>
                </c:pt>
                <c:pt idx="3739">
                  <c:v>45.558</c:v>
                </c:pt>
                <c:pt idx="3740">
                  <c:v>45.695</c:v>
                </c:pt>
                <c:pt idx="3741">
                  <c:v>45.558</c:v>
                </c:pt>
                <c:pt idx="3742">
                  <c:v>45.558</c:v>
                </c:pt>
                <c:pt idx="3743">
                  <c:v>45.558</c:v>
                </c:pt>
                <c:pt idx="3744">
                  <c:v>45.898000000000003</c:v>
                </c:pt>
                <c:pt idx="3745">
                  <c:v>45.762</c:v>
                </c:pt>
                <c:pt idx="3746">
                  <c:v>45.627000000000002</c:v>
                </c:pt>
                <c:pt idx="3747">
                  <c:v>45.83</c:v>
                </c:pt>
                <c:pt idx="3748">
                  <c:v>45.354999999999997</c:v>
                </c:pt>
                <c:pt idx="3749">
                  <c:v>45.218000000000004</c:v>
                </c:pt>
                <c:pt idx="3750">
                  <c:v>45.762</c:v>
                </c:pt>
                <c:pt idx="3751">
                  <c:v>45.286999999999999</c:v>
                </c:pt>
                <c:pt idx="3752">
                  <c:v>45.558</c:v>
                </c:pt>
                <c:pt idx="3753">
                  <c:v>45.966999999999999</c:v>
                </c:pt>
                <c:pt idx="3754">
                  <c:v>45.627000000000002</c:v>
                </c:pt>
                <c:pt idx="3755">
                  <c:v>45.354999999999997</c:v>
                </c:pt>
                <c:pt idx="3756">
                  <c:v>45.627000000000002</c:v>
                </c:pt>
                <c:pt idx="3757">
                  <c:v>45.966999999999999</c:v>
                </c:pt>
                <c:pt idx="3758">
                  <c:v>45.83</c:v>
                </c:pt>
                <c:pt idx="3759">
                  <c:v>45.49</c:v>
                </c:pt>
                <c:pt idx="3760">
                  <c:v>45.627000000000002</c:v>
                </c:pt>
                <c:pt idx="3761">
                  <c:v>45.966999999999999</c:v>
                </c:pt>
                <c:pt idx="3762">
                  <c:v>45.627000000000002</c:v>
                </c:pt>
                <c:pt idx="3763">
                  <c:v>45.762</c:v>
                </c:pt>
                <c:pt idx="3764">
                  <c:v>45.354999999999997</c:v>
                </c:pt>
                <c:pt idx="3765">
                  <c:v>45.49</c:v>
                </c:pt>
                <c:pt idx="3766">
                  <c:v>45.695</c:v>
                </c:pt>
                <c:pt idx="3767">
                  <c:v>45.695</c:v>
                </c:pt>
                <c:pt idx="3768">
                  <c:v>45.695</c:v>
                </c:pt>
                <c:pt idx="3769">
                  <c:v>45.627000000000002</c:v>
                </c:pt>
                <c:pt idx="3770">
                  <c:v>45.762</c:v>
                </c:pt>
                <c:pt idx="3771">
                  <c:v>45.627000000000002</c:v>
                </c:pt>
                <c:pt idx="3772">
                  <c:v>45.898000000000003</c:v>
                </c:pt>
                <c:pt idx="3773">
                  <c:v>45.627000000000002</c:v>
                </c:pt>
                <c:pt idx="3774">
                  <c:v>45.695</c:v>
                </c:pt>
                <c:pt idx="3775">
                  <c:v>45.49</c:v>
                </c:pt>
                <c:pt idx="3776">
                  <c:v>45.558</c:v>
                </c:pt>
                <c:pt idx="3777">
                  <c:v>45.627000000000002</c:v>
                </c:pt>
                <c:pt idx="3778">
                  <c:v>45.558</c:v>
                </c:pt>
                <c:pt idx="3779">
                  <c:v>45.695</c:v>
                </c:pt>
                <c:pt idx="3780">
                  <c:v>45.695</c:v>
                </c:pt>
                <c:pt idx="3781">
                  <c:v>45.762</c:v>
                </c:pt>
                <c:pt idx="3782">
                  <c:v>45.762</c:v>
                </c:pt>
                <c:pt idx="3783">
                  <c:v>45.627000000000002</c:v>
                </c:pt>
                <c:pt idx="3784">
                  <c:v>45.695</c:v>
                </c:pt>
                <c:pt idx="3785">
                  <c:v>45.627000000000002</c:v>
                </c:pt>
                <c:pt idx="3786">
                  <c:v>45.49</c:v>
                </c:pt>
                <c:pt idx="3787">
                  <c:v>45.898000000000003</c:v>
                </c:pt>
                <c:pt idx="3788">
                  <c:v>45.898000000000003</c:v>
                </c:pt>
                <c:pt idx="3789">
                  <c:v>45.286999999999999</c:v>
                </c:pt>
                <c:pt idx="3790">
                  <c:v>45.558</c:v>
                </c:pt>
                <c:pt idx="3791">
                  <c:v>45.898000000000003</c:v>
                </c:pt>
                <c:pt idx="3792">
                  <c:v>45.762</c:v>
                </c:pt>
                <c:pt idx="3793">
                  <c:v>46.034999999999997</c:v>
                </c:pt>
                <c:pt idx="3794">
                  <c:v>45.83</c:v>
                </c:pt>
                <c:pt idx="3795">
                  <c:v>45.695</c:v>
                </c:pt>
                <c:pt idx="3796">
                  <c:v>45.558</c:v>
                </c:pt>
                <c:pt idx="3797">
                  <c:v>45.627000000000002</c:v>
                </c:pt>
                <c:pt idx="3798">
                  <c:v>46.17</c:v>
                </c:pt>
                <c:pt idx="3799">
                  <c:v>45.762</c:v>
                </c:pt>
                <c:pt idx="3800">
                  <c:v>45.898000000000003</c:v>
                </c:pt>
                <c:pt idx="3801">
                  <c:v>45.898000000000003</c:v>
                </c:pt>
                <c:pt idx="3802">
                  <c:v>45.83</c:v>
                </c:pt>
                <c:pt idx="3803">
                  <c:v>45.762</c:v>
                </c:pt>
                <c:pt idx="3804">
                  <c:v>45.558</c:v>
                </c:pt>
                <c:pt idx="3805">
                  <c:v>45.695</c:v>
                </c:pt>
                <c:pt idx="3806">
                  <c:v>45.558</c:v>
                </c:pt>
                <c:pt idx="3807">
                  <c:v>45.966999999999999</c:v>
                </c:pt>
                <c:pt idx="3808">
                  <c:v>46.034999999999997</c:v>
                </c:pt>
                <c:pt idx="3809">
                  <c:v>45.83</c:v>
                </c:pt>
                <c:pt idx="3810">
                  <c:v>45.627000000000002</c:v>
                </c:pt>
                <c:pt idx="3811">
                  <c:v>45.898000000000003</c:v>
                </c:pt>
                <c:pt idx="3812">
                  <c:v>45.898000000000003</c:v>
                </c:pt>
                <c:pt idx="3813">
                  <c:v>45.898000000000003</c:v>
                </c:pt>
                <c:pt idx="3814">
                  <c:v>46.101999999999997</c:v>
                </c:pt>
                <c:pt idx="3815">
                  <c:v>45.898000000000003</c:v>
                </c:pt>
                <c:pt idx="3816">
                  <c:v>45.762</c:v>
                </c:pt>
                <c:pt idx="3817">
                  <c:v>45.762</c:v>
                </c:pt>
                <c:pt idx="3818">
                  <c:v>45.83</c:v>
                </c:pt>
                <c:pt idx="3819">
                  <c:v>45.762</c:v>
                </c:pt>
                <c:pt idx="3820">
                  <c:v>45.627000000000002</c:v>
                </c:pt>
                <c:pt idx="3821">
                  <c:v>45.762</c:v>
                </c:pt>
                <c:pt idx="3822">
                  <c:v>45.966999999999999</c:v>
                </c:pt>
                <c:pt idx="3823">
                  <c:v>45.695</c:v>
                </c:pt>
                <c:pt idx="3824">
                  <c:v>46.034999999999997</c:v>
                </c:pt>
                <c:pt idx="3825">
                  <c:v>45.966999999999999</c:v>
                </c:pt>
                <c:pt idx="3826">
                  <c:v>45.695</c:v>
                </c:pt>
                <c:pt idx="3827">
                  <c:v>46.034999999999997</c:v>
                </c:pt>
                <c:pt idx="3828">
                  <c:v>45.898000000000003</c:v>
                </c:pt>
                <c:pt idx="3829">
                  <c:v>45.695</c:v>
                </c:pt>
                <c:pt idx="3830">
                  <c:v>45.558</c:v>
                </c:pt>
                <c:pt idx="3831">
                  <c:v>45.695</c:v>
                </c:pt>
                <c:pt idx="3832">
                  <c:v>45.83</c:v>
                </c:pt>
                <c:pt idx="3833">
                  <c:v>46.101999999999997</c:v>
                </c:pt>
                <c:pt idx="3834">
                  <c:v>45.966999999999999</c:v>
                </c:pt>
                <c:pt idx="3835">
                  <c:v>45.762</c:v>
                </c:pt>
                <c:pt idx="3836">
                  <c:v>45.898000000000003</c:v>
                </c:pt>
                <c:pt idx="3837">
                  <c:v>45.762</c:v>
                </c:pt>
                <c:pt idx="3838">
                  <c:v>46.101999999999997</c:v>
                </c:pt>
                <c:pt idx="3839">
                  <c:v>45.627000000000002</c:v>
                </c:pt>
                <c:pt idx="3840">
                  <c:v>45.966999999999999</c:v>
                </c:pt>
                <c:pt idx="3841">
                  <c:v>45.83</c:v>
                </c:pt>
                <c:pt idx="3842">
                  <c:v>45.695</c:v>
                </c:pt>
                <c:pt idx="3843">
                  <c:v>45.966999999999999</c:v>
                </c:pt>
                <c:pt idx="3844">
                  <c:v>45.898000000000003</c:v>
                </c:pt>
                <c:pt idx="3845">
                  <c:v>45.695</c:v>
                </c:pt>
                <c:pt idx="3846">
                  <c:v>45.695</c:v>
                </c:pt>
                <c:pt idx="3847">
                  <c:v>45.83</c:v>
                </c:pt>
                <c:pt idx="3848">
                  <c:v>45.898000000000003</c:v>
                </c:pt>
                <c:pt idx="3849">
                  <c:v>45.898000000000003</c:v>
                </c:pt>
                <c:pt idx="3850">
                  <c:v>45.695</c:v>
                </c:pt>
                <c:pt idx="3851">
                  <c:v>45.966999999999999</c:v>
                </c:pt>
                <c:pt idx="3852">
                  <c:v>45.695</c:v>
                </c:pt>
                <c:pt idx="3853">
                  <c:v>45.966999999999999</c:v>
                </c:pt>
                <c:pt idx="3854">
                  <c:v>45.49</c:v>
                </c:pt>
                <c:pt idx="3855">
                  <c:v>45.83</c:v>
                </c:pt>
                <c:pt idx="3856">
                  <c:v>45.421999999999997</c:v>
                </c:pt>
                <c:pt idx="3857">
                  <c:v>45.83</c:v>
                </c:pt>
                <c:pt idx="3858">
                  <c:v>46.17</c:v>
                </c:pt>
                <c:pt idx="3859">
                  <c:v>46.101999999999997</c:v>
                </c:pt>
                <c:pt idx="3860">
                  <c:v>45.695</c:v>
                </c:pt>
                <c:pt idx="3861">
                  <c:v>46.238</c:v>
                </c:pt>
                <c:pt idx="3862">
                  <c:v>45.898000000000003</c:v>
                </c:pt>
                <c:pt idx="3863">
                  <c:v>45.966999999999999</c:v>
                </c:pt>
                <c:pt idx="3864">
                  <c:v>45.421999999999997</c:v>
                </c:pt>
                <c:pt idx="3865">
                  <c:v>46.034999999999997</c:v>
                </c:pt>
                <c:pt idx="3866">
                  <c:v>45.627000000000002</c:v>
                </c:pt>
                <c:pt idx="3867">
                  <c:v>46.17</c:v>
                </c:pt>
                <c:pt idx="3868">
                  <c:v>46.101999999999997</c:v>
                </c:pt>
                <c:pt idx="3869">
                  <c:v>45.695</c:v>
                </c:pt>
                <c:pt idx="3870">
                  <c:v>46.034999999999997</c:v>
                </c:pt>
                <c:pt idx="3871">
                  <c:v>46.034999999999997</c:v>
                </c:pt>
                <c:pt idx="3872">
                  <c:v>45.695</c:v>
                </c:pt>
                <c:pt idx="3873">
                  <c:v>45.83</c:v>
                </c:pt>
                <c:pt idx="3874">
                  <c:v>46.101999999999997</c:v>
                </c:pt>
                <c:pt idx="3875">
                  <c:v>45.83</c:v>
                </c:pt>
                <c:pt idx="3876">
                  <c:v>45.966999999999999</c:v>
                </c:pt>
                <c:pt idx="3877">
                  <c:v>45.627000000000002</c:v>
                </c:pt>
                <c:pt idx="3878">
                  <c:v>45.898000000000003</c:v>
                </c:pt>
                <c:pt idx="3879">
                  <c:v>45.898000000000003</c:v>
                </c:pt>
                <c:pt idx="3880">
                  <c:v>46.034999999999997</c:v>
                </c:pt>
                <c:pt idx="3881">
                  <c:v>46.101999999999997</c:v>
                </c:pt>
                <c:pt idx="3882">
                  <c:v>46.034999999999997</c:v>
                </c:pt>
                <c:pt idx="3883">
                  <c:v>46.101999999999997</c:v>
                </c:pt>
                <c:pt idx="3884">
                  <c:v>46.101999999999997</c:v>
                </c:pt>
                <c:pt idx="3885">
                  <c:v>45.695</c:v>
                </c:pt>
                <c:pt idx="3886">
                  <c:v>45.83</c:v>
                </c:pt>
                <c:pt idx="3887">
                  <c:v>46.101999999999997</c:v>
                </c:pt>
                <c:pt idx="3888">
                  <c:v>45.898000000000003</c:v>
                </c:pt>
                <c:pt idx="3889">
                  <c:v>45.83</c:v>
                </c:pt>
                <c:pt idx="3890">
                  <c:v>46.034999999999997</c:v>
                </c:pt>
                <c:pt idx="3891">
                  <c:v>45.898000000000003</c:v>
                </c:pt>
                <c:pt idx="3892">
                  <c:v>45.627000000000002</c:v>
                </c:pt>
                <c:pt idx="3893">
                  <c:v>45.966999999999999</c:v>
                </c:pt>
                <c:pt idx="3894">
                  <c:v>45.966999999999999</c:v>
                </c:pt>
                <c:pt idx="3895">
                  <c:v>45.83</c:v>
                </c:pt>
                <c:pt idx="3896">
                  <c:v>45.966999999999999</c:v>
                </c:pt>
                <c:pt idx="3897">
                  <c:v>45.83</c:v>
                </c:pt>
                <c:pt idx="3898">
                  <c:v>45.966999999999999</c:v>
                </c:pt>
                <c:pt idx="3899">
                  <c:v>45.762</c:v>
                </c:pt>
                <c:pt idx="3900">
                  <c:v>45.966999999999999</c:v>
                </c:pt>
                <c:pt idx="3901">
                  <c:v>46.375</c:v>
                </c:pt>
                <c:pt idx="3902">
                  <c:v>45.898000000000003</c:v>
                </c:pt>
                <c:pt idx="3903">
                  <c:v>45.83</c:v>
                </c:pt>
                <c:pt idx="3904">
                  <c:v>45.898000000000003</c:v>
                </c:pt>
                <c:pt idx="3905">
                  <c:v>46.17</c:v>
                </c:pt>
                <c:pt idx="3906">
                  <c:v>45.898000000000003</c:v>
                </c:pt>
                <c:pt idx="3907">
                  <c:v>46.101999999999997</c:v>
                </c:pt>
                <c:pt idx="3908">
                  <c:v>46.034999999999997</c:v>
                </c:pt>
                <c:pt idx="3909">
                  <c:v>45.966999999999999</c:v>
                </c:pt>
                <c:pt idx="3910">
                  <c:v>46.17</c:v>
                </c:pt>
                <c:pt idx="3911">
                  <c:v>45.966999999999999</c:v>
                </c:pt>
                <c:pt idx="3912">
                  <c:v>45.762</c:v>
                </c:pt>
                <c:pt idx="3913">
                  <c:v>45.83</c:v>
                </c:pt>
                <c:pt idx="3914">
                  <c:v>45.762</c:v>
                </c:pt>
                <c:pt idx="3915">
                  <c:v>46.17</c:v>
                </c:pt>
                <c:pt idx="3916">
                  <c:v>46.034999999999997</c:v>
                </c:pt>
                <c:pt idx="3917">
                  <c:v>45.695</c:v>
                </c:pt>
                <c:pt idx="3918">
                  <c:v>45.83</c:v>
                </c:pt>
                <c:pt idx="3919">
                  <c:v>46.375</c:v>
                </c:pt>
                <c:pt idx="3920">
                  <c:v>46.101999999999997</c:v>
                </c:pt>
                <c:pt idx="3921">
                  <c:v>46.034999999999997</c:v>
                </c:pt>
                <c:pt idx="3922">
                  <c:v>45.83</c:v>
                </c:pt>
                <c:pt idx="3923">
                  <c:v>45.83</c:v>
                </c:pt>
                <c:pt idx="3924">
                  <c:v>45.898000000000003</c:v>
                </c:pt>
                <c:pt idx="3925">
                  <c:v>45.762</c:v>
                </c:pt>
                <c:pt idx="3926">
                  <c:v>46.101999999999997</c:v>
                </c:pt>
                <c:pt idx="3927">
                  <c:v>45.966999999999999</c:v>
                </c:pt>
                <c:pt idx="3928">
                  <c:v>45.898000000000003</c:v>
                </c:pt>
                <c:pt idx="3929">
                  <c:v>46.101999999999997</c:v>
                </c:pt>
                <c:pt idx="3930">
                  <c:v>45.898000000000003</c:v>
                </c:pt>
                <c:pt idx="3931">
                  <c:v>46.034999999999997</c:v>
                </c:pt>
                <c:pt idx="3932">
                  <c:v>45.898000000000003</c:v>
                </c:pt>
                <c:pt idx="3933">
                  <c:v>46.238</c:v>
                </c:pt>
                <c:pt idx="3934">
                  <c:v>45.898000000000003</c:v>
                </c:pt>
                <c:pt idx="3935">
                  <c:v>46.17</c:v>
                </c:pt>
                <c:pt idx="3936">
                  <c:v>46.034999999999997</c:v>
                </c:pt>
                <c:pt idx="3937">
                  <c:v>46.034999999999997</c:v>
                </c:pt>
                <c:pt idx="3938">
                  <c:v>46.034999999999997</c:v>
                </c:pt>
                <c:pt idx="3939">
                  <c:v>46.101999999999997</c:v>
                </c:pt>
                <c:pt idx="3940">
                  <c:v>46.238</c:v>
                </c:pt>
                <c:pt idx="3941">
                  <c:v>45.966999999999999</c:v>
                </c:pt>
                <c:pt idx="3942">
                  <c:v>46.034999999999997</c:v>
                </c:pt>
                <c:pt idx="3943">
                  <c:v>46.034999999999997</c:v>
                </c:pt>
                <c:pt idx="3944">
                  <c:v>45.762</c:v>
                </c:pt>
                <c:pt idx="3945">
                  <c:v>45.83</c:v>
                </c:pt>
                <c:pt idx="3946">
                  <c:v>45.966999999999999</c:v>
                </c:pt>
                <c:pt idx="3947">
                  <c:v>46.101999999999997</c:v>
                </c:pt>
                <c:pt idx="3948">
                  <c:v>46.034999999999997</c:v>
                </c:pt>
                <c:pt idx="3949">
                  <c:v>45.898000000000003</c:v>
                </c:pt>
                <c:pt idx="3950">
                  <c:v>46.101999999999997</c:v>
                </c:pt>
                <c:pt idx="3951">
                  <c:v>46.307000000000002</c:v>
                </c:pt>
                <c:pt idx="3952">
                  <c:v>45.898000000000003</c:v>
                </c:pt>
                <c:pt idx="3953">
                  <c:v>46.101999999999997</c:v>
                </c:pt>
                <c:pt idx="3954">
                  <c:v>46.034999999999997</c:v>
                </c:pt>
                <c:pt idx="3955">
                  <c:v>45.898000000000003</c:v>
                </c:pt>
                <c:pt idx="3956">
                  <c:v>46.034999999999997</c:v>
                </c:pt>
                <c:pt idx="3957">
                  <c:v>46.238</c:v>
                </c:pt>
                <c:pt idx="3958">
                  <c:v>45.966999999999999</c:v>
                </c:pt>
                <c:pt idx="3959">
                  <c:v>45.898000000000003</c:v>
                </c:pt>
                <c:pt idx="3960">
                  <c:v>45.966999999999999</c:v>
                </c:pt>
                <c:pt idx="3961">
                  <c:v>46.034999999999997</c:v>
                </c:pt>
                <c:pt idx="3962">
                  <c:v>45.898000000000003</c:v>
                </c:pt>
                <c:pt idx="3963">
                  <c:v>45.898000000000003</c:v>
                </c:pt>
                <c:pt idx="3964">
                  <c:v>45.83</c:v>
                </c:pt>
                <c:pt idx="3965">
                  <c:v>46.17</c:v>
                </c:pt>
                <c:pt idx="3966">
                  <c:v>45.762</c:v>
                </c:pt>
                <c:pt idx="3967">
                  <c:v>45.83</c:v>
                </c:pt>
                <c:pt idx="3968">
                  <c:v>46.101999999999997</c:v>
                </c:pt>
                <c:pt idx="3969">
                  <c:v>45.83</c:v>
                </c:pt>
                <c:pt idx="3970">
                  <c:v>46.034999999999997</c:v>
                </c:pt>
                <c:pt idx="3971">
                  <c:v>46.034999999999997</c:v>
                </c:pt>
                <c:pt idx="3972">
                  <c:v>46.034999999999997</c:v>
                </c:pt>
                <c:pt idx="3973">
                  <c:v>45.762</c:v>
                </c:pt>
                <c:pt idx="3974">
                  <c:v>46.034999999999997</c:v>
                </c:pt>
                <c:pt idx="3975">
                  <c:v>46.17</c:v>
                </c:pt>
                <c:pt idx="3976">
                  <c:v>45.966999999999999</c:v>
                </c:pt>
                <c:pt idx="3977">
                  <c:v>46.101999999999997</c:v>
                </c:pt>
                <c:pt idx="3978">
                  <c:v>46.034999999999997</c:v>
                </c:pt>
                <c:pt idx="3979">
                  <c:v>46.034999999999997</c:v>
                </c:pt>
                <c:pt idx="3980">
                  <c:v>46.101999999999997</c:v>
                </c:pt>
                <c:pt idx="3981">
                  <c:v>46.101999999999997</c:v>
                </c:pt>
                <c:pt idx="3982">
                  <c:v>45.966999999999999</c:v>
                </c:pt>
                <c:pt idx="3983">
                  <c:v>46.307000000000002</c:v>
                </c:pt>
                <c:pt idx="3984">
                  <c:v>46.101999999999997</c:v>
                </c:pt>
                <c:pt idx="3985">
                  <c:v>46.034999999999997</c:v>
                </c:pt>
                <c:pt idx="3986">
                  <c:v>45.898000000000003</c:v>
                </c:pt>
                <c:pt idx="3987">
                  <c:v>46.101999999999997</c:v>
                </c:pt>
                <c:pt idx="3988">
                  <c:v>46.238</c:v>
                </c:pt>
                <c:pt idx="3989">
                  <c:v>46.101999999999997</c:v>
                </c:pt>
                <c:pt idx="3990">
                  <c:v>46.307000000000002</c:v>
                </c:pt>
                <c:pt idx="3991">
                  <c:v>46.17</c:v>
                </c:pt>
                <c:pt idx="3992">
                  <c:v>46.238</c:v>
                </c:pt>
                <c:pt idx="3993">
                  <c:v>45.898000000000003</c:v>
                </c:pt>
                <c:pt idx="3994">
                  <c:v>46.101999999999997</c:v>
                </c:pt>
                <c:pt idx="3995">
                  <c:v>46.17</c:v>
                </c:pt>
                <c:pt idx="3996">
                  <c:v>46.034999999999997</c:v>
                </c:pt>
                <c:pt idx="3997">
                  <c:v>46.238</c:v>
                </c:pt>
                <c:pt idx="3998">
                  <c:v>45.966999999999999</c:v>
                </c:pt>
                <c:pt idx="3999">
                  <c:v>46.307000000000002</c:v>
                </c:pt>
                <c:pt idx="4000">
                  <c:v>46.17</c:v>
                </c:pt>
                <c:pt idx="4001">
                  <c:v>45.762</c:v>
                </c:pt>
                <c:pt idx="4002">
                  <c:v>46.101999999999997</c:v>
                </c:pt>
                <c:pt idx="4003">
                  <c:v>45.966999999999999</c:v>
                </c:pt>
                <c:pt idx="4004">
                  <c:v>46.034999999999997</c:v>
                </c:pt>
                <c:pt idx="4005">
                  <c:v>46.307000000000002</c:v>
                </c:pt>
                <c:pt idx="4006">
                  <c:v>45.966999999999999</c:v>
                </c:pt>
                <c:pt idx="4007">
                  <c:v>45.898000000000003</c:v>
                </c:pt>
                <c:pt idx="4008">
                  <c:v>45.966999999999999</c:v>
                </c:pt>
                <c:pt idx="4009">
                  <c:v>46.238</c:v>
                </c:pt>
                <c:pt idx="4010">
                  <c:v>46.17</c:v>
                </c:pt>
                <c:pt idx="4011">
                  <c:v>46.17</c:v>
                </c:pt>
                <c:pt idx="4012">
                  <c:v>46.101999999999997</c:v>
                </c:pt>
                <c:pt idx="4013">
                  <c:v>46.101999999999997</c:v>
                </c:pt>
                <c:pt idx="4014">
                  <c:v>45.966999999999999</c:v>
                </c:pt>
                <c:pt idx="4015">
                  <c:v>45.966999999999999</c:v>
                </c:pt>
                <c:pt idx="4016">
                  <c:v>46.307000000000002</c:v>
                </c:pt>
                <c:pt idx="4017">
                  <c:v>46.238</c:v>
                </c:pt>
                <c:pt idx="4018">
                  <c:v>46.034999999999997</c:v>
                </c:pt>
                <c:pt idx="4019">
                  <c:v>46.034999999999997</c:v>
                </c:pt>
                <c:pt idx="4020">
                  <c:v>46.17</c:v>
                </c:pt>
                <c:pt idx="4021">
                  <c:v>46.17</c:v>
                </c:pt>
                <c:pt idx="4022">
                  <c:v>45.966999999999999</c:v>
                </c:pt>
                <c:pt idx="4023">
                  <c:v>45.966999999999999</c:v>
                </c:pt>
                <c:pt idx="4024">
                  <c:v>46.307000000000002</c:v>
                </c:pt>
                <c:pt idx="4025">
                  <c:v>46.034999999999997</c:v>
                </c:pt>
                <c:pt idx="4026">
                  <c:v>46.238</c:v>
                </c:pt>
                <c:pt idx="4027">
                  <c:v>46.034999999999997</c:v>
                </c:pt>
                <c:pt idx="4028">
                  <c:v>45.83</c:v>
                </c:pt>
                <c:pt idx="4029">
                  <c:v>46.17</c:v>
                </c:pt>
                <c:pt idx="4030">
                  <c:v>46.375</c:v>
                </c:pt>
                <c:pt idx="4031">
                  <c:v>46.17</c:v>
                </c:pt>
                <c:pt idx="4032">
                  <c:v>46.101999999999997</c:v>
                </c:pt>
                <c:pt idx="4033">
                  <c:v>45.966999999999999</c:v>
                </c:pt>
                <c:pt idx="4034">
                  <c:v>46.307000000000002</c:v>
                </c:pt>
                <c:pt idx="4035">
                  <c:v>46.307000000000002</c:v>
                </c:pt>
                <c:pt idx="4036">
                  <c:v>45.762</c:v>
                </c:pt>
                <c:pt idx="4037">
                  <c:v>46.238</c:v>
                </c:pt>
                <c:pt idx="4038">
                  <c:v>46.442</c:v>
                </c:pt>
                <c:pt idx="4039">
                  <c:v>46.238</c:v>
                </c:pt>
                <c:pt idx="4040">
                  <c:v>46.375</c:v>
                </c:pt>
                <c:pt idx="4041">
                  <c:v>45.966999999999999</c:v>
                </c:pt>
                <c:pt idx="4042">
                  <c:v>46.034999999999997</c:v>
                </c:pt>
                <c:pt idx="4043">
                  <c:v>46.034999999999997</c:v>
                </c:pt>
                <c:pt idx="4044">
                  <c:v>46.375</c:v>
                </c:pt>
                <c:pt idx="4045">
                  <c:v>46.034999999999997</c:v>
                </c:pt>
                <c:pt idx="4046">
                  <c:v>46.17</c:v>
                </c:pt>
                <c:pt idx="4047">
                  <c:v>46.034999999999997</c:v>
                </c:pt>
                <c:pt idx="4048">
                  <c:v>46.17</c:v>
                </c:pt>
                <c:pt idx="4049">
                  <c:v>46.034999999999997</c:v>
                </c:pt>
                <c:pt idx="4050">
                  <c:v>46.307000000000002</c:v>
                </c:pt>
                <c:pt idx="4051">
                  <c:v>46.375</c:v>
                </c:pt>
                <c:pt idx="4052">
                  <c:v>46.238</c:v>
                </c:pt>
                <c:pt idx="4053">
                  <c:v>46.442</c:v>
                </c:pt>
                <c:pt idx="4054">
                  <c:v>46.101999999999997</c:v>
                </c:pt>
                <c:pt idx="4055">
                  <c:v>46.17</c:v>
                </c:pt>
                <c:pt idx="4056">
                  <c:v>46.034999999999997</c:v>
                </c:pt>
                <c:pt idx="4057">
                  <c:v>46.375</c:v>
                </c:pt>
                <c:pt idx="4058">
                  <c:v>46.307000000000002</c:v>
                </c:pt>
                <c:pt idx="4059">
                  <c:v>46.238</c:v>
                </c:pt>
                <c:pt idx="4060">
                  <c:v>46.101999999999997</c:v>
                </c:pt>
                <c:pt idx="4061">
                  <c:v>46.375</c:v>
                </c:pt>
                <c:pt idx="4062">
                  <c:v>46.238</c:v>
                </c:pt>
                <c:pt idx="4063">
                  <c:v>46.101999999999997</c:v>
                </c:pt>
                <c:pt idx="4064">
                  <c:v>46.51</c:v>
                </c:pt>
                <c:pt idx="4065">
                  <c:v>46.442</c:v>
                </c:pt>
                <c:pt idx="4066">
                  <c:v>46.17</c:v>
                </c:pt>
                <c:pt idx="4067">
                  <c:v>46.375</c:v>
                </c:pt>
                <c:pt idx="4068">
                  <c:v>46.17</c:v>
                </c:pt>
                <c:pt idx="4069">
                  <c:v>46.238</c:v>
                </c:pt>
                <c:pt idx="4070">
                  <c:v>46.307000000000002</c:v>
                </c:pt>
                <c:pt idx="4071">
                  <c:v>46.307000000000002</c:v>
                </c:pt>
                <c:pt idx="4072">
                  <c:v>45.966999999999999</c:v>
                </c:pt>
                <c:pt idx="4073">
                  <c:v>46.307000000000002</c:v>
                </c:pt>
                <c:pt idx="4074">
                  <c:v>46.034999999999997</c:v>
                </c:pt>
                <c:pt idx="4075">
                  <c:v>46.307000000000002</c:v>
                </c:pt>
                <c:pt idx="4076">
                  <c:v>46.375</c:v>
                </c:pt>
                <c:pt idx="4077">
                  <c:v>46.578000000000003</c:v>
                </c:pt>
                <c:pt idx="4078">
                  <c:v>46.375</c:v>
                </c:pt>
                <c:pt idx="4079">
                  <c:v>46.101999999999997</c:v>
                </c:pt>
                <c:pt idx="4080">
                  <c:v>46.238</c:v>
                </c:pt>
                <c:pt idx="4081">
                  <c:v>46.375</c:v>
                </c:pt>
                <c:pt idx="4082">
                  <c:v>46.307000000000002</c:v>
                </c:pt>
                <c:pt idx="4083">
                  <c:v>46.51</c:v>
                </c:pt>
                <c:pt idx="4084">
                  <c:v>46.238</c:v>
                </c:pt>
                <c:pt idx="4085">
                  <c:v>46.375</c:v>
                </c:pt>
                <c:pt idx="4086">
                  <c:v>46.307000000000002</c:v>
                </c:pt>
                <c:pt idx="4087">
                  <c:v>46.375</c:v>
                </c:pt>
                <c:pt idx="4088">
                  <c:v>46.17</c:v>
                </c:pt>
                <c:pt idx="4089">
                  <c:v>46.17</c:v>
                </c:pt>
                <c:pt idx="4090">
                  <c:v>46.238</c:v>
                </c:pt>
                <c:pt idx="4091">
                  <c:v>46.307000000000002</c:v>
                </c:pt>
                <c:pt idx="4092">
                  <c:v>45.966999999999999</c:v>
                </c:pt>
                <c:pt idx="4093">
                  <c:v>46.578000000000003</c:v>
                </c:pt>
                <c:pt idx="4094">
                  <c:v>46.307000000000002</c:v>
                </c:pt>
                <c:pt idx="4095">
                  <c:v>46.442</c:v>
                </c:pt>
                <c:pt idx="4096">
                  <c:v>46.578000000000003</c:v>
                </c:pt>
                <c:pt idx="4097">
                  <c:v>46.307000000000002</c:v>
                </c:pt>
                <c:pt idx="4098">
                  <c:v>45.966999999999999</c:v>
                </c:pt>
                <c:pt idx="4099">
                  <c:v>46.375</c:v>
                </c:pt>
                <c:pt idx="4100">
                  <c:v>46.17</c:v>
                </c:pt>
                <c:pt idx="4101">
                  <c:v>46.307000000000002</c:v>
                </c:pt>
                <c:pt idx="4102">
                  <c:v>46.442</c:v>
                </c:pt>
                <c:pt idx="4103">
                  <c:v>46.51</c:v>
                </c:pt>
                <c:pt idx="4104">
                  <c:v>46.307000000000002</c:v>
                </c:pt>
                <c:pt idx="4105">
                  <c:v>46.238</c:v>
                </c:pt>
                <c:pt idx="4106">
                  <c:v>45.966999999999999</c:v>
                </c:pt>
                <c:pt idx="4107">
                  <c:v>46.238</c:v>
                </c:pt>
                <c:pt idx="4108">
                  <c:v>46.034999999999997</c:v>
                </c:pt>
                <c:pt idx="4109">
                  <c:v>46.307000000000002</c:v>
                </c:pt>
                <c:pt idx="4110">
                  <c:v>46.034999999999997</c:v>
                </c:pt>
                <c:pt idx="4111">
                  <c:v>46.307000000000002</c:v>
                </c:pt>
                <c:pt idx="4112">
                  <c:v>46.17</c:v>
                </c:pt>
                <c:pt idx="4113">
                  <c:v>46.17</c:v>
                </c:pt>
                <c:pt idx="4114">
                  <c:v>46.375</c:v>
                </c:pt>
                <c:pt idx="4115">
                  <c:v>46.646999999999998</c:v>
                </c:pt>
                <c:pt idx="4116">
                  <c:v>46.101999999999997</c:v>
                </c:pt>
                <c:pt idx="4117">
                  <c:v>46.238</c:v>
                </c:pt>
                <c:pt idx="4118">
                  <c:v>46.238</c:v>
                </c:pt>
                <c:pt idx="4119">
                  <c:v>46.578000000000003</c:v>
                </c:pt>
                <c:pt idx="4120">
                  <c:v>46.51</c:v>
                </c:pt>
                <c:pt idx="4121">
                  <c:v>46.307000000000002</c:v>
                </c:pt>
                <c:pt idx="4122">
                  <c:v>46.17</c:v>
                </c:pt>
                <c:pt idx="4123">
                  <c:v>46.442</c:v>
                </c:pt>
                <c:pt idx="4124">
                  <c:v>46.375</c:v>
                </c:pt>
                <c:pt idx="4125">
                  <c:v>46.307000000000002</c:v>
                </c:pt>
                <c:pt idx="4126">
                  <c:v>46.17</c:v>
                </c:pt>
                <c:pt idx="4127">
                  <c:v>46.51</c:v>
                </c:pt>
                <c:pt idx="4128">
                  <c:v>46.101999999999997</c:v>
                </c:pt>
                <c:pt idx="4129">
                  <c:v>46.646999999999998</c:v>
                </c:pt>
                <c:pt idx="4130">
                  <c:v>46.238</c:v>
                </c:pt>
                <c:pt idx="4131">
                  <c:v>46.101999999999997</c:v>
                </c:pt>
                <c:pt idx="4132">
                  <c:v>46.034999999999997</c:v>
                </c:pt>
                <c:pt idx="4133">
                  <c:v>46.442</c:v>
                </c:pt>
                <c:pt idx="4134">
                  <c:v>46.375</c:v>
                </c:pt>
                <c:pt idx="4135">
                  <c:v>46.238</c:v>
                </c:pt>
                <c:pt idx="4136">
                  <c:v>46.578000000000003</c:v>
                </c:pt>
                <c:pt idx="4137">
                  <c:v>46.375</c:v>
                </c:pt>
                <c:pt idx="4138">
                  <c:v>46.238</c:v>
                </c:pt>
                <c:pt idx="4139">
                  <c:v>46.781999999999996</c:v>
                </c:pt>
                <c:pt idx="4140">
                  <c:v>46.307000000000002</c:v>
                </c:pt>
                <c:pt idx="4141">
                  <c:v>46.238</c:v>
                </c:pt>
                <c:pt idx="4142">
                  <c:v>46.578000000000003</c:v>
                </c:pt>
                <c:pt idx="4143">
                  <c:v>46.442</c:v>
                </c:pt>
                <c:pt idx="4144">
                  <c:v>46.375</c:v>
                </c:pt>
                <c:pt idx="4145">
                  <c:v>46.578000000000003</c:v>
                </c:pt>
                <c:pt idx="4146">
                  <c:v>46.375</c:v>
                </c:pt>
                <c:pt idx="4147">
                  <c:v>46.375</c:v>
                </c:pt>
                <c:pt idx="4148">
                  <c:v>46.51</c:v>
                </c:pt>
                <c:pt idx="4149">
                  <c:v>46.101999999999997</c:v>
                </c:pt>
                <c:pt idx="4150">
                  <c:v>46.307000000000002</c:v>
                </c:pt>
                <c:pt idx="4151">
                  <c:v>46.442</c:v>
                </c:pt>
                <c:pt idx="4152">
                  <c:v>46.17</c:v>
                </c:pt>
                <c:pt idx="4153">
                  <c:v>46.17</c:v>
                </c:pt>
                <c:pt idx="4154">
                  <c:v>46.442</c:v>
                </c:pt>
                <c:pt idx="4155">
                  <c:v>46.51</c:v>
                </c:pt>
                <c:pt idx="4156">
                  <c:v>46.646999999999998</c:v>
                </c:pt>
                <c:pt idx="4157">
                  <c:v>46.442</c:v>
                </c:pt>
                <c:pt idx="4158">
                  <c:v>46.034999999999997</c:v>
                </c:pt>
                <c:pt idx="4159">
                  <c:v>46.375</c:v>
                </c:pt>
                <c:pt idx="4160">
                  <c:v>46.715000000000003</c:v>
                </c:pt>
                <c:pt idx="4161">
                  <c:v>46.238</c:v>
                </c:pt>
                <c:pt idx="4162">
                  <c:v>46.307000000000002</c:v>
                </c:pt>
                <c:pt idx="4163">
                  <c:v>46.51</c:v>
                </c:pt>
                <c:pt idx="4164">
                  <c:v>46.715000000000003</c:v>
                </c:pt>
                <c:pt idx="4165">
                  <c:v>46.375</c:v>
                </c:pt>
                <c:pt idx="4166">
                  <c:v>46.238</c:v>
                </c:pt>
                <c:pt idx="4167">
                  <c:v>46.51</c:v>
                </c:pt>
                <c:pt idx="4168">
                  <c:v>46.17</c:v>
                </c:pt>
                <c:pt idx="4169">
                  <c:v>46.646999999999998</c:v>
                </c:pt>
                <c:pt idx="4170">
                  <c:v>46.781999999999996</c:v>
                </c:pt>
                <c:pt idx="4171">
                  <c:v>46.307000000000002</c:v>
                </c:pt>
                <c:pt idx="4172">
                  <c:v>46.646999999999998</c:v>
                </c:pt>
                <c:pt idx="4173">
                  <c:v>46.646999999999998</c:v>
                </c:pt>
                <c:pt idx="4174">
                  <c:v>46.375</c:v>
                </c:pt>
                <c:pt idx="4175">
                  <c:v>46.578000000000003</c:v>
                </c:pt>
                <c:pt idx="4176">
                  <c:v>46.307000000000002</c:v>
                </c:pt>
                <c:pt idx="4177">
                  <c:v>46.17</c:v>
                </c:pt>
                <c:pt idx="4178">
                  <c:v>46.646999999999998</c:v>
                </c:pt>
                <c:pt idx="4179">
                  <c:v>46.442</c:v>
                </c:pt>
                <c:pt idx="4180">
                  <c:v>46.307000000000002</c:v>
                </c:pt>
                <c:pt idx="4181">
                  <c:v>46.442</c:v>
                </c:pt>
                <c:pt idx="4182">
                  <c:v>46.442</c:v>
                </c:pt>
                <c:pt idx="4183">
                  <c:v>46.51</c:v>
                </c:pt>
                <c:pt idx="4184">
                  <c:v>46.442</c:v>
                </c:pt>
                <c:pt idx="4185">
                  <c:v>46.307000000000002</c:v>
                </c:pt>
                <c:pt idx="4186">
                  <c:v>46.646999999999998</c:v>
                </c:pt>
                <c:pt idx="4187">
                  <c:v>46.51</c:v>
                </c:pt>
                <c:pt idx="4188">
                  <c:v>46.646999999999998</c:v>
                </c:pt>
                <c:pt idx="4189">
                  <c:v>46.578000000000003</c:v>
                </c:pt>
                <c:pt idx="4190">
                  <c:v>46.51</c:v>
                </c:pt>
                <c:pt idx="4191">
                  <c:v>46.375</c:v>
                </c:pt>
                <c:pt idx="4192">
                  <c:v>46.646999999999998</c:v>
                </c:pt>
                <c:pt idx="4193">
                  <c:v>46.442</c:v>
                </c:pt>
                <c:pt idx="4194">
                  <c:v>46.715000000000003</c:v>
                </c:pt>
                <c:pt idx="4195">
                  <c:v>46.375</c:v>
                </c:pt>
                <c:pt idx="4196">
                  <c:v>46.578000000000003</c:v>
                </c:pt>
                <c:pt idx="4197">
                  <c:v>46.375</c:v>
                </c:pt>
                <c:pt idx="4198">
                  <c:v>46.578000000000003</c:v>
                </c:pt>
                <c:pt idx="4199">
                  <c:v>46.307000000000002</c:v>
                </c:pt>
                <c:pt idx="4200">
                  <c:v>46.51</c:v>
                </c:pt>
                <c:pt idx="4201">
                  <c:v>46.442</c:v>
                </c:pt>
                <c:pt idx="4202">
                  <c:v>46.17</c:v>
                </c:pt>
                <c:pt idx="4203">
                  <c:v>46.51</c:v>
                </c:pt>
                <c:pt idx="4204">
                  <c:v>46.646999999999998</c:v>
                </c:pt>
                <c:pt idx="4205">
                  <c:v>46.442</c:v>
                </c:pt>
                <c:pt idx="4206">
                  <c:v>46.578000000000003</c:v>
                </c:pt>
                <c:pt idx="4207">
                  <c:v>46.442</c:v>
                </c:pt>
                <c:pt idx="4208">
                  <c:v>46.781999999999996</c:v>
                </c:pt>
                <c:pt idx="4209">
                  <c:v>46.578000000000003</c:v>
                </c:pt>
                <c:pt idx="4210">
                  <c:v>46.442</c:v>
                </c:pt>
                <c:pt idx="4211">
                  <c:v>46.101999999999997</c:v>
                </c:pt>
                <c:pt idx="4212">
                  <c:v>46.51</c:v>
                </c:pt>
                <c:pt idx="4213">
                  <c:v>46.51</c:v>
                </c:pt>
                <c:pt idx="4214">
                  <c:v>46.781999999999996</c:v>
                </c:pt>
                <c:pt idx="4215">
                  <c:v>46.375</c:v>
                </c:pt>
                <c:pt idx="4216">
                  <c:v>46.781999999999996</c:v>
                </c:pt>
                <c:pt idx="4217">
                  <c:v>46.51</c:v>
                </c:pt>
                <c:pt idx="4218">
                  <c:v>46.646999999999998</c:v>
                </c:pt>
                <c:pt idx="4219">
                  <c:v>46.238</c:v>
                </c:pt>
                <c:pt idx="4220">
                  <c:v>46.375</c:v>
                </c:pt>
                <c:pt idx="4221">
                  <c:v>46.578000000000003</c:v>
                </c:pt>
                <c:pt idx="4222">
                  <c:v>46.646999999999998</c:v>
                </c:pt>
                <c:pt idx="4223">
                  <c:v>46.442</c:v>
                </c:pt>
                <c:pt idx="4224">
                  <c:v>46.238</c:v>
                </c:pt>
                <c:pt idx="4225">
                  <c:v>46.781999999999996</c:v>
                </c:pt>
                <c:pt idx="4226">
                  <c:v>46.85</c:v>
                </c:pt>
                <c:pt idx="4227">
                  <c:v>46.715000000000003</c:v>
                </c:pt>
                <c:pt idx="4228">
                  <c:v>46.578000000000003</c:v>
                </c:pt>
                <c:pt idx="4229">
                  <c:v>47.19</c:v>
                </c:pt>
                <c:pt idx="4230">
                  <c:v>46.646999999999998</c:v>
                </c:pt>
                <c:pt idx="4231">
                  <c:v>46.442</c:v>
                </c:pt>
                <c:pt idx="4232">
                  <c:v>46.715000000000003</c:v>
                </c:pt>
                <c:pt idx="4233">
                  <c:v>46.375</c:v>
                </c:pt>
                <c:pt idx="4234">
                  <c:v>46.578000000000003</c:v>
                </c:pt>
                <c:pt idx="4235">
                  <c:v>46.51</c:v>
                </c:pt>
                <c:pt idx="4236">
                  <c:v>46.578000000000003</c:v>
                </c:pt>
                <c:pt idx="4237">
                  <c:v>46.646999999999998</c:v>
                </c:pt>
                <c:pt idx="4238">
                  <c:v>46.442</c:v>
                </c:pt>
                <c:pt idx="4239">
                  <c:v>46.85</c:v>
                </c:pt>
                <c:pt idx="4240">
                  <c:v>46.646999999999998</c:v>
                </c:pt>
                <c:pt idx="4241">
                  <c:v>46.442</c:v>
                </c:pt>
                <c:pt idx="4242">
                  <c:v>46.375</c:v>
                </c:pt>
                <c:pt idx="4243">
                  <c:v>46.442</c:v>
                </c:pt>
                <c:pt idx="4244">
                  <c:v>46.646999999999998</c:v>
                </c:pt>
                <c:pt idx="4245">
                  <c:v>46.375</c:v>
                </c:pt>
                <c:pt idx="4246">
                  <c:v>46.715000000000003</c:v>
                </c:pt>
                <c:pt idx="4247">
                  <c:v>46.578000000000003</c:v>
                </c:pt>
                <c:pt idx="4248">
                  <c:v>46.375</c:v>
                </c:pt>
                <c:pt idx="4249">
                  <c:v>46.987000000000002</c:v>
                </c:pt>
                <c:pt idx="4250">
                  <c:v>46.917999999999999</c:v>
                </c:pt>
                <c:pt idx="4251">
                  <c:v>46.781999999999996</c:v>
                </c:pt>
                <c:pt idx="4252">
                  <c:v>46.781999999999996</c:v>
                </c:pt>
                <c:pt idx="4253">
                  <c:v>46.578000000000003</c:v>
                </c:pt>
                <c:pt idx="4254">
                  <c:v>46.307000000000002</c:v>
                </c:pt>
                <c:pt idx="4255">
                  <c:v>46.646999999999998</c:v>
                </c:pt>
                <c:pt idx="4256">
                  <c:v>46.917999999999999</c:v>
                </c:pt>
                <c:pt idx="4257">
                  <c:v>46.715000000000003</c:v>
                </c:pt>
                <c:pt idx="4258">
                  <c:v>46.85</c:v>
                </c:pt>
                <c:pt idx="4259">
                  <c:v>46.307000000000002</c:v>
                </c:pt>
                <c:pt idx="4260">
                  <c:v>46.781999999999996</c:v>
                </c:pt>
                <c:pt idx="4261">
                  <c:v>46.987000000000002</c:v>
                </c:pt>
                <c:pt idx="4262">
                  <c:v>46.238</c:v>
                </c:pt>
                <c:pt idx="4263">
                  <c:v>46.442</c:v>
                </c:pt>
                <c:pt idx="4264">
                  <c:v>46.85</c:v>
                </c:pt>
                <c:pt idx="4265">
                  <c:v>46.85</c:v>
                </c:pt>
                <c:pt idx="4266">
                  <c:v>46.715000000000003</c:v>
                </c:pt>
                <c:pt idx="4267">
                  <c:v>46.85</c:v>
                </c:pt>
                <c:pt idx="4268">
                  <c:v>46.715000000000003</c:v>
                </c:pt>
                <c:pt idx="4269">
                  <c:v>46.51</c:v>
                </c:pt>
                <c:pt idx="4270">
                  <c:v>46.987000000000002</c:v>
                </c:pt>
                <c:pt idx="4271">
                  <c:v>46.646999999999998</c:v>
                </c:pt>
                <c:pt idx="4272">
                  <c:v>46.917999999999999</c:v>
                </c:pt>
                <c:pt idx="4273">
                  <c:v>46.85</c:v>
                </c:pt>
                <c:pt idx="4274">
                  <c:v>46.578000000000003</c:v>
                </c:pt>
                <c:pt idx="4275">
                  <c:v>46.646999999999998</c:v>
                </c:pt>
                <c:pt idx="4276">
                  <c:v>46.442</c:v>
                </c:pt>
                <c:pt idx="4277">
                  <c:v>46.307000000000002</c:v>
                </c:pt>
                <c:pt idx="4278">
                  <c:v>46.51</c:v>
                </c:pt>
                <c:pt idx="4279">
                  <c:v>46.51</c:v>
                </c:pt>
                <c:pt idx="4280">
                  <c:v>46.987000000000002</c:v>
                </c:pt>
                <c:pt idx="4281">
                  <c:v>46.781999999999996</c:v>
                </c:pt>
                <c:pt idx="4282">
                  <c:v>46.646999999999998</c:v>
                </c:pt>
                <c:pt idx="4283">
                  <c:v>46.781999999999996</c:v>
                </c:pt>
                <c:pt idx="4284">
                  <c:v>46.781999999999996</c:v>
                </c:pt>
                <c:pt idx="4285">
                  <c:v>46.781999999999996</c:v>
                </c:pt>
                <c:pt idx="4286">
                  <c:v>46.85</c:v>
                </c:pt>
                <c:pt idx="4287">
                  <c:v>46.646999999999998</c:v>
                </c:pt>
                <c:pt idx="4288">
                  <c:v>46.715000000000003</c:v>
                </c:pt>
                <c:pt idx="4289">
                  <c:v>46.781999999999996</c:v>
                </c:pt>
                <c:pt idx="4290">
                  <c:v>46.715000000000003</c:v>
                </c:pt>
                <c:pt idx="4291">
                  <c:v>46.578000000000003</c:v>
                </c:pt>
                <c:pt idx="4292">
                  <c:v>46.987000000000002</c:v>
                </c:pt>
                <c:pt idx="4293">
                  <c:v>46.781999999999996</c:v>
                </c:pt>
                <c:pt idx="4294">
                  <c:v>46.578000000000003</c:v>
                </c:pt>
                <c:pt idx="4295">
                  <c:v>46.715000000000003</c:v>
                </c:pt>
                <c:pt idx="4296">
                  <c:v>46.442</c:v>
                </c:pt>
                <c:pt idx="4297">
                  <c:v>46.715000000000003</c:v>
                </c:pt>
                <c:pt idx="4298">
                  <c:v>46.646999999999998</c:v>
                </c:pt>
                <c:pt idx="4299">
                  <c:v>46.917999999999999</c:v>
                </c:pt>
                <c:pt idx="4300">
                  <c:v>46.781999999999996</c:v>
                </c:pt>
                <c:pt idx="4301">
                  <c:v>46.646999999999998</c:v>
                </c:pt>
                <c:pt idx="4302">
                  <c:v>46.578000000000003</c:v>
                </c:pt>
                <c:pt idx="4303">
                  <c:v>46.781999999999996</c:v>
                </c:pt>
                <c:pt idx="4304">
                  <c:v>46.578000000000003</c:v>
                </c:pt>
                <c:pt idx="4305">
                  <c:v>46.85</c:v>
                </c:pt>
                <c:pt idx="4306">
                  <c:v>46.987000000000002</c:v>
                </c:pt>
                <c:pt idx="4307">
                  <c:v>46.781999999999996</c:v>
                </c:pt>
                <c:pt idx="4308">
                  <c:v>46.781999999999996</c:v>
                </c:pt>
                <c:pt idx="4309">
                  <c:v>46.85</c:v>
                </c:pt>
                <c:pt idx="4310">
                  <c:v>46.442</c:v>
                </c:pt>
                <c:pt idx="4311">
                  <c:v>46.85</c:v>
                </c:pt>
                <c:pt idx="4312">
                  <c:v>46.781999999999996</c:v>
                </c:pt>
                <c:pt idx="4313">
                  <c:v>46.442</c:v>
                </c:pt>
                <c:pt idx="4314">
                  <c:v>46.781999999999996</c:v>
                </c:pt>
                <c:pt idx="4315">
                  <c:v>47.055</c:v>
                </c:pt>
                <c:pt idx="4316">
                  <c:v>46.781999999999996</c:v>
                </c:pt>
                <c:pt idx="4317">
                  <c:v>46.307000000000002</c:v>
                </c:pt>
                <c:pt idx="4318">
                  <c:v>46.646999999999998</c:v>
                </c:pt>
                <c:pt idx="4319">
                  <c:v>46.781999999999996</c:v>
                </c:pt>
                <c:pt idx="4320">
                  <c:v>46.646999999999998</c:v>
                </c:pt>
                <c:pt idx="4321">
                  <c:v>46.715000000000003</c:v>
                </c:pt>
                <c:pt idx="4322">
                  <c:v>46.578000000000003</c:v>
                </c:pt>
                <c:pt idx="4323">
                  <c:v>46.578000000000003</c:v>
                </c:pt>
                <c:pt idx="4324">
                  <c:v>46.781999999999996</c:v>
                </c:pt>
                <c:pt idx="4325">
                  <c:v>46.781999999999996</c:v>
                </c:pt>
                <c:pt idx="4326">
                  <c:v>46.987000000000002</c:v>
                </c:pt>
                <c:pt idx="4327">
                  <c:v>46.781999999999996</c:v>
                </c:pt>
                <c:pt idx="4328">
                  <c:v>46.51</c:v>
                </c:pt>
                <c:pt idx="4329">
                  <c:v>47.122</c:v>
                </c:pt>
                <c:pt idx="4330">
                  <c:v>46.85</c:v>
                </c:pt>
                <c:pt idx="4331">
                  <c:v>46.987000000000002</c:v>
                </c:pt>
                <c:pt idx="4332">
                  <c:v>46.442</c:v>
                </c:pt>
                <c:pt idx="4333">
                  <c:v>46.715000000000003</c:v>
                </c:pt>
                <c:pt idx="4334">
                  <c:v>46.987000000000002</c:v>
                </c:pt>
                <c:pt idx="4335">
                  <c:v>47.122</c:v>
                </c:pt>
                <c:pt idx="4336">
                  <c:v>47.055</c:v>
                </c:pt>
                <c:pt idx="4337">
                  <c:v>46.51</c:v>
                </c:pt>
                <c:pt idx="4338">
                  <c:v>46.987000000000002</c:v>
                </c:pt>
                <c:pt idx="4339">
                  <c:v>46.715000000000003</c:v>
                </c:pt>
                <c:pt idx="4340">
                  <c:v>46.85</c:v>
                </c:pt>
                <c:pt idx="4341">
                  <c:v>46.646999999999998</c:v>
                </c:pt>
                <c:pt idx="4342">
                  <c:v>46.781999999999996</c:v>
                </c:pt>
                <c:pt idx="4343">
                  <c:v>46.85</c:v>
                </c:pt>
                <c:pt idx="4344">
                  <c:v>46.781999999999996</c:v>
                </c:pt>
                <c:pt idx="4345">
                  <c:v>47.122</c:v>
                </c:pt>
                <c:pt idx="4346">
                  <c:v>46.646999999999998</c:v>
                </c:pt>
                <c:pt idx="4347">
                  <c:v>46.987000000000002</c:v>
                </c:pt>
                <c:pt idx="4348">
                  <c:v>46.85</c:v>
                </c:pt>
                <c:pt idx="4349">
                  <c:v>46.85</c:v>
                </c:pt>
                <c:pt idx="4350">
                  <c:v>46.715000000000003</c:v>
                </c:pt>
                <c:pt idx="4351">
                  <c:v>46.987000000000002</c:v>
                </c:pt>
                <c:pt idx="4352">
                  <c:v>46.917999999999999</c:v>
                </c:pt>
                <c:pt idx="4353">
                  <c:v>46.987000000000002</c:v>
                </c:pt>
                <c:pt idx="4354">
                  <c:v>46.781999999999996</c:v>
                </c:pt>
                <c:pt idx="4355">
                  <c:v>46.646999999999998</c:v>
                </c:pt>
                <c:pt idx="4356">
                  <c:v>47.055</c:v>
                </c:pt>
                <c:pt idx="4357">
                  <c:v>46.987000000000002</c:v>
                </c:pt>
                <c:pt idx="4358">
                  <c:v>47.055</c:v>
                </c:pt>
                <c:pt idx="4359">
                  <c:v>46.646999999999998</c:v>
                </c:pt>
                <c:pt idx="4360">
                  <c:v>46.715000000000003</c:v>
                </c:pt>
                <c:pt idx="4361">
                  <c:v>46.917999999999999</c:v>
                </c:pt>
                <c:pt idx="4362">
                  <c:v>46.917999999999999</c:v>
                </c:pt>
                <c:pt idx="4363">
                  <c:v>46.85</c:v>
                </c:pt>
                <c:pt idx="4364">
                  <c:v>46.85</c:v>
                </c:pt>
                <c:pt idx="4365">
                  <c:v>46.715000000000003</c:v>
                </c:pt>
                <c:pt idx="4366">
                  <c:v>46.917999999999999</c:v>
                </c:pt>
                <c:pt idx="4367">
                  <c:v>46.578000000000003</c:v>
                </c:pt>
                <c:pt idx="4368">
                  <c:v>46.646999999999998</c:v>
                </c:pt>
                <c:pt idx="4369">
                  <c:v>46.987000000000002</c:v>
                </c:pt>
                <c:pt idx="4370">
                  <c:v>47.055</c:v>
                </c:pt>
                <c:pt idx="4371">
                  <c:v>46.715000000000003</c:v>
                </c:pt>
                <c:pt idx="4372">
                  <c:v>46.987000000000002</c:v>
                </c:pt>
                <c:pt idx="4373">
                  <c:v>46.85</c:v>
                </c:pt>
                <c:pt idx="4374">
                  <c:v>46.646999999999998</c:v>
                </c:pt>
                <c:pt idx="4375">
                  <c:v>46.781999999999996</c:v>
                </c:pt>
                <c:pt idx="4376">
                  <c:v>46.85</c:v>
                </c:pt>
                <c:pt idx="4377">
                  <c:v>46.781999999999996</c:v>
                </c:pt>
                <c:pt idx="4378">
                  <c:v>46.917999999999999</c:v>
                </c:pt>
                <c:pt idx="4379">
                  <c:v>46.85</c:v>
                </c:pt>
                <c:pt idx="4380">
                  <c:v>47.122</c:v>
                </c:pt>
                <c:pt idx="4381">
                  <c:v>47.19</c:v>
                </c:pt>
                <c:pt idx="4382">
                  <c:v>46.917999999999999</c:v>
                </c:pt>
                <c:pt idx="4383">
                  <c:v>46.987000000000002</c:v>
                </c:pt>
                <c:pt idx="4384">
                  <c:v>46.781999999999996</c:v>
                </c:pt>
                <c:pt idx="4385">
                  <c:v>46.85</c:v>
                </c:pt>
                <c:pt idx="4386">
                  <c:v>47.19</c:v>
                </c:pt>
                <c:pt idx="4387">
                  <c:v>46.85</c:v>
                </c:pt>
                <c:pt idx="4388">
                  <c:v>46.987000000000002</c:v>
                </c:pt>
                <c:pt idx="4389">
                  <c:v>47.258000000000003</c:v>
                </c:pt>
                <c:pt idx="4390">
                  <c:v>47.055</c:v>
                </c:pt>
                <c:pt idx="4391">
                  <c:v>47.122</c:v>
                </c:pt>
                <c:pt idx="4392">
                  <c:v>46.85</c:v>
                </c:pt>
                <c:pt idx="4393">
                  <c:v>46.781999999999996</c:v>
                </c:pt>
                <c:pt idx="4394">
                  <c:v>46.987000000000002</c:v>
                </c:pt>
                <c:pt idx="4395">
                  <c:v>46.578000000000003</c:v>
                </c:pt>
                <c:pt idx="4396">
                  <c:v>46.85</c:v>
                </c:pt>
                <c:pt idx="4397">
                  <c:v>46.85</c:v>
                </c:pt>
                <c:pt idx="4398">
                  <c:v>47.055</c:v>
                </c:pt>
                <c:pt idx="4399">
                  <c:v>47.326999999999998</c:v>
                </c:pt>
                <c:pt idx="4400">
                  <c:v>47.055</c:v>
                </c:pt>
                <c:pt idx="4401">
                  <c:v>46.715000000000003</c:v>
                </c:pt>
                <c:pt idx="4402">
                  <c:v>46.917999999999999</c:v>
                </c:pt>
                <c:pt idx="4403">
                  <c:v>46.987000000000002</c:v>
                </c:pt>
                <c:pt idx="4404">
                  <c:v>46.781999999999996</c:v>
                </c:pt>
                <c:pt idx="4405">
                  <c:v>46.85</c:v>
                </c:pt>
                <c:pt idx="4406">
                  <c:v>46.917999999999999</c:v>
                </c:pt>
                <c:pt idx="4407">
                  <c:v>46.917999999999999</c:v>
                </c:pt>
                <c:pt idx="4408">
                  <c:v>46.781999999999996</c:v>
                </c:pt>
                <c:pt idx="4409">
                  <c:v>47.395000000000003</c:v>
                </c:pt>
                <c:pt idx="4410">
                  <c:v>47.122</c:v>
                </c:pt>
                <c:pt idx="4411">
                  <c:v>46.917999999999999</c:v>
                </c:pt>
                <c:pt idx="4412">
                  <c:v>46.781999999999996</c:v>
                </c:pt>
                <c:pt idx="4413">
                  <c:v>47.122</c:v>
                </c:pt>
                <c:pt idx="4414">
                  <c:v>47.122</c:v>
                </c:pt>
                <c:pt idx="4415">
                  <c:v>47.055</c:v>
                </c:pt>
                <c:pt idx="4416">
                  <c:v>47.055</c:v>
                </c:pt>
                <c:pt idx="4417">
                  <c:v>46.987000000000002</c:v>
                </c:pt>
                <c:pt idx="4418">
                  <c:v>46.987000000000002</c:v>
                </c:pt>
                <c:pt idx="4419">
                  <c:v>46.987000000000002</c:v>
                </c:pt>
                <c:pt idx="4420">
                  <c:v>46.715000000000003</c:v>
                </c:pt>
                <c:pt idx="4421">
                  <c:v>46.781999999999996</c:v>
                </c:pt>
                <c:pt idx="4422">
                  <c:v>47.122</c:v>
                </c:pt>
                <c:pt idx="4423">
                  <c:v>46.987000000000002</c:v>
                </c:pt>
                <c:pt idx="4424">
                  <c:v>46.917999999999999</c:v>
                </c:pt>
                <c:pt idx="4425">
                  <c:v>47.326999999999998</c:v>
                </c:pt>
                <c:pt idx="4426">
                  <c:v>47.19</c:v>
                </c:pt>
                <c:pt idx="4427">
                  <c:v>47.122</c:v>
                </c:pt>
                <c:pt idx="4428">
                  <c:v>47.055</c:v>
                </c:pt>
                <c:pt idx="4429">
                  <c:v>47.258000000000003</c:v>
                </c:pt>
                <c:pt idx="4430">
                  <c:v>47.122</c:v>
                </c:pt>
                <c:pt idx="4431">
                  <c:v>47.122</c:v>
                </c:pt>
                <c:pt idx="4432">
                  <c:v>47.19</c:v>
                </c:pt>
                <c:pt idx="4433">
                  <c:v>47.258000000000003</c:v>
                </c:pt>
                <c:pt idx="4434">
                  <c:v>46.987000000000002</c:v>
                </c:pt>
                <c:pt idx="4435">
                  <c:v>47.122</c:v>
                </c:pt>
                <c:pt idx="4436">
                  <c:v>47.19</c:v>
                </c:pt>
                <c:pt idx="4437">
                  <c:v>47.19</c:v>
                </c:pt>
                <c:pt idx="4438">
                  <c:v>47.462000000000003</c:v>
                </c:pt>
                <c:pt idx="4439">
                  <c:v>46.578000000000003</c:v>
                </c:pt>
                <c:pt idx="4440">
                  <c:v>47.122</c:v>
                </c:pt>
                <c:pt idx="4441">
                  <c:v>46.987000000000002</c:v>
                </c:pt>
                <c:pt idx="4442">
                  <c:v>47.122</c:v>
                </c:pt>
                <c:pt idx="4443">
                  <c:v>47.122</c:v>
                </c:pt>
                <c:pt idx="4444">
                  <c:v>46.917999999999999</c:v>
                </c:pt>
                <c:pt idx="4445">
                  <c:v>47.19</c:v>
                </c:pt>
                <c:pt idx="4446">
                  <c:v>47.258000000000003</c:v>
                </c:pt>
                <c:pt idx="4447">
                  <c:v>46.987000000000002</c:v>
                </c:pt>
                <c:pt idx="4448">
                  <c:v>46.646999999999998</c:v>
                </c:pt>
                <c:pt idx="4449">
                  <c:v>47.122</c:v>
                </c:pt>
                <c:pt idx="4450">
                  <c:v>46.987000000000002</c:v>
                </c:pt>
                <c:pt idx="4451">
                  <c:v>47.258000000000003</c:v>
                </c:pt>
                <c:pt idx="4452">
                  <c:v>47.326999999999998</c:v>
                </c:pt>
                <c:pt idx="4453">
                  <c:v>47.326999999999998</c:v>
                </c:pt>
                <c:pt idx="4454">
                  <c:v>47.055</c:v>
                </c:pt>
                <c:pt idx="4455">
                  <c:v>47.122</c:v>
                </c:pt>
                <c:pt idx="4456">
                  <c:v>46.578000000000003</c:v>
                </c:pt>
                <c:pt idx="4457">
                  <c:v>46.85</c:v>
                </c:pt>
                <c:pt idx="4458">
                  <c:v>47.395000000000003</c:v>
                </c:pt>
                <c:pt idx="4459">
                  <c:v>47.055</c:v>
                </c:pt>
                <c:pt idx="4460">
                  <c:v>47.055</c:v>
                </c:pt>
                <c:pt idx="4461">
                  <c:v>47.055</c:v>
                </c:pt>
                <c:pt idx="4462">
                  <c:v>47.258000000000003</c:v>
                </c:pt>
                <c:pt idx="4463">
                  <c:v>46.578000000000003</c:v>
                </c:pt>
                <c:pt idx="4464">
                  <c:v>47.258000000000003</c:v>
                </c:pt>
                <c:pt idx="4465">
                  <c:v>47.19</c:v>
                </c:pt>
                <c:pt idx="4466">
                  <c:v>46.987000000000002</c:v>
                </c:pt>
                <c:pt idx="4467">
                  <c:v>47.258000000000003</c:v>
                </c:pt>
                <c:pt idx="4468">
                  <c:v>46.987000000000002</c:v>
                </c:pt>
                <c:pt idx="4469">
                  <c:v>47.258000000000003</c:v>
                </c:pt>
                <c:pt idx="4470">
                  <c:v>47.258000000000003</c:v>
                </c:pt>
                <c:pt idx="4471">
                  <c:v>47.055</c:v>
                </c:pt>
                <c:pt idx="4472">
                  <c:v>46.917999999999999</c:v>
                </c:pt>
                <c:pt idx="4473">
                  <c:v>47.122</c:v>
                </c:pt>
                <c:pt idx="4474">
                  <c:v>47.258000000000003</c:v>
                </c:pt>
                <c:pt idx="4475">
                  <c:v>47.326999999999998</c:v>
                </c:pt>
                <c:pt idx="4476">
                  <c:v>47.19</c:v>
                </c:pt>
                <c:pt idx="4477">
                  <c:v>47.395000000000003</c:v>
                </c:pt>
                <c:pt idx="4478">
                  <c:v>47.395000000000003</c:v>
                </c:pt>
                <c:pt idx="4479">
                  <c:v>47.055</c:v>
                </c:pt>
                <c:pt idx="4480">
                  <c:v>46.781999999999996</c:v>
                </c:pt>
                <c:pt idx="4481">
                  <c:v>46.781999999999996</c:v>
                </c:pt>
                <c:pt idx="4482">
                  <c:v>47.055</c:v>
                </c:pt>
                <c:pt idx="4483">
                  <c:v>47.122</c:v>
                </c:pt>
                <c:pt idx="4484">
                  <c:v>46.987000000000002</c:v>
                </c:pt>
                <c:pt idx="4485">
                  <c:v>47.19</c:v>
                </c:pt>
                <c:pt idx="4486">
                  <c:v>46.85</c:v>
                </c:pt>
                <c:pt idx="4487">
                  <c:v>46.781999999999996</c:v>
                </c:pt>
                <c:pt idx="4488">
                  <c:v>47.055</c:v>
                </c:pt>
                <c:pt idx="4489">
                  <c:v>47.258000000000003</c:v>
                </c:pt>
                <c:pt idx="4490">
                  <c:v>47.326999999999998</c:v>
                </c:pt>
                <c:pt idx="4491">
                  <c:v>47.258000000000003</c:v>
                </c:pt>
                <c:pt idx="4492">
                  <c:v>47.462000000000003</c:v>
                </c:pt>
                <c:pt idx="4493">
                  <c:v>47.326999999999998</c:v>
                </c:pt>
                <c:pt idx="4494">
                  <c:v>46.917999999999999</c:v>
                </c:pt>
                <c:pt idx="4495">
                  <c:v>47.326999999999998</c:v>
                </c:pt>
                <c:pt idx="4496">
                  <c:v>47.055</c:v>
                </c:pt>
                <c:pt idx="4497">
                  <c:v>47.395000000000003</c:v>
                </c:pt>
                <c:pt idx="4498">
                  <c:v>47.19</c:v>
                </c:pt>
                <c:pt idx="4499">
                  <c:v>46.85</c:v>
                </c:pt>
                <c:pt idx="4500">
                  <c:v>47.326999999999998</c:v>
                </c:pt>
                <c:pt idx="4501">
                  <c:v>47.122</c:v>
                </c:pt>
                <c:pt idx="4502">
                  <c:v>46.85</c:v>
                </c:pt>
                <c:pt idx="4503">
                  <c:v>47.326999999999998</c:v>
                </c:pt>
                <c:pt idx="4504">
                  <c:v>46.917999999999999</c:v>
                </c:pt>
                <c:pt idx="4505">
                  <c:v>47.122</c:v>
                </c:pt>
                <c:pt idx="4506">
                  <c:v>47.326999999999998</c:v>
                </c:pt>
                <c:pt idx="4507">
                  <c:v>47.326999999999998</c:v>
                </c:pt>
                <c:pt idx="4508">
                  <c:v>47.122</c:v>
                </c:pt>
                <c:pt idx="4509">
                  <c:v>47.19</c:v>
                </c:pt>
                <c:pt idx="4510">
                  <c:v>47.122</c:v>
                </c:pt>
                <c:pt idx="4511">
                  <c:v>47.122</c:v>
                </c:pt>
                <c:pt idx="4512">
                  <c:v>47.258000000000003</c:v>
                </c:pt>
                <c:pt idx="4513">
                  <c:v>47.19</c:v>
                </c:pt>
                <c:pt idx="4514">
                  <c:v>47.258000000000003</c:v>
                </c:pt>
                <c:pt idx="4515">
                  <c:v>47.19</c:v>
                </c:pt>
                <c:pt idx="4516">
                  <c:v>47.258000000000003</c:v>
                </c:pt>
                <c:pt idx="4517">
                  <c:v>47.055</c:v>
                </c:pt>
                <c:pt idx="4518">
                  <c:v>47.258000000000003</c:v>
                </c:pt>
                <c:pt idx="4519">
                  <c:v>47.395000000000003</c:v>
                </c:pt>
                <c:pt idx="4520">
                  <c:v>46.917999999999999</c:v>
                </c:pt>
                <c:pt idx="4521">
                  <c:v>47.19</c:v>
                </c:pt>
                <c:pt idx="4522">
                  <c:v>47.597999999999999</c:v>
                </c:pt>
                <c:pt idx="4523">
                  <c:v>47.19</c:v>
                </c:pt>
                <c:pt idx="4524">
                  <c:v>47.19</c:v>
                </c:pt>
                <c:pt idx="4525">
                  <c:v>47.395000000000003</c:v>
                </c:pt>
                <c:pt idx="4526">
                  <c:v>47.19</c:v>
                </c:pt>
                <c:pt idx="4527">
                  <c:v>47.395000000000003</c:v>
                </c:pt>
                <c:pt idx="4528">
                  <c:v>47.055</c:v>
                </c:pt>
                <c:pt idx="4529">
                  <c:v>47.326999999999998</c:v>
                </c:pt>
                <c:pt idx="4530">
                  <c:v>47.055</c:v>
                </c:pt>
                <c:pt idx="4531">
                  <c:v>47.258000000000003</c:v>
                </c:pt>
                <c:pt idx="4532">
                  <c:v>47.122</c:v>
                </c:pt>
                <c:pt idx="4533">
                  <c:v>47.19</c:v>
                </c:pt>
                <c:pt idx="4534">
                  <c:v>47.19</c:v>
                </c:pt>
                <c:pt idx="4535">
                  <c:v>46.987000000000002</c:v>
                </c:pt>
                <c:pt idx="4536">
                  <c:v>47.122</c:v>
                </c:pt>
                <c:pt idx="4537">
                  <c:v>47.395000000000003</c:v>
                </c:pt>
                <c:pt idx="4538">
                  <c:v>47.258000000000003</c:v>
                </c:pt>
                <c:pt idx="4539">
                  <c:v>47.395000000000003</c:v>
                </c:pt>
                <c:pt idx="4540">
                  <c:v>47.122</c:v>
                </c:pt>
                <c:pt idx="4541">
                  <c:v>47.597999999999999</c:v>
                </c:pt>
                <c:pt idx="4542">
                  <c:v>47.258000000000003</c:v>
                </c:pt>
                <c:pt idx="4543">
                  <c:v>46.987000000000002</c:v>
                </c:pt>
                <c:pt idx="4544">
                  <c:v>47.326999999999998</c:v>
                </c:pt>
                <c:pt idx="4545">
                  <c:v>47.055</c:v>
                </c:pt>
                <c:pt idx="4546">
                  <c:v>47.055</c:v>
                </c:pt>
                <c:pt idx="4547">
                  <c:v>47.19</c:v>
                </c:pt>
                <c:pt idx="4548">
                  <c:v>47.326999999999998</c:v>
                </c:pt>
                <c:pt idx="4549">
                  <c:v>47.258000000000003</c:v>
                </c:pt>
                <c:pt idx="4550">
                  <c:v>47.055</c:v>
                </c:pt>
                <c:pt idx="4551">
                  <c:v>47.19</c:v>
                </c:pt>
                <c:pt idx="4552">
                  <c:v>47.53</c:v>
                </c:pt>
                <c:pt idx="4553">
                  <c:v>47.395000000000003</c:v>
                </c:pt>
                <c:pt idx="4554">
                  <c:v>47.326999999999998</c:v>
                </c:pt>
                <c:pt idx="4555">
                  <c:v>46.987000000000002</c:v>
                </c:pt>
                <c:pt idx="4556">
                  <c:v>47.258000000000003</c:v>
                </c:pt>
                <c:pt idx="4557">
                  <c:v>47.395000000000003</c:v>
                </c:pt>
                <c:pt idx="4558">
                  <c:v>47.19</c:v>
                </c:pt>
                <c:pt idx="4559">
                  <c:v>47.326999999999998</c:v>
                </c:pt>
                <c:pt idx="4560">
                  <c:v>47.53</c:v>
                </c:pt>
                <c:pt idx="4561">
                  <c:v>47.19</c:v>
                </c:pt>
                <c:pt idx="4562">
                  <c:v>47.122</c:v>
                </c:pt>
                <c:pt idx="4563">
                  <c:v>47.734999999999999</c:v>
                </c:pt>
                <c:pt idx="4564">
                  <c:v>47.055</c:v>
                </c:pt>
                <c:pt idx="4565">
                  <c:v>47.597999999999999</c:v>
                </c:pt>
                <c:pt idx="4566">
                  <c:v>47.258000000000003</c:v>
                </c:pt>
                <c:pt idx="4567">
                  <c:v>47.395000000000003</c:v>
                </c:pt>
                <c:pt idx="4568">
                  <c:v>47.055</c:v>
                </c:pt>
                <c:pt idx="4569">
                  <c:v>47.055</c:v>
                </c:pt>
                <c:pt idx="4570">
                  <c:v>47.462000000000003</c:v>
                </c:pt>
                <c:pt idx="4571">
                  <c:v>47.19</c:v>
                </c:pt>
                <c:pt idx="4572">
                  <c:v>47.395000000000003</c:v>
                </c:pt>
                <c:pt idx="4573">
                  <c:v>47.055</c:v>
                </c:pt>
                <c:pt idx="4574">
                  <c:v>47.122</c:v>
                </c:pt>
                <c:pt idx="4575">
                  <c:v>47.395000000000003</c:v>
                </c:pt>
                <c:pt idx="4576">
                  <c:v>47.326999999999998</c:v>
                </c:pt>
                <c:pt idx="4577">
                  <c:v>47.258000000000003</c:v>
                </c:pt>
                <c:pt idx="4578">
                  <c:v>47.326999999999998</c:v>
                </c:pt>
                <c:pt idx="4579">
                  <c:v>47.395000000000003</c:v>
                </c:pt>
                <c:pt idx="4580">
                  <c:v>47.258000000000003</c:v>
                </c:pt>
                <c:pt idx="4581">
                  <c:v>47.055</c:v>
                </c:pt>
                <c:pt idx="4582">
                  <c:v>47.326999999999998</c:v>
                </c:pt>
                <c:pt idx="4583">
                  <c:v>47.326999999999998</c:v>
                </c:pt>
                <c:pt idx="4584">
                  <c:v>47.462000000000003</c:v>
                </c:pt>
                <c:pt idx="4585">
                  <c:v>47.326999999999998</c:v>
                </c:pt>
                <c:pt idx="4586">
                  <c:v>47.395000000000003</c:v>
                </c:pt>
                <c:pt idx="4587">
                  <c:v>47.122</c:v>
                </c:pt>
                <c:pt idx="4588">
                  <c:v>47.19</c:v>
                </c:pt>
                <c:pt idx="4589">
                  <c:v>47.462000000000003</c:v>
                </c:pt>
                <c:pt idx="4590">
                  <c:v>47.258000000000003</c:v>
                </c:pt>
                <c:pt idx="4591">
                  <c:v>47.462000000000003</c:v>
                </c:pt>
                <c:pt idx="4592">
                  <c:v>47.395000000000003</c:v>
                </c:pt>
                <c:pt idx="4593">
                  <c:v>47.53</c:v>
                </c:pt>
                <c:pt idx="4594">
                  <c:v>47.258000000000003</c:v>
                </c:pt>
                <c:pt idx="4595">
                  <c:v>47.53</c:v>
                </c:pt>
                <c:pt idx="4596">
                  <c:v>47.258000000000003</c:v>
                </c:pt>
                <c:pt idx="4597">
                  <c:v>47.326999999999998</c:v>
                </c:pt>
                <c:pt idx="4598">
                  <c:v>47.395000000000003</c:v>
                </c:pt>
                <c:pt idx="4599">
                  <c:v>47.53</c:v>
                </c:pt>
                <c:pt idx="4600">
                  <c:v>47.19</c:v>
                </c:pt>
                <c:pt idx="4601">
                  <c:v>47.395000000000003</c:v>
                </c:pt>
                <c:pt idx="4602">
                  <c:v>47.53</c:v>
                </c:pt>
                <c:pt idx="4603">
                  <c:v>47.395000000000003</c:v>
                </c:pt>
                <c:pt idx="4604">
                  <c:v>47.53</c:v>
                </c:pt>
                <c:pt idx="4605">
                  <c:v>47.122</c:v>
                </c:pt>
                <c:pt idx="4606">
                  <c:v>47.122</c:v>
                </c:pt>
                <c:pt idx="4607">
                  <c:v>47.19</c:v>
                </c:pt>
                <c:pt idx="4608">
                  <c:v>47.395000000000003</c:v>
                </c:pt>
                <c:pt idx="4609">
                  <c:v>47.122</c:v>
                </c:pt>
                <c:pt idx="4610">
                  <c:v>47.19</c:v>
                </c:pt>
                <c:pt idx="4611">
                  <c:v>47.667000000000002</c:v>
                </c:pt>
                <c:pt idx="4612">
                  <c:v>47.597999999999999</c:v>
                </c:pt>
                <c:pt idx="4613">
                  <c:v>47.326999999999998</c:v>
                </c:pt>
                <c:pt idx="4614">
                  <c:v>47.326999999999998</c:v>
                </c:pt>
                <c:pt idx="4615">
                  <c:v>47.055</c:v>
                </c:pt>
                <c:pt idx="4616">
                  <c:v>47.395000000000003</c:v>
                </c:pt>
                <c:pt idx="4617">
                  <c:v>47.395000000000003</c:v>
                </c:pt>
                <c:pt idx="4618">
                  <c:v>47.462000000000003</c:v>
                </c:pt>
                <c:pt idx="4619">
                  <c:v>47.462000000000003</c:v>
                </c:pt>
                <c:pt idx="4620">
                  <c:v>46.917999999999999</c:v>
                </c:pt>
                <c:pt idx="4621">
                  <c:v>47.258000000000003</c:v>
                </c:pt>
                <c:pt idx="4622">
                  <c:v>47.395000000000003</c:v>
                </c:pt>
                <c:pt idx="4623">
                  <c:v>47.53</c:v>
                </c:pt>
                <c:pt idx="4624">
                  <c:v>47.597999999999999</c:v>
                </c:pt>
                <c:pt idx="4625">
                  <c:v>47.667000000000002</c:v>
                </c:pt>
                <c:pt idx="4626">
                  <c:v>47.326999999999998</c:v>
                </c:pt>
                <c:pt idx="4627">
                  <c:v>47.734999999999999</c:v>
                </c:pt>
                <c:pt idx="4628">
                  <c:v>47.395000000000003</c:v>
                </c:pt>
                <c:pt idx="4629">
                  <c:v>47.395000000000003</c:v>
                </c:pt>
                <c:pt idx="4630">
                  <c:v>47.462000000000003</c:v>
                </c:pt>
                <c:pt idx="4631">
                  <c:v>47.395000000000003</c:v>
                </c:pt>
                <c:pt idx="4632">
                  <c:v>47.597999999999999</c:v>
                </c:pt>
                <c:pt idx="4633">
                  <c:v>47.258000000000003</c:v>
                </c:pt>
                <c:pt idx="4634">
                  <c:v>47.597999999999999</c:v>
                </c:pt>
                <c:pt idx="4635">
                  <c:v>47.53</c:v>
                </c:pt>
                <c:pt idx="4636">
                  <c:v>47.734999999999999</c:v>
                </c:pt>
                <c:pt idx="4637">
                  <c:v>47.462000000000003</c:v>
                </c:pt>
                <c:pt idx="4638">
                  <c:v>47.326999999999998</c:v>
                </c:pt>
                <c:pt idx="4639">
                  <c:v>47.597999999999999</c:v>
                </c:pt>
                <c:pt idx="4640">
                  <c:v>47.258000000000003</c:v>
                </c:pt>
                <c:pt idx="4641">
                  <c:v>47.122</c:v>
                </c:pt>
                <c:pt idx="4642">
                  <c:v>47.258000000000003</c:v>
                </c:pt>
                <c:pt idx="4643">
                  <c:v>47.395000000000003</c:v>
                </c:pt>
                <c:pt idx="4644">
                  <c:v>47.462000000000003</c:v>
                </c:pt>
                <c:pt idx="4645">
                  <c:v>47.462000000000003</c:v>
                </c:pt>
                <c:pt idx="4646">
                  <c:v>47.462000000000003</c:v>
                </c:pt>
                <c:pt idx="4647">
                  <c:v>47.326999999999998</c:v>
                </c:pt>
                <c:pt idx="4648">
                  <c:v>47.667000000000002</c:v>
                </c:pt>
                <c:pt idx="4649">
                  <c:v>47.667000000000002</c:v>
                </c:pt>
                <c:pt idx="4650">
                  <c:v>47.462000000000003</c:v>
                </c:pt>
                <c:pt idx="4651">
                  <c:v>47.326999999999998</c:v>
                </c:pt>
                <c:pt idx="4652">
                  <c:v>47.055</c:v>
                </c:pt>
                <c:pt idx="4653">
                  <c:v>47.53</c:v>
                </c:pt>
                <c:pt idx="4654">
                  <c:v>47.395000000000003</c:v>
                </c:pt>
                <c:pt idx="4655">
                  <c:v>47.53</c:v>
                </c:pt>
                <c:pt idx="4656">
                  <c:v>47.395000000000003</c:v>
                </c:pt>
                <c:pt idx="4657">
                  <c:v>47.53</c:v>
                </c:pt>
                <c:pt idx="4658">
                  <c:v>47.734999999999999</c:v>
                </c:pt>
                <c:pt idx="4659">
                  <c:v>47.53</c:v>
                </c:pt>
                <c:pt idx="4660">
                  <c:v>47.258000000000003</c:v>
                </c:pt>
                <c:pt idx="4661">
                  <c:v>46.987000000000002</c:v>
                </c:pt>
                <c:pt idx="4662">
                  <c:v>47.395000000000003</c:v>
                </c:pt>
                <c:pt idx="4663">
                  <c:v>47.326999999999998</c:v>
                </c:pt>
                <c:pt idx="4664">
                  <c:v>47.734999999999999</c:v>
                </c:pt>
                <c:pt idx="4665">
                  <c:v>47.462000000000003</c:v>
                </c:pt>
                <c:pt idx="4666">
                  <c:v>47.462000000000003</c:v>
                </c:pt>
                <c:pt idx="4667">
                  <c:v>47.326999999999998</c:v>
                </c:pt>
                <c:pt idx="4668">
                  <c:v>47.055</c:v>
                </c:pt>
                <c:pt idx="4669">
                  <c:v>47.395000000000003</c:v>
                </c:pt>
                <c:pt idx="4670">
                  <c:v>47.462000000000003</c:v>
                </c:pt>
                <c:pt idx="4671">
                  <c:v>47.395000000000003</c:v>
                </c:pt>
                <c:pt idx="4672">
                  <c:v>47.53</c:v>
                </c:pt>
                <c:pt idx="4673">
                  <c:v>47.597999999999999</c:v>
                </c:pt>
                <c:pt idx="4674">
                  <c:v>47.53</c:v>
                </c:pt>
                <c:pt idx="4675">
                  <c:v>47.734999999999999</c:v>
                </c:pt>
                <c:pt idx="4676">
                  <c:v>48.006999999999998</c:v>
                </c:pt>
                <c:pt idx="4677">
                  <c:v>47.802</c:v>
                </c:pt>
                <c:pt idx="4678">
                  <c:v>47.326999999999998</c:v>
                </c:pt>
                <c:pt idx="4679">
                  <c:v>47.395000000000003</c:v>
                </c:pt>
                <c:pt idx="4680">
                  <c:v>47.597999999999999</c:v>
                </c:pt>
                <c:pt idx="4681">
                  <c:v>47.667000000000002</c:v>
                </c:pt>
                <c:pt idx="4682">
                  <c:v>47.395000000000003</c:v>
                </c:pt>
                <c:pt idx="4683">
                  <c:v>47.597999999999999</c:v>
                </c:pt>
                <c:pt idx="4684">
                  <c:v>47.19</c:v>
                </c:pt>
                <c:pt idx="4685">
                  <c:v>47.326999999999998</c:v>
                </c:pt>
                <c:pt idx="4686">
                  <c:v>47.462000000000003</c:v>
                </c:pt>
                <c:pt idx="4687">
                  <c:v>47.395000000000003</c:v>
                </c:pt>
                <c:pt idx="4688">
                  <c:v>47.395000000000003</c:v>
                </c:pt>
                <c:pt idx="4689">
                  <c:v>47.462000000000003</c:v>
                </c:pt>
                <c:pt idx="4690">
                  <c:v>47.19</c:v>
                </c:pt>
                <c:pt idx="4691">
                  <c:v>47.734999999999999</c:v>
                </c:pt>
                <c:pt idx="4692">
                  <c:v>47.53</c:v>
                </c:pt>
                <c:pt idx="4693">
                  <c:v>47.667000000000002</c:v>
                </c:pt>
                <c:pt idx="4694">
                  <c:v>47.395000000000003</c:v>
                </c:pt>
                <c:pt idx="4695">
                  <c:v>47.597999999999999</c:v>
                </c:pt>
                <c:pt idx="4696">
                  <c:v>47.53</c:v>
                </c:pt>
                <c:pt idx="4697">
                  <c:v>47.734999999999999</c:v>
                </c:pt>
                <c:pt idx="4698">
                  <c:v>47.395000000000003</c:v>
                </c:pt>
                <c:pt idx="4699">
                  <c:v>47.87</c:v>
                </c:pt>
                <c:pt idx="4700">
                  <c:v>47.53</c:v>
                </c:pt>
                <c:pt idx="4701">
                  <c:v>47.734999999999999</c:v>
                </c:pt>
                <c:pt idx="4702">
                  <c:v>47.667000000000002</c:v>
                </c:pt>
                <c:pt idx="4703">
                  <c:v>47.597999999999999</c:v>
                </c:pt>
                <c:pt idx="4704">
                  <c:v>47.19</c:v>
                </c:pt>
                <c:pt idx="4705">
                  <c:v>47.802</c:v>
                </c:pt>
                <c:pt idx="4706">
                  <c:v>47.667000000000002</c:v>
                </c:pt>
                <c:pt idx="4707">
                  <c:v>47.734999999999999</c:v>
                </c:pt>
                <c:pt idx="4708">
                  <c:v>47.667000000000002</c:v>
                </c:pt>
                <c:pt idx="4709">
                  <c:v>47.395000000000003</c:v>
                </c:pt>
                <c:pt idx="4710">
                  <c:v>47.734999999999999</c:v>
                </c:pt>
                <c:pt idx="4711">
                  <c:v>47.53</c:v>
                </c:pt>
                <c:pt idx="4712">
                  <c:v>47.597999999999999</c:v>
                </c:pt>
                <c:pt idx="4713">
                  <c:v>47.802</c:v>
                </c:pt>
                <c:pt idx="4714">
                  <c:v>47.395000000000003</c:v>
                </c:pt>
                <c:pt idx="4715">
                  <c:v>47.597999999999999</c:v>
                </c:pt>
                <c:pt idx="4716">
                  <c:v>47.395000000000003</c:v>
                </c:pt>
                <c:pt idx="4717">
                  <c:v>47.597999999999999</c:v>
                </c:pt>
                <c:pt idx="4718">
                  <c:v>47.53</c:v>
                </c:pt>
                <c:pt idx="4719">
                  <c:v>47.597999999999999</c:v>
                </c:pt>
                <c:pt idx="4720">
                  <c:v>47.734999999999999</c:v>
                </c:pt>
                <c:pt idx="4721">
                  <c:v>47.462000000000003</c:v>
                </c:pt>
                <c:pt idx="4722">
                  <c:v>47.326999999999998</c:v>
                </c:pt>
                <c:pt idx="4723">
                  <c:v>47.462000000000003</c:v>
                </c:pt>
                <c:pt idx="4724">
                  <c:v>47.87</c:v>
                </c:pt>
                <c:pt idx="4725">
                  <c:v>47.667000000000002</c:v>
                </c:pt>
                <c:pt idx="4726">
                  <c:v>47.597999999999999</c:v>
                </c:pt>
                <c:pt idx="4727">
                  <c:v>47.734999999999999</c:v>
                </c:pt>
                <c:pt idx="4728">
                  <c:v>47.802</c:v>
                </c:pt>
                <c:pt idx="4729">
                  <c:v>47.597999999999999</c:v>
                </c:pt>
                <c:pt idx="4730">
                  <c:v>47.87</c:v>
                </c:pt>
                <c:pt idx="4731">
                  <c:v>47.802</c:v>
                </c:pt>
                <c:pt idx="4732">
                  <c:v>47.597999999999999</c:v>
                </c:pt>
                <c:pt idx="4733">
                  <c:v>47.462000000000003</c:v>
                </c:pt>
                <c:pt idx="4734">
                  <c:v>47.326999999999998</c:v>
                </c:pt>
                <c:pt idx="4735">
                  <c:v>47.734999999999999</c:v>
                </c:pt>
                <c:pt idx="4736">
                  <c:v>47.597999999999999</c:v>
                </c:pt>
                <c:pt idx="4737">
                  <c:v>47.395000000000003</c:v>
                </c:pt>
                <c:pt idx="4738">
                  <c:v>47.734999999999999</c:v>
                </c:pt>
                <c:pt idx="4739">
                  <c:v>47.462000000000003</c:v>
                </c:pt>
                <c:pt idx="4740">
                  <c:v>47.53</c:v>
                </c:pt>
                <c:pt idx="4741">
                  <c:v>47.597999999999999</c:v>
                </c:pt>
                <c:pt idx="4742">
                  <c:v>47.938000000000002</c:v>
                </c:pt>
                <c:pt idx="4743">
                  <c:v>47.597999999999999</c:v>
                </c:pt>
                <c:pt idx="4744">
                  <c:v>47.802</c:v>
                </c:pt>
                <c:pt idx="4745">
                  <c:v>47.938000000000002</c:v>
                </c:pt>
                <c:pt idx="4746">
                  <c:v>47.802</c:v>
                </c:pt>
                <c:pt idx="4747">
                  <c:v>47.667000000000002</c:v>
                </c:pt>
                <c:pt idx="4748">
                  <c:v>47.395000000000003</c:v>
                </c:pt>
                <c:pt idx="4749">
                  <c:v>47.734999999999999</c:v>
                </c:pt>
                <c:pt idx="4750">
                  <c:v>47.326999999999998</c:v>
                </c:pt>
                <c:pt idx="4751">
                  <c:v>47.395000000000003</c:v>
                </c:pt>
                <c:pt idx="4752">
                  <c:v>47.597999999999999</c:v>
                </c:pt>
                <c:pt idx="4753">
                  <c:v>47.53</c:v>
                </c:pt>
                <c:pt idx="4754">
                  <c:v>47.667000000000002</c:v>
                </c:pt>
                <c:pt idx="4755">
                  <c:v>47.462000000000003</c:v>
                </c:pt>
                <c:pt idx="4756">
                  <c:v>47.667000000000002</c:v>
                </c:pt>
                <c:pt idx="4757">
                  <c:v>47.802</c:v>
                </c:pt>
                <c:pt idx="4758">
                  <c:v>47.802</c:v>
                </c:pt>
                <c:pt idx="4759">
                  <c:v>48.006999999999998</c:v>
                </c:pt>
                <c:pt idx="4760">
                  <c:v>47.938000000000002</c:v>
                </c:pt>
                <c:pt idx="4761">
                  <c:v>47.462000000000003</c:v>
                </c:pt>
                <c:pt idx="4762">
                  <c:v>47.597999999999999</c:v>
                </c:pt>
                <c:pt idx="4763">
                  <c:v>47.87</c:v>
                </c:pt>
                <c:pt idx="4764">
                  <c:v>47.667000000000002</c:v>
                </c:pt>
                <c:pt idx="4765">
                  <c:v>47.734999999999999</c:v>
                </c:pt>
                <c:pt idx="4766">
                  <c:v>47.802</c:v>
                </c:pt>
                <c:pt idx="4767">
                  <c:v>47.597999999999999</c:v>
                </c:pt>
                <c:pt idx="4768">
                  <c:v>47.87</c:v>
                </c:pt>
                <c:pt idx="4769">
                  <c:v>48.006999999999998</c:v>
                </c:pt>
                <c:pt idx="4770">
                  <c:v>47.395000000000003</c:v>
                </c:pt>
                <c:pt idx="4771">
                  <c:v>47.938000000000002</c:v>
                </c:pt>
                <c:pt idx="4772">
                  <c:v>47.87</c:v>
                </c:pt>
                <c:pt idx="4773">
                  <c:v>47.802</c:v>
                </c:pt>
                <c:pt idx="4774">
                  <c:v>47.667000000000002</c:v>
                </c:pt>
                <c:pt idx="4775">
                  <c:v>47.597999999999999</c:v>
                </c:pt>
                <c:pt idx="4776">
                  <c:v>47.667000000000002</c:v>
                </c:pt>
                <c:pt idx="4777">
                  <c:v>47.667000000000002</c:v>
                </c:pt>
                <c:pt idx="4778">
                  <c:v>47.87</c:v>
                </c:pt>
                <c:pt idx="4779">
                  <c:v>47.667000000000002</c:v>
                </c:pt>
                <c:pt idx="4780">
                  <c:v>47.667000000000002</c:v>
                </c:pt>
                <c:pt idx="4781">
                  <c:v>47.802</c:v>
                </c:pt>
                <c:pt idx="4782">
                  <c:v>47.802</c:v>
                </c:pt>
                <c:pt idx="4783">
                  <c:v>47.597999999999999</c:v>
                </c:pt>
                <c:pt idx="4784">
                  <c:v>47.87</c:v>
                </c:pt>
                <c:pt idx="4785">
                  <c:v>47.395000000000003</c:v>
                </c:pt>
                <c:pt idx="4786">
                  <c:v>47.597999999999999</c:v>
                </c:pt>
                <c:pt idx="4787">
                  <c:v>47.462000000000003</c:v>
                </c:pt>
                <c:pt idx="4788">
                  <c:v>47.734999999999999</c:v>
                </c:pt>
                <c:pt idx="4789">
                  <c:v>47.802</c:v>
                </c:pt>
                <c:pt idx="4790">
                  <c:v>47.597999999999999</c:v>
                </c:pt>
                <c:pt idx="4791">
                  <c:v>47.734999999999999</c:v>
                </c:pt>
                <c:pt idx="4792">
                  <c:v>47.87</c:v>
                </c:pt>
                <c:pt idx="4793">
                  <c:v>47.802</c:v>
                </c:pt>
                <c:pt idx="4794">
                  <c:v>47.734999999999999</c:v>
                </c:pt>
                <c:pt idx="4795">
                  <c:v>47.938000000000002</c:v>
                </c:pt>
                <c:pt idx="4796">
                  <c:v>47.667000000000002</c:v>
                </c:pt>
                <c:pt idx="4797">
                  <c:v>47.87</c:v>
                </c:pt>
                <c:pt idx="4798">
                  <c:v>47.938000000000002</c:v>
                </c:pt>
                <c:pt idx="4799">
                  <c:v>47.87</c:v>
                </c:pt>
                <c:pt idx="4800">
                  <c:v>47.667000000000002</c:v>
                </c:pt>
                <c:pt idx="4801">
                  <c:v>47.87</c:v>
                </c:pt>
                <c:pt idx="4802">
                  <c:v>47.802</c:v>
                </c:pt>
                <c:pt idx="4803">
                  <c:v>47.667000000000002</c:v>
                </c:pt>
                <c:pt idx="4804">
                  <c:v>47.395000000000003</c:v>
                </c:pt>
                <c:pt idx="4805">
                  <c:v>47.938000000000002</c:v>
                </c:pt>
                <c:pt idx="4806">
                  <c:v>48.006999999999998</c:v>
                </c:pt>
                <c:pt idx="4807">
                  <c:v>47.53</c:v>
                </c:pt>
                <c:pt idx="4808">
                  <c:v>47.734999999999999</c:v>
                </c:pt>
                <c:pt idx="4809">
                  <c:v>47.667000000000002</c:v>
                </c:pt>
                <c:pt idx="4810">
                  <c:v>47.938000000000002</c:v>
                </c:pt>
                <c:pt idx="4811">
                  <c:v>47.87</c:v>
                </c:pt>
                <c:pt idx="4812">
                  <c:v>47.87</c:v>
                </c:pt>
                <c:pt idx="4813">
                  <c:v>47.87</c:v>
                </c:pt>
                <c:pt idx="4814">
                  <c:v>47.802</c:v>
                </c:pt>
                <c:pt idx="4815">
                  <c:v>47.87</c:v>
                </c:pt>
                <c:pt idx="4816">
                  <c:v>47.938000000000002</c:v>
                </c:pt>
                <c:pt idx="4817">
                  <c:v>47.734999999999999</c:v>
                </c:pt>
                <c:pt idx="4818">
                  <c:v>47.667000000000002</c:v>
                </c:pt>
                <c:pt idx="4819">
                  <c:v>47.938000000000002</c:v>
                </c:pt>
                <c:pt idx="4820">
                  <c:v>47.802</c:v>
                </c:pt>
                <c:pt idx="4821">
                  <c:v>47.87</c:v>
                </c:pt>
                <c:pt idx="4822">
                  <c:v>47.802</c:v>
                </c:pt>
                <c:pt idx="4823">
                  <c:v>47.802</c:v>
                </c:pt>
                <c:pt idx="4824">
                  <c:v>47.53</c:v>
                </c:pt>
                <c:pt idx="4825">
                  <c:v>47.87</c:v>
                </c:pt>
                <c:pt idx="4826">
                  <c:v>47.87</c:v>
                </c:pt>
                <c:pt idx="4827">
                  <c:v>47.938000000000002</c:v>
                </c:pt>
                <c:pt idx="4828">
                  <c:v>47.667000000000002</c:v>
                </c:pt>
                <c:pt idx="4829">
                  <c:v>47.87</c:v>
                </c:pt>
                <c:pt idx="4830">
                  <c:v>48.006999999999998</c:v>
                </c:pt>
                <c:pt idx="4831">
                  <c:v>47.53</c:v>
                </c:pt>
                <c:pt idx="4832">
                  <c:v>47.802</c:v>
                </c:pt>
                <c:pt idx="4833">
                  <c:v>47.667000000000002</c:v>
                </c:pt>
                <c:pt idx="4834">
                  <c:v>47.87</c:v>
                </c:pt>
                <c:pt idx="4835">
                  <c:v>47.802</c:v>
                </c:pt>
                <c:pt idx="4836">
                  <c:v>48.006999999999998</c:v>
                </c:pt>
                <c:pt idx="4837">
                  <c:v>48.277999999999999</c:v>
                </c:pt>
                <c:pt idx="4838">
                  <c:v>47.802</c:v>
                </c:pt>
                <c:pt idx="4839">
                  <c:v>47.667000000000002</c:v>
                </c:pt>
                <c:pt idx="4840">
                  <c:v>47.802</c:v>
                </c:pt>
                <c:pt idx="4841">
                  <c:v>47.87</c:v>
                </c:pt>
                <c:pt idx="4842">
                  <c:v>47.667000000000002</c:v>
                </c:pt>
                <c:pt idx="4843">
                  <c:v>48.075000000000003</c:v>
                </c:pt>
                <c:pt idx="4844">
                  <c:v>47.734999999999999</c:v>
                </c:pt>
                <c:pt idx="4845">
                  <c:v>47.667000000000002</c:v>
                </c:pt>
                <c:pt idx="4846">
                  <c:v>47.87</c:v>
                </c:pt>
                <c:pt idx="4847">
                  <c:v>48.142000000000003</c:v>
                </c:pt>
                <c:pt idx="4848">
                  <c:v>47.87</c:v>
                </c:pt>
                <c:pt idx="4849">
                  <c:v>47.938000000000002</c:v>
                </c:pt>
                <c:pt idx="4850">
                  <c:v>47.667000000000002</c:v>
                </c:pt>
                <c:pt idx="4851">
                  <c:v>48.006999999999998</c:v>
                </c:pt>
                <c:pt idx="4852">
                  <c:v>47.734999999999999</c:v>
                </c:pt>
                <c:pt idx="4853">
                  <c:v>47.87</c:v>
                </c:pt>
                <c:pt idx="4854">
                  <c:v>47.87</c:v>
                </c:pt>
                <c:pt idx="4855">
                  <c:v>48.142000000000003</c:v>
                </c:pt>
                <c:pt idx="4856">
                  <c:v>48.006999999999998</c:v>
                </c:pt>
                <c:pt idx="4857">
                  <c:v>47.938000000000002</c:v>
                </c:pt>
                <c:pt idx="4858">
                  <c:v>48.006999999999998</c:v>
                </c:pt>
                <c:pt idx="4859">
                  <c:v>47.802</c:v>
                </c:pt>
                <c:pt idx="4860">
                  <c:v>47.87</c:v>
                </c:pt>
                <c:pt idx="4861">
                  <c:v>47.87</c:v>
                </c:pt>
                <c:pt idx="4862">
                  <c:v>47.802</c:v>
                </c:pt>
                <c:pt idx="4863">
                  <c:v>47.667000000000002</c:v>
                </c:pt>
                <c:pt idx="4864">
                  <c:v>47.802</c:v>
                </c:pt>
                <c:pt idx="4865">
                  <c:v>47.734999999999999</c:v>
                </c:pt>
                <c:pt idx="4866">
                  <c:v>47.734999999999999</c:v>
                </c:pt>
                <c:pt idx="4867">
                  <c:v>48.277999999999999</c:v>
                </c:pt>
                <c:pt idx="4868">
                  <c:v>47.87</c:v>
                </c:pt>
                <c:pt idx="4869">
                  <c:v>47.667000000000002</c:v>
                </c:pt>
                <c:pt idx="4870">
                  <c:v>47.802</c:v>
                </c:pt>
                <c:pt idx="4871">
                  <c:v>48.006999999999998</c:v>
                </c:pt>
                <c:pt idx="4872">
                  <c:v>48.142000000000003</c:v>
                </c:pt>
                <c:pt idx="4873">
                  <c:v>48.075000000000003</c:v>
                </c:pt>
                <c:pt idx="4874">
                  <c:v>48.075000000000003</c:v>
                </c:pt>
                <c:pt idx="4875">
                  <c:v>47.938000000000002</c:v>
                </c:pt>
                <c:pt idx="4876">
                  <c:v>47.87</c:v>
                </c:pt>
                <c:pt idx="4877">
                  <c:v>47.667000000000002</c:v>
                </c:pt>
                <c:pt idx="4878">
                  <c:v>47.802</c:v>
                </c:pt>
                <c:pt idx="4879">
                  <c:v>47.938000000000002</c:v>
                </c:pt>
                <c:pt idx="4880">
                  <c:v>47.938000000000002</c:v>
                </c:pt>
                <c:pt idx="4881">
                  <c:v>47.802</c:v>
                </c:pt>
                <c:pt idx="4882">
                  <c:v>47.87</c:v>
                </c:pt>
                <c:pt idx="4883">
                  <c:v>48.006999999999998</c:v>
                </c:pt>
                <c:pt idx="4884">
                  <c:v>48.347000000000001</c:v>
                </c:pt>
                <c:pt idx="4885">
                  <c:v>48.006999999999998</c:v>
                </c:pt>
                <c:pt idx="4886">
                  <c:v>48.006999999999998</c:v>
                </c:pt>
                <c:pt idx="4887">
                  <c:v>47.938000000000002</c:v>
                </c:pt>
                <c:pt idx="4888">
                  <c:v>48.21</c:v>
                </c:pt>
                <c:pt idx="4889">
                  <c:v>47.734999999999999</c:v>
                </c:pt>
                <c:pt idx="4890">
                  <c:v>47.667000000000002</c:v>
                </c:pt>
                <c:pt idx="4891">
                  <c:v>47.802</c:v>
                </c:pt>
                <c:pt idx="4892">
                  <c:v>48.006999999999998</c:v>
                </c:pt>
                <c:pt idx="4893">
                  <c:v>48.006999999999998</c:v>
                </c:pt>
                <c:pt idx="4894">
                  <c:v>47.938000000000002</c:v>
                </c:pt>
                <c:pt idx="4895">
                  <c:v>47.802</c:v>
                </c:pt>
                <c:pt idx="4896">
                  <c:v>48.075000000000003</c:v>
                </c:pt>
                <c:pt idx="4897">
                  <c:v>48.21</c:v>
                </c:pt>
                <c:pt idx="4898">
                  <c:v>47.87</c:v>
                </c:pt>
                <c:pt idx="4899">
                  <c:v>47.87</c:v>
                </c:pt>
                <c:pt idx="4900">
                  <c:v>48.142000000000003</c:v>
                </c:pt>
                <c:pt idx="4901">
                  <c:v>47.667000000000002</c:v>
                </c:pt>
                <c:pt idx="4902">
                  <c:v>47.734999999999999</c:v>
                </c:pt>
                <c:pt idx="4903">
                  <c:v>47.667000000000002</c:v>
                </c:pt>
                <c:pt idx="4904">
                  <c:v>47.597999999999999</c:v>
                </c:pt>
                <c:pt idx="4905">
                  <c:v>48.21</c:v>
                </c:pt>
                <c:pt idx="4906">
                  <c:v>48.21</c:v>
                </c:pt>
                <c:pt idx="4907">
                  <c:v>47.802</c:v>
                </c:pt>
                <c:pt idx="4908">
                  <c:v>48.075000000000003</c:v>
                </c:pt>
                <c:pt idx="4909">
                  <c:v>48.006999999999998</c:v>
                </c:pt>
                <c:pt idx="4910">
                  <c:v>47.938000000000002</c:v>
                </c:pt>
                <c:pt idx="4911">
                  <c:v>48.006999999999998</c:v>
                </c:pt>
                <c:pt idx="4912">
                  <c:v>47.802</c:v>
                </c:pt>
                <c:pt idx="4913">
                  <c:v>47.938000000000002</c:v>
                </c:pt>
                <c:pt idx="4914">
                  <c:v>48.21</c:v>
                </c:pt>
                <c:pt idx="4915">
                  <c:v>47.938000000000002</c:v>
                </c:pt>
                <c:pt idx="4916">
                  <c:v>48.006999999999998</c:v>
                </c:pt>
                <c:pt idx="4917">
                  <c:v>47.87</c:v>
                </c:pt>
                <c:pt idx="4918">
                  <c:v>47.87</c:v>
                </c:pt>
                <c:pt idx="4919">
                  <c:v>47.802</c:v>
                </c:pt>
                <c:pt idx="4920">
                  <c:v>47.734999999999999</c:v>
                </c:pt>
                <c:pt idx="4921">
                  <c:v>47.802</c:v>
                </c:pt>
                <c:pt idx="4922">
                  <c:v>47.87</c:v>
                </c:pt>
                <c:pt idx="4923">
                  <c:v>48.21</c:v>
                </c:pt>
                <c:pt idx="4924">
                  <c:v>47.802</c:v>
                </c:pt>
                <c:pt idx="4925">
                  <c:v>47.802</c:v>
                </c:pt>
                <c:pt idx="4926">
                  <c:v>48.277999999999999</c:v>
                </c:pt>
                <c:pt idx="4927">
                  <c:v>47.938000000000002</c:v>
                </c:pt>
                <c:pt idx="4928">
                  <c:v>48.075000000000003</c:v>
                </c:pt>
                <c:pt idx="4929">
                  <c:v>48.075000000000003</c:v>
                </c:pt>
                <c:pt idx="4930">
                  <c:v>47.938000000000002</c:v>
                </c:pt>
                <c:pt idx="4931">
                  <c:v>47.87</c:v>
                </c:pt>
                <c:pt idx="4932">
                  <c:v>48.277999999999999</c:v>
                </c:pt>
                <c:pt idx="4933">
                  <c:v>47.938000000000002</c:v>
                </c:pt>
                <c:pt idx="4934">
                  <c:v>48.618000000000002</c:v>
                </c:pt>
                <c:pt idx="4935">
                  <c:v>47.938000000000002</c:v>
                </c:pt>
                <c:pt idx="4936">
                  <c:v>48.075000000000003</c:v>
                </c:pt>
                <c:pt idx="4937">
                  <c:v>48.142000000000003</c:v>
                </c:pt>
                <c:pt idx="4938">
                  <c:v>48.142000000000003</c:v>
                </c:pt>
                <c:pt idx="4939">
                  <c:v>47.938000000000002</c:v>
                </c:pt>
                <c:pt idx="4940">
                  <c:v>48.142000000000003</c:v>
                </c:pt>
                <c:pt idx="4941">
                  <c:v>48.006999999999998</c:v>
                </c:pt>
                <c:pt idx="4942">
                  <c:v>47.802</c:v>
                </c:pt>
                <c:pt idx="4943">
                  <c:v>48.006999999999998</c:v>
                </c:pt>
                <c:pt idx="4944">
                  <c:v>48.142000000000003</c:v>
                </c:pt>
                <c:pt idx="4945">
                  <c:v>48.347000000000001</c:v>
                </c:pt>
                <c:pt idx="4946">
                  <c:v>48.142000000000003</c:v>
                </c:pt>
                <c:pt idx="4947">
                  <c:v>48.075000000000003</c:v>
                </c:pt>
                <c:pt idx="4948">
                  <c:v>47.87</c:v>
                </c:pt>
                <c:pt idx="4949">
                  <c:v>48.006999999999998</c:v>
                </c:pt>
                <c:pt idx="4950">
                  <c:v>47.667000000000002</c:v>
                </c:pt>
                <c:pt idx="4951">
                  <c:v>48.075000000000003</c:v>
                </c:pt>
                <c:pt idx="4952">
                  <c:v>48.142000000000003</c:v>
                </c:pt>
                <c:pt idx="4953">
                  <c:v>48.277999999999999</c:v>
                </c:pt>
                <c:pt idx="4954">
                  <c:v>48.075000000000003</c:v>
                </c:pt>
                <c:pt idx="4955">
                  <c:v>47.938000000000002</c:v>
                </c:pt>
                <c:pt idx="4956">
                  <c:v>48.006999999999998</c:v>
                </c:pt>
                <c:pt idx="4957">
                  <c:v>47.87</c:v>
                </c:pt>
                <c:pt idx="4958">
                  <c:v>48.006999999999998</c:v>
                </c:pt>
                <c:pt idx="4959">
                  <c:v>48.277999999999999</c:v>
                </c:pt>
                <c:pt idx="4960">
                  <c:v>48.142000000000003</c:v>
                </c:pt>
                <c:pt idx="4961">
                  <c:v>48.142000000000003</c:v>
                </c:pt>
                <c:pt idx="4962">
                  <c:v>48.277999999999999</c:v>
                </c:pt>
                <c:pt idx="4963">
                  <c:v>48.277999999999999</c:v>
                </c:pt>
                <c:pt idx="4964">
                  <c:v>48.075000000000003</c:v>
                </c:pt>
                <c:pt idx="4965">
                  <c:v>48.142000000000003</c:v>
                </c:pt>
                <c:pt idx="4966">
                  <c:v>48.21</c:v>
                </c:pt>
                <c:pt idx="4967">
                  <c:v>48.006999999999998</c:v>
                </c:pt>
                <c:pt idx="4968">
                  <c:v>48.21</c:v>
                </c:pt>
                <c:pt idx="4969">
                  <c:v>48.21</c:v>
                </c:pt>
                <c:pt idx="4970">
                  <c:v>48.142000000000003</c:v>
                </c:pt>
                <c:pt idx="4971">
                  <c:v>48.075000000000003</c:v>
                </c:pt>
                <c:pt idx="4972">
                  <c:v>48.21</c:v>
                </c:pt>
                <c:pt idx="4973">
                  <c:v>47.87</c:v>
                </c:pt>
                <c:pt idx="4974">
                  <c:v>48.277999999999999</c:v>
                </c:pt>
                <c:pt idx="4975">
                  <c:v>48.006999999999998</c:v>
                </c:pt>
                <c:pt idx="4976">
                  <c:v>48.075000000000003</c:v>
                </c:pt>
                <c:pt idx="4977">
                  <c:v>48.347000000000001</c:v>
                </c:pt>
                <c:pt idx="4978">
                  <c:v>47.938000000000002</c:v>
                </c:pt>
                <c:pt idx="4979">
                  <c:v>48.277999999999999</c:v>
                </c:pt>
                <c:pt idx="4980">
                  <c:v>48.21</c:v>
                </c:pt>
                <c:pt idx="4981">
                  <c:v>48.142000000000003</c:v>
                </c:pt>
                <c:pt idx="4982">
                  <c:v>48.142000000000003</c:v>
                </c:pt>
                <c:pt idx="4983">
                  <c:v>48.21</c:v>
                </c:pt>
                <c:pt idx="4984">
                  <c:v>48.006999999999998</c:v>
                </c:pt>
                <c:pt idx="4985">
                  <c:v>47.87</c:v>
                </c:pt>
                <c:pt idx="4986">
                  <c:v>48.277999999999999</c:v>
                </c:pt>
                <c:pt idx="4987">
                  <c:v>48.142000000000003</c:v>
                </c:pt>
                <c:pt idx="4988">
                  <c:v>48.277999999999999</c:v>
                </c:pt>
                <c:pt idx="4989">
                  <c:v>48.481999999999999</c:v>
                </c:pt>
                <c:pt idx="4990">
                  <c:v>48.414999999999999</c:v>
                </c:pt>
                <c:pt idx="4991">
                  <c:v>48.142000000000003</c:v>
                </c:pt>
                <c:pt idx="4992">
                  <c:v>48.075000000000003</c:v>
                </c:pt>
                <c:pt idx="4993">
                  <c:v>48.414999999999999</c:v>
                </c:pt>
                <c:pt idx="4994">
                  <c:v>48.277999999999999</c:v>
                </c:pt>
                <c:pt idx="4995">
                  <c:v>47.938000000000002</c:v>
                </c:pt>
                <c:pt idx="4996">
                  <c:v>48.075000000000003</c:v>
                </c:pt>
                <c:pt idx="4997">
                  <c:v>48.347000000000001</c:v>
                </c:pt>
                <c:pt idx="4998">
                  <c:v>48.142000000000003</c:v>
                </c:pt>
                <c:pt idx="4999">
                  <c:v>48.481999999999999</c:v>
                </c:pt>
              </c:numCache>
            </c:numRef>
          </c:yVal>
          <c:smooth val="1"/>
          <c:extLst>
            <c:ext xmlns:c16="http://schemas.microsoft.com/office/drawing/2014/chart" uri="{C3380CC4-5D6E-409C-BE32-E72D297353CC}">
              <c16:uniqueId val="{00000002-ADAB-43DA-B4FD-9B2CD11B1D63}"/>
            </c:ext>
          </c:extLst>
        </c:ser>
        <c:ser>
          <c:idx val="3"/>
          <c:order val="3"/>
          <c:tx>
            <c:strRef>
              <c:f>'4-Pin vs 3-Pin waveform'!$T$2</c:f>
              <c:strCache>
                <c:ptCount val="1"/>
                <c:pt idx="0">
                  <c:v>IKZA40N120CH7 - I [A]</c:v>
                </c:pt>
              </c:strCache>
            </c:strRef>
          </c:tx>
          <c:spPr>
            <a:ln w="19050" cap="rnd">
              <a:solidFill>
                <a:srgbClr val="0A8276"/>
              </a:solidFill>
              <a:prstDash val="sysDash"/>
              <a:round/>
            </a:ln>
            <a:effectLst/>
          </c:spPr>
          <c:marker>
            <c:symbol val="none"/>
          </c:marker>
          <c:xVal>
            <c:numRef>
              <c:f>'4-Pin vs 3-Pin waveform'!$A$3:$A$5002</c:f>
              <c:numCache>
                <c:formatCode>General</c:formatCode>
                <c:ptCount val="5000"/>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8.9999999999999993E-3</c:v>
                </c:pt>
                <c:pt idx="10">
                  <c:v>0.01</c:v>
                </c:pt>
                <c:pt idx="11">
                  <c:v>1.0999999999999999E-2</c:v>
                </c:pt>
                <c:pt idx="12">
                  <c:v>1.2E-2</c:v>
                </c:pt>
                <c:pt idx="13">
                  <c:v>1.2999999999999999E-2</c:v>
                </c:pt>
                <c:pt idx="14">
                  <c:v>1.4E-2</c:v>
                </c:pt>
                <c:pt idx="15">
                  <c:v>1.4999999999999999E-2</c:v>
                </c:pt>
                <c:pt idx="16">
                  <c:v>1.6E-2</c:v>
                </c:pt>
                <c:pt idx="17">
                  <c:v>1.7000000000000001E-2</c:v>
                </c:pt>
                <c:pt idx="18">
                  <c:v>1.7999999999999999E-2</c:v>
                </c:pt>
                <c:pt idx="19">
                  <c:v>1.9E-2</c:v>
                </c:pt>
                <c:pt idx="20">
                  <c:v>0.02</c:v>
                </c:pt>
                <c:pt idx="21">
                  <c:v>2.1000000000000001E-2</c:v>
                </c:pt>
                <c:pt idx="22">
                  <c:v>2.1999999999999999E-2</c:v>
                </c:pt>
                <c:pt idx="23">
                  <c:v>2.3E-2</c:v>
                </c:pt>
                <c:pt idx="24">
                  <c:v>2.4E-2</c:v>
                </c:pt>
                <c:pt idx="25">
                  <c:v>2.5000000000000001E-2</c:v>
                </c:pt>
                <c:pt idx="26">
                  <c:v>2.5999999999999999E-2</c:v>
                </c:pt>
                <c:pt idx="27">
                  <c:v>2.7E-2</c:v>
                </c:pt>
                <c:pt idx="28">
                  <c:v>2.8000000000000001E-2</c:v>
                </c:pt>
                <c:pt idx="29">
                  <c:v>2.9000000000000001E-2</c:v>
                </c:pt>
                <c:pt idx="30">
                  <c:v>0.03</c:v>
                </c:pt>
                <c:pt idx="31">
                  <c:v>3.1E-2</c:v>
                </c:pt>
                <c:pt idx="32">
                  <c:v>3.2000000000000001E-2</c:v>
                </c:pt>
                <c:pt idx="33">
                  <c:v>3.3000000000000002E-2</c:v>
                </c:pt>
                <c:pt idx="34">
                  <c:v>3.4000000000000002E-2</c:v>
                </c:pt>
                <c:pt idx="35">
                  <c:v>3.5000000000000003E-2</c:v>
                </c:pt>
                <c:pt idx="36">
                  <c:v>3.5999999999999997E-2</c:v>
                </c:pt>
                <c:pt idx="37">
                  <c:v>3.6999999999999998E-2</c:v>
                </c:pt>
                <c:pt idx="38">
                  <c:v>3.7999999999999999E-2</c:v>
                </c:pt>
                <c:pt idx="39">
                  <c:v>3.9E-2</c:v>
                </c:pt>
                <c:pt idx="40">
                  <c:v>0.04</c:v>
                </c:pt>
                <c:pt idx="41">
                  <c:v>4.1000000000000002E-2</c:v>
                </c:pt>
                <c:pt idx="42">
                  <c:v>4.2000000000000003E-2</c:v>
                </c:pt>
                <c:pt idx="43">
                  <c:v>4.2999999999999997E-2</c:v>
                </c:pt>
                <c:pt idx="44">
                  <c:v>4.3999999999999997E-2</c:v>
                </c:pt>
                <c:pt idx="45">
                  <c:v>4.4999999999999998E-2</c:v>
                </c:pt>
                <c:pt idx="46">
                  <c:v>4.5999999999999999E-2</c:v>
                </c:pt>
                <c:pt idx="47">
                  <c:v>4.7E-2</c:v>
                </c:pt>
                <c:pt idx="48">
                  <c:v>4.8000000000000001E-2</c:v>
                </c:pt>
                <c:pt idx="49">
                  <c:v>4.9000000000000002E-2</c:v>
                </c:pt>
                <c:pt idx="50">
                  <c:v>0.05</c:v>
                </c:pt>
                <c:pt idx="51">
                  <c:v>5.0999999999999997E-2</c:v>
                </c:pt>
                <c:pt idx="52">
                  <c:v>5.1999999999999998E-2</c:v>
                </c:pt>
                <c:pt idx="53">
                  <c:v>5.2999999999999999E-2</c:v>
                </c:pt>
                <c:pt idx="54">
                  <c:v>5.3999999999999999E-2</c:v>
                </c:pt>
                <c:pt idx="55">
                  <c:v>5.5E-2</c:v>
                </c:pt>
                <c:pt idx="56">
                  <c:v>5.6000000000000001E-2</c:v>
                </c:pt>
                <c:pt idx="57">
                  <c:v>5.7000000000000002E-2</c:v>
                </c:pt>
                <c:pt idx="58">
                  <c:v>5.8000000000000003E-2</c:v>
                </c:pt>
                <c:pt idx="59">
                  <c:v>5.8999999999999997E-2</c:v>
                </c:pt>
                <c:pt idx="60">
                  <c:v>0.06</c:v>
                </c:pt>
                <c:pt idx="61">
                  <c:v>6.0999999999999999E-2</c:v>
                </c:pt>
                <c:pt idx="62">
                  <c:v>6.2E-2</c:v>
                </c:pt>
                <c:pt idx="63">
                  <c:v>6.3E-2</c:v>
                </c:pt>
                <c:pt idx="64">
                  <c:v>6.4000000000000001E-2</c:v>
                </c:pt>
                <c:pt idx="65">
                  <c:v>6.5000000000000002E-2</c:v>
                </c:pt>
                <c:pt idx="66">
                  <c:v>6.6000000000000003E-2</c:v>
                </c:pt>
                <c:pt idx="67">
                  <c:v>6.7000000000000004E-2</c:v>
                </c:pt>
                <c:pt idx="68">
                  <c:v>6.8000000000000005E-2</c:v>
                </c:pt>
                <c:pt idx="69">
                  <c:v>6.9000000000000006E-2</c:v>
                </c:pt>
                <c:pt idx="70">
                  <c:v>7.0000000000000007E-2</c:v>
                </c:pt>
                <c:pt idx="71">
                  <c:v>7.0999999999999994E-2</c:v>
                </c:pt>
                <c:pt idx="72">
                  <c:v>7.1999999999999995E-2</c:v>
                </c:pt>
                <c:pt idx="73">
                  <c:v>7.2999999999999995E-2</c:v>
                </c:pt>
                <c:pt idx="74">
                  <c:v>7.3999999999999996E-2</c:v>
                </c:pt>
                <c:pt idx="75">
                  <c:v>7.4999999999999997E-2</c:v>
                </c:pt>
                <c:pt idx="76">
                  <c:v>7.5999999999999998E-2</c:v>
                </c:pt>
                <c:pt idx="77">
                  <c:v>7.6999999999999999E-2</c:v>
                </c:pt>
                <c:pt idx="78">
                  <c:v>7.8E-2</c:v>
                </c:pt>
                <c:pt idx="79">
                  <c:v>7.9000000000000001E-2</c:v>
                </c:pt>
                <c:pt idx="80">
                  <c:v>0.08</c:v>
                </c:pt>
                <c:pt idx="81">
                  <c:v>8.1000000000000003E-2</c:v>
                </c:pt>
                <c:pt idx="82">
                  <c:v>8.2000000000000003E-2</c:v>
                </c:pt>
                <c:pt idx="83">
                  <c:v>8.3000000000000004E-2</c:v>
                </c:pt>
                <c:pt idx="84">
                  <c:v>8.4000000000000005E-2</c:v>
                </c:pt>
                <c:pt idx="85">
                  <c:v>8.5000000000000006E-2</c:v>
                </c:pt>
                <c:pt idx="86">
                  <c:v>8.5999999999999993E-2</c:v>
                </c:pt>
                <c:pt idx="87">
                  <c:v>8.6999999999999994E-2</c:v>
                </c:pt>
                <c:pt idx="88">
                  <c:v>8.7999999999999995E-2</c:v>
                </c:pt>
                <c:pt idx="89">
                  <c:v>8.8999999999999996E-2</c:v>
                </c:pt>
                <c:pt idx="90">
                  <c:v>0.09</c:v>
                </c:pt>
                <c:pt idx="91">
                  <c:v>9.0999999999999998E-2</c:v>
                </c:pt>
                <c:pt idx="92">
                  <c:v>9.1999999999999998E-2</c:v>
                </c:pt>
                <c:pt idx="93">
                  <c:v>9.2999999999999999E-2</c:v>
                </c:pt>
                <c:pt idx="94">
                  <c:v>9.4E-2</c:v>
                </c:pt>
                <c:pt idx="95">
                  <c:v>9.5000000000000001E-2</c:v>
                </c:pt>
                <c:pt idx="96">
                  <c:v>9.6000000000000002E-2</c:v>
                </c:pt>
                <c:pt idx="97">
                  <c:v>9.7000000000000003E-2</c:v>
                </c:pt>
                <c:pt idx="98">
                  <c:v>9.8000000000000004E-2</c:v>
                </c:pt>
                <c:pt idx="99">
                  <c:v>9.9000000000000005E-2</c:v>
                </c:pt>
                <c:pt idx="100">
                  <c:v>0.1</c:v>
                </c:pt>
                <c:pt idx="101">
                  <c:v>0.10100000000000001</c:v>
                </c:pt>
                <c:pt idx="102">
                  <c:v>0.10199999999999999</c:v>
                </c:pt>
                <c:pt idx="103">
                  <c:v>0.10299999999999999</c:v>
                </c:pt>
                <c:pt idx="104">
                  <c:v>0.104</c:v>
                </c:pt>
                <c:pt idx="105">
                  <c:v>0.105</c:v>
                </c:pt>
                <c:pt idx="106">
                  <c:v>0.106</c:v>
                </c:pt>
                <c:pt idx="107">
                  <c:v>0.107</c:v>
                </c:pt>
                <c:pt idx="108">
                  <c:v>0.108</c:v>
                </c:pt>
                <c:pt idx="109">
                  <c:v>0.109</c:v>
                </c:pt>
                <c:pt idx="110">
                  <c:v>0.11</c:v>
                </c:pt>
                <c:pt idx="111">
                  <c:v>0.111</c:v>
                </c:pt>
                <c:pt idx="112">
                  <c:v>0.112</c:v>
                </c:pt>
                <c:pt idx="113">
                  <c:v>0.113</c:v>
                </c:pt>
                <c:pt idx="114">
                  <c:v>0.114</c:v>
                </c:pt>
                <c:pt idx="115">
                  <c:v>0.115</c:v>
                </c:pt>
                <c:pt idx="116">
                  <c:v>0.11600000000000001</c:v>
                </c:pt>
                <c:pt idx="117">
                  <c:v>0.11700000000000001</c:v>
                </c:pt>
                <c:pt idx="118">
                  <c:v>0.11799999999999999</c:v>
                </c:pt>
                <c:pt idx="119">
                  <c:v>0.11899999999999999</c:v>
                </c:pt>
                <c:pt idx="120">
                  <c:v>0.12</c:v>
                </c:pt>
                <c:pt idx="121">
                  <c:v>0.121</c:v>
                </c:pt>
                <c:pt idx="122">
                  <c:v>0.122</c:v>
                </c:pt>
                <c:pt idx="123">
                  <c:v>0.123</c:v>
                </c:pt>
                <c:pt idx="124">
                  <c:v>0.124</c:v>
                </c:pt>
                <c:pt idx="125">
                  <c:v>0.125</c:v>
                </c:pt>
                <c:pt idx="126">
                  <c:v>0.126</c:v>
                </c:pt>
                <c:pt idx="127">
                  <c:v>0.127</c:v>
                </c:pt>
                <c:pt idx="128">
                  <c:v>0.128</c:v>
                </c:pt>
                <c:pt idx="129">
                  <c:v>0.129</c:v>
                </c:pt>
                <c:pt idx="130">
                  <c:v>0.13</c:v>
                </c:pt>
                <c:pt idx="131">
                  <c:v>0.13100000000000001</c:v>
                </c:pt>
                <c:pt idx="132">
                  <c:v>0.13200000000000001</c:v>
                </c:pt>
                <c:pt idx="133">
                  <c:v>0.13300000000000001</c:v>
                </c:pt>
                <c:pt idx="134">
                  <c:v>0.13400000000000001</c:v>
                </c:pt>
                <c:pt idx="135">
                  <c:v>0.13500000000000001</c:v>
                </c:pt>
                <c:pt idx="136">
                  <c:v>0.13600000000000001</c:v>
                </c:pt>
                <c:pt idx="137">
                  <c:v>0.13700000000000001</c:v>
                </c:pt>
                <c:pt idx="138">
                  <c:v>0.13800000000000001</c:v>
                </c:pt>
                <c:pt idx="139">
                  <c:v>0.13900000000000001</c:v>
                </c:pt>
                <c:pt idx="140">
                  <c:v>0.14000000000000001</c:v>
                </c:pt>
                <c:pt idx="141">
                  <c:v>0.14099999999999999</c:v>
                </c:pt>
                <c:pt idx="142">
                  <c:v>0.14199999999999999</c:v>
                </c:pt>
                <c:pt idx="143">
                  <c:v>0.14299999999999999</c:v>
                </c:pt>
                <c:pt idx="144">
                  <c:v>0.14399999999999999</c:v>
                </c:pt>
                <c:pt idx="145">
                  <c:v>0.14499999999999999</c:v>
                </c:pt>
                <c:pt idx="146">
                  <c:v>0.14599999999999999</c:v>
                </c:pt>
                <c:pt idx="147">
                  <c:v>0.14699999999999999</c:v>
                </c:pt>
                <c:pt idx="148">
                  <c:v>0.14799999999999999</c:v>
                </c:pt>
                <c:pt idx="149">
                  <c:v>0.14899999999999999</c:v>
                </c:pt>
                <c:pt idx="150">
                  <c:v>0.15</c:v>
                </c:pt>
                <c:pt idx="151">
                  <c:v>0.151</c:v>
                </c:pt>
                <c:pt idx="152">
                  <c:v>0.152</c:v>
                </c:pt>
                <c:pt idx="153">
                  <c:v>0.153</c:v>
                </c:pt>
                <c:pt idx="154">
                  <c:v>0.154</c:v>
                </c:pt>
                <c:pt idx="155">
                  <c:v>0.155</c:v>
                </c:pt>
                <c:pt idx="156">
                  <c:v>0.156</c:v>
                </c:pt>
                <c:pt idx="157">
                  <c:v>0.157</c:v>
                </c:pt>
                <c:pt idx="158">
                  <c:v>0.158</c:v>
                </c:pt>
                <c:pt idx="159">
                  <c:v>0.159</c:v>
                </c:pt>
                <c:pt idx="160">
                  <c:v>0.16</c:v>
                </c:pt>
                <c:pt idx="161">
                  <c:v>0.161</c:v>
                </c:pt>
                <c:pt idx="162">
                  <c:v>0.16200000000000001</c:v>
                </c:pt>
                <c:pt idx="163">
                  <c:v>0.16300000000000001</c:v>
                </c:pt>
                <c:pt idx="164">
                  <c:v>0.16400000000000001</c:v>
                </c:pt>
                <c:pt idx="165">
                  <c:v>0.16500000000000001</c:v>
                </c:pt>
                <c:pt idx="166">
                  <c:v>0.16600000000000001</c:v>
                </c:pt>
                <c:pt idx="167">
                  <c:v>0.16700000000000001</c:v>
                </c:pt>
                <c:pt idx="168">
                  <c:v>0.16800000000000001</c:v>
                </c:pt>
                <c:pt idx="169">
                  <c:v>0.16900000000000001</c:v>
                </c:pt>
                <c:pt idx="170">
                  <c:v>0.17</c:v>
                </c:pt>
                <c:pt idx="171">
                  <c:v>0.17100000000000001</c:v>
                </c:pt>
                <c:pt idx="172">
                  <c:v>0.17199999999999999</c:v>
                </c:pt>
                <c:pt idx="173">
                  <c:v>0.17299999999999999</c:v>
                </c:pt>
                <c:pt idx="174">
                  <c:v>0.17399999999999999</c:v>
                </c:pt>
                <c:pt idx="175">
                  <c:v>0.17499999999999999</c:v>
                </c:pt>
                <c:pt idx="176">
                  <c:v>0.17599999999999999</c:v>
                </c:pt>
                <c:pt idx="177">
                  <c:v>0.17699999999999999</c:v>
                </c:pt>
                <c:pt idx="178">
                  <c:v>0.17799999999999999</c:v>
                </c:pt>
                <c:pt idx="179">
                  <c:v>0.17899999999999999</c:v>
                </c:pt>
                <c:pt idx="180">
                  <c:v>0.18</c:v>
                </c:pt>
                <c:pt idx="181">
                  <c:v>0.18099999999999999</c:v>
                </c:pt>
                <c:pt idx="182">
                  <c:v>0.182</c:v>
                </c:pt>
                <c:pt idx="183">
                  <c:v>0.183</c:v>
                </c:pt>
                <c:pt idx="184">
                  <c:v>0.184</c:v>
                </c:pt>
                <c:pt idx="185">
                  <c:v>0.185</c:v>
                </c:pt>
                <c:pt idx="186">
                  <c:v>0.186</c:v>
                </c:pt>
                <c:pt idx="187">
                  <c:v>0.187</c:v>
                </c:pt>
                <c:pt idx="188">
                  <c:v>0.188</c:v>
                </c:pt>
                <c:pt idx="189">
                  <c:v>0.189</c:v>
                </c:pt>
                <c:pt idx="190">
                  <c:v>0.19</c:v>
                </c:pt>
                <c:pt idx="191">
                  <c:v>0.191</c:v>
                </c:pt>
                <c:pt idx="192">
                  <c:v>0.192</c:v>
                </c:pt>
                <c:pt idx="193">
                  <c:v>0.193</c:v>
                </c:pt>
                <c:pt idx="194">
                  <c:v>0.19400000000000001</c:v>
                </c:pt>
                <c:pt idx="195">
                  <c:v>0.19500000000000001</c:v>
                </c:pt>
                <c:pt idx="196">
                  <c:v>0.19600000000000001</c:v>
                </c:pt>
                <c:pt idx="197">
                  <c:v>0.19700000000000001</c:v>
                </c:pt>
                <c:pt idx="198">
                  <c:v>0.19800000000000001</c:v>
                </c:pt>
                <c:pt idx="199">
                  <c:v>0.19900000000000001</c:v>
                </c:pt>
                <c:pt idx="200">
                  <c:v>0.2</c:v>
                </c:pt>
                <c:pt idx="201">
                  <c:v>0.20100000000000001</c:v>
                </c:pt>
                <c:pt idx="202">
                  <c:v>0.20200000000000001</c:v>
                </c:pt>
                <c:pt idx="203">
                  <c:v>0.20300000000000001</c:v>
                </c:pt>
                <c:pt idx="204">
                  <c:v>0.20399999999999999</c:v>
                </c:pt>
                <c:pt idx="205">
                  <c:v>0.20499999999999999</c:v>
                </c:pt>
                <c:pt idx="206">
                  <c:v>0.20599999999999999</c:v>
                </c:pt>
                <c:pt idx="207">
                  <c:v>0.20699999999999999</c:v>
                </c:pt>
                <c:pt idx="208">
                  <c:v>0.20799999999999999</c:v>
                </c:pt>
                <c:pt idx="209">
                  <c:v>0.20899999999999999</c:v>
                </c:pt>
                <c:pt idx="210">
                  <c:v>0.21</c:v>
                </c:pt>
                <c:pt idx="211">
                  <c:v>0.21099999999999999</c:v>
                </c:pt>
                <c:pt idx="212">
                  <c:v>0.21199999999999999</c:v>
                </c:pt>
                <c:pt idx="213">
                  <c:v>0.21299999999999999</c:v>
                </c:pt>
                <c:pt idx="214">
                  <c:v>0.214</c:v>
                </c:pt>
                <c:pt idx="215">
                  <c:v>0.215</c:v>
                </c:pt>
                <c:pt idx="216">
                  <c:v>0.216</c:v>
                </c:pt>
                <c:pt idx="217">
                  <c:v>0.217</c:v>
                </c:pt>
                <c:pt idx="218">
                  <c:v>0.218</c:v>
                </c:pt>
                <c:pt idx="219">
                  <c:v>0.219</c:v>
                </c:pt>
                <c:pt idx="220">
                  <c:v>0.22</c:v>
                </c:pt>
                <c:pt idx="221">
                  <c:v>0.221</c:v>
                </c:pt>
                <c:pt idx="222">
                  <c:v>0.222</c:v>
                </c:pt>
                <c:pt idx="223">
                  <c:v>0.223</c:v>
                </c:pt>
                <c:pt idx="224">
                  <c:v>0.224</c:v>
                </c:pt>
                <c:pt idx="225">
                  <c:v>0.22500000000000001</c:v>
                </c:pt>
                <c:pt idx="226">
                  <c:v>0.22600000000000001</c:v>
                </c:pt>
                <c:pt idx="227">
                  <c:v>0.22700000000000001</c:v>
                </c:pt>
                <c:pt idx="228">
                  <c:v>0.22800000000000001</c:v>
                </c:pt>
                <c:pt idx="229">
                  <c:v>0.22900000000000001</c:v>
                </c:pt>
                <c:pt idx="230">
                  <c:v>0.23</c:v>
                </c:pt>
                <c:pt idx="231">
                  <c:v>0.23100000000000001</c:v>
                </c:pt>
                <c:pt idx="232">
                  <c:v>0.23200000000000001</c:v>
                </c:pt>
                <c:pt idx="233">
                  <c:v>0.23300000000000001</c:v>
                </c:pt>
                <c:pt idx="234">
                  <c:v>0.23400000000000001</c:v>
                </c:pt>
                <c:pt idx="235">
                  <c:v>0.23499999999999999</c:v>
                </c:pt>
                <c:pt idx="236">
                  <c:v>0.23599999999999999</c:v>
                </c:pt>
                <c:pt idx="237">
                  <c:v>0.23699999999999999</c:v>
                </c:pt>
                <c:pt idx="238">
                  <c:v>0.23799999999999999</c:v>
                </c:pt>
                <c:pt idx="239">
                  <c:v>0.23899999999999999</c:v>
                </c:pt>
                <c:pt idx="240">
                  <c:v>0.24</c:v>
                </c:pt>
                <c:pt idx="241">
                  <c:v>0.24099999999999999</c:v>
                </c:pt>
                <c:pt idx="242">
                  <c:v>0.24199999999999999</c:v>
                </c:pt>
                <c:pt idx="243">
                  <c:v>0.24299999999999999</c:v>
                </c:pt>
                <c:pt idx="244">
                  <c:v>0.24399999999999999</c:v>
                </c:pt>
                <c:pt idx="245">
                  <c:v>0.245</c:v>
                </c:pt>
                <c:pt idx="246">
                  <c:v>0.246</c:v>
                </c:pt>
                <c:pt idx="247">
                  <c:v>0.247</c:v>
                </c:pt>
                <c:pt idx="248">
                  <c:v>0.248</c:v>
                </c:pt>
                <c:pt idx="249">
                  <c:v>0.249</c:v>
                </c:pt>
                <c:pt idx="250">
                  <c:v>0.25</c:v>
                </c:pt>
                <c:pt idx="251">
                  <c:v>0.251</c:v>
                </c:pt>
                <c:pt idx="252">
                  <c:v>0.252</c:v>
                </c:pt>
                <c:pt idx="253">
                  <c:v>0.253</c:v>
                </c:pt>
                <c:pt idx="254">
                  <c:v>0.254</c:v>
                </c:pt>
                <c:pt idx="255">
                  <c:v>0.255</c:v>
                </c:pt>
                <c:pt idx="256">
                  <c:v>0.25600000000000001</c:v>
                </c:pt>
                <c:pt idx="257">
                  <c:v>0.25700000000000001</c:v>
                </c:pt>
                <c:pt idx="258">
                  <c:v>0.25800000000000001</c:v>
                </c:pt>
                <c:pt idx="259">
                  <c:v>0.25900000000000001</c:v>
                </c:pt>
                <c:pt idx="260">
                  <c:v>0.26</c:v>
                </c:pt>
                <c:pt idx="261">
                  <c:v>0.26100000000000001</c:v>
                </c:pt>
                <c:pt idx="262">
                  <c:v>0.26200000000000001</c:v>
                </c:pt>
                <c:pt idx="263">
                  <c:v>0.26300000000000001</c:v>
                </c:pt>
                <c:pt idx="264">
                  <c:v>0.26400000000000001</c:v>
                </c:pt>
                <c:pt idx="265">
                  <c:v>0.26500000000000001</c:v>
                </c:pt>
                <c:pt idx="266">
                  <c:v>0.26600000000000001</c:v>
                </c:pt>
                <c:pt idx="267">
                  <c:v>0.26700000000000002</c:v>
                </c:pt>
                <c:pt idx="268">
                  <c:v>0.26800000000000002</c:v>
                </c:pt>
                <c:pt idx="269">
                  <c:v>0.26900000000000002</c:v>
                </c:pt>
                <c:pt idx="270">
                  <c:v>0.27</c:v>
                </c:pt>
                <c:pt idx="271">
                  <c:v>0.27100000000000002</c:v>
                </c:pt>
                <c:pt idx="272">
                  <c:v>0.27200000000000002</c:v>
                </c:pt>
                <c:pt idx="273">
                  <c:v>0.27300000000000002</c:v>
                </c:pt>
                <c:pt idx="274">
                  <c:v>0.27400000000000002</c:v>
                </c:pt>
                <c:pt idx="275">
                  <c:v>0.27500000000000002</c:v>
                </c:pt>
                <c:pt idx="276">
                  <c:v>0.27600000000000002</c:v>
                </c:pt>
                <c:pt idx="277">
                  <c:v>0.27700000000000002</c:v>
                </c:pt>
                <c:pt idx="278">
                  <c:v>0.27800000000000002</c:v>
                </c:pt>
                <c:pt idx="279">
                  <c:v>0.27900000000000003</c:v>
                </c:pt>
                <c:pt idx="280">
                  <c:v>0.28000000000000003</c:v>
                </c:pt>
                <c:pt idx="281">
                  <c:v>0.28100000000000003</c:v>
                </c:pt>
                <c:pt idx="282">
                  <c:v>0.28199999999999997</c:v>
                </c:pt>
                <c:pt idx="283">
                  <c:v>0.28299999999999997</c:v>
                </c:pt>
                <c:pt idx="284">
                  <c:v>0.28399999999999997</c:v>
                </c:pt>
                <c:pt idx="285">
                  <c:v>0.28499999999999998</c:v>
                </c:pt>
                <c:pt idx="286">
                  <c:v>0.28599999999999998</c:v>
                </c:pt>
                <c:pt idx="287">
                  <c:v>0.28699999999999998</c:v>
                </c:pt>
                <c:pt idx="288">
                  <c:v>0.28799999999999998</c:v>
                </c:pt>
                <c:pt idx="289">
                  <c:v>0.28899999999999998</c:v>
                </c:pt>
                <c:pt idx="290">
                  <c:v>0.28999999999999998</c:v>
                </c:pt>
                <c:pt idx="291">
                  <c:v>0.29099999999999998</c:v>
                </c:pt>
                <c:pt idx="292">
                  <c:v>0.29199999999999998</c:v>
                </c:pt>
                <c:pt idx="293">
                  <c:v>0.29299999999999998</c:v>
                </c:pt>
                <c:pt idx="294">
                  <c:v>0.29399999999999998</c:v>
                </c:pt>
                <c:pt idx="295">
                  <c:v>0.29499999999999998</c:v>
                </c:pt>
                <c:pt idx="296">
                  <c:v>0.29599999999999999</c:v>
                </c:pt>
                <c:pt idx="297">
                  <c:v>0.29699999999999999</c:v>
                </c:pt>
                <c:pt idx="298">
                  <c:v>0.29799999999999999</c:v>
                </c:pt>
                <c:pt idx="299">
                  <c:v>0.29899999999999999</c:v>
                </c:pt>
                <c:pt idx="300">
                  <c:v>0.3</c:v>
                </c:pt>
                <c:pt idx="301">
                  <c:v>0.30099999999999999</c:v>
                </c:pt>
                <c:pt idx="302">
                  <c:v>0.30199999999999999</c:v>
                </c:pt>
                <c:pt idx="303">
                  <c:v>0.30299999999999999</c:v>
                </c:pt>
                <c:pt idx="304">
                  <c:v>0.30399999999999999</c:v>
                </c:pt>
                <c:pt idx="305">
                  <c:v>0.30499999999999999</c:v>
                </c:pt>
                <c:pt idx="306">
                  <c:v>0.30599999999999999</c:v>
                </c:pt>
                <c:pt idx="307">
                  <c:v>0.307</c:v>
                </c:pt>
                <c:pt idx="308">
                  <c:v>0.308</c:v>
                </c:pt>
                <c:pt idx="309">
                  <c:v>0.309</c:v>
                </c:pt>
                <c:pt idx="310">
                  <c:v>0.31</c:v>
                </c:pt>
                <c:pt idx="311">
                  <c:v>0.311</c:v>
                </c:pt>
                <c:pt idx="312">
                  <c:v>0.312</c:v>
                </c:pt>
                <c:pt idx="313">
                  <c:v>0.313</c:v>
                </c:pt>
                <c:pt idx="314">
                  <c:v>0.314</c:v>
                </c:pt>
                <c:pt idx="315">
                  <c:v>0.315</c:v>
                </c:pt>
                <c:pt idx="316">
                  <c:v>0.316</c:v>
                </c:pt>
                <c:pt idx="317">
                  <c:v>0.317</c:v>
                </c:pt>
                <c:pt idx="318">
                  <c:v>0.318</c:v>
                </c:pt>
                <c:pt idx="319">
                  <c:v>0.31900000000000001</c:v>
                </c:pt>
                <c:pt idx="320">
                  <c:v>0.32</c:v>
                </c:pt>
                <c:pt idx="321">
                  <c:v>0.32100000000000001</c:v>
                </c:pt>
                <c:pt idx="322">
                  <c:v>0.32200000000000001</c:v>
                </c:pt>
                <c:pt idx="323">
                  <c:v>0.32300000000000001</c:v>
                </c:pt>
                <c:pt idx="324">
                  <c:v>0.32400000000000001</c:v>
                </c:pt>
                <c:pt idx="325">
                  <c:v>0.32500000000000001</c:v>
                </c:pt>
                <c:pt idx="326">
                  <c:v>0.32600000000000001</c:v>
                </c:pt>
                <c:pt idx="327">
                  <c:v>0.32700000000000001</c:v>
                </c:pt>
                <c:pt idx="328">
                  <c:v>0.32800000000000001</c:v>
                </c:pt>
                <c:pt idx="329">
                  <c:v>0.32900000000000001</c:v>
                </c:pt>
                <c:pt idx="330">
                  <c:v>0.33</c:v>
                </c:pt>
                <c:pt idx="331">
                  <c:v>0.33100000000000002</c:v>
                </c:pt>
                <c:pt idx="332">
                  <c:v>0.33200000000000002</c:v>
                </c:pt>
                <c:pt idx="333">
                  <c:v>0.33300000000000002</c:v>
                </c:pt>
                <c:pt idx="334">
                  <c:v>0.33400000000000002</c:v>
                </c:pt>
                <c:pt idx="335">
                  <c:v>0.33500000000000002</c:v>
                </c:pt>
                <c:pt idx="336">
                  <c:v>0.33600000000000002</c:v>
                </c:pt>
                <c:pt idx="337">
                  <c:v>0.33700000000000002</c:v>
                </c:pt>
                <c:pt idx="338">
                  <c:v>0.33800000000000002</c:v>
                </c:pt>
                <c:pt idx="339">
                  <c:v>0.33900000000000002</c:v>
                </c:pt>
                <c:pt idx="340">
                  <c:v>0.34</c:v>
                </c:pt>
                <c:pt idx="341">
                  <c:v>0.34100000000000003</c:v>
                </c:pt>
                <c:pt idx="342">
                  <c:v>0.34200000000000003</c:v>
                </c:pt>
                <c:pt idx="343">
                  <c:v>0.34300000000000003</c:v>
                </c:pt>
                <c:pt idx="344">
                  <c:v>0.34399999999999997</c:v>
                </c:pt>
                <c:pt idx="345">
                  <c:v>0.34499999999999997</c:v>
                </c:pt>
                <c:pt idx="346">
                  <c:v>0.34599999999999997</c:v>
                </c:pt>
                <c:pt idx="347">
                  <c:v>0.34699999999999998</c:v>
                </c:pt>
                <c:pt idx="348">
                  <c:v>0.34799999999999998</c:v>
                </c:pt>
                <c:pt idx="349">
                  <c:v>0.34899999999999998</c:v>
                </c:pt>
                <c:pt idx="350">
                  <c:v>0.35</c:v>
                </c:pt>
                <c:pt idx="351">
                  <c:v>0.35099999999999998</c:v>
                </c:pt>
                <c:pt idx="352">
                  <c:v>0.35199999999999998</c:v>
                </c:pt>
                <c:pt idx="353">
                  <c:v>0.35299999999999998</c:v>
                </c:pt>
                <c:pt idx="354">
                  <c:v>0.35399999999999998</c:v>
                </c:pt>
                <c:pt idx="355">
                  <c:v>0.35499999999999998</c:v>
                </c:pt>
                <c:pt idx="356">
                  <c:v>0.35599999999999998</c:v>
                </c:pt>
                <c:pt idx="357">
                  <c:v>0.35699999999999998</c:v>
                </c:pt>
                <c:pt idx="358">
                  <c:v>0.35799999999999998</c:v>
                </c:pt>
                <c:pt idx="359">
                  <c:v>0.35899999999999999</c:v>
                </c:pt>
                <c:pt idx="360">
                  <c:v>0.36</c:v>
                </c:pt>
                <c:pt idx="361">
                  <c:v>0.36099999999999999</c:v>
                </c:pt>
                <c:pt idx="362">
                  <c:v>0.36199999999999999</c:v>
                </c:pt>
                <c:pt idx="363">
                  <c:v>0.36299999999999999</c:v>
                </c:pt>
                <c:pt idx="364">
                  <c:v>0.36399999999999999</c:v>
                </c:pt>
                <c:pt idx="365">
                  <c:v>0.36499999999999999</c:v>
                </c:pt>
                <c:pt idx="366">
                  <c:v>0.36599999999999999</c:v>
                </c:pt>
                <c:pt idx="367">
                  <c:v>0.36699999999999999</c:v>
                </c:pt>
                <c:pt idx="368">
                  <c:v>0.36799999999999999</c:v>
                </c:pt>
                <c:pt idx="369">
                  <c:v>0.36899999999999999</c:v>
                </c:pt>
                <c:pt idx="370">
                  <c:v>0.37</c:v>
                </c:pt>
                <c:pt idx="371">
                  <c:v>0.371</c:v>
                </c:pt>
                <c:pt idx="372">
                  <c:v>0.372</c:v>
                </c:pt>
                <c:pt idx="373">
                  <c:v>0.373</c:v>
                </c:pt>
                <c:pt idx="374">
                  <c:v>0.374</c:v>
                </c:pt>
                <c:pt idx="375">
                  <c:v>0.375</c:v>
                </c:pt>
                <c:pt idx="376">
                  <c:v>0.376</c:v>
                </c:pt>
                <c:pt idx="377">
                  <c:v>0.377</c:v>
                </c:pt>
                <c:pt idx="378">
                  <c:v>0.378</c:v>
                </c:pt>
                <c:pt idx="379">
                  <c:v>0.379</c:v>
                </c:pt>
                <c:pt idx="380">
                  <c:v>0.38</c:v>
                </c:pt>
                <c:pt idx="381">
                  <c:v>0.38100000000000001</c:v>
                </c:pt>
                <c:pt idx="382">
                  <c:v>0.38200000000000001</c:v>
                </c:pt>
                <c:pt idx="383">
                  <c:v>0.38300000000000001</c:v>
                </c:pt>
                <c:pt idx="384">
                  <c:v>0.38400000000000001</c:v>
                </c:pt>
                <c:pt idx="385">
                  <c:v>0.38500000000000001</c:v>
                </c:pt>
                <c:pt idx="386">
                  <c:v>0.38600000000000001</c:v>
                </c:pt>
                <c:pt idx="387">
                  <c:v>0.38700000000000001</c:v>
                </c:pt>
                <c:pt idx="388">
                  <c:v>0.38800000000000001</c:v>
                </c:pt>
                <c:pt idx="389">
                  <c:v>0.38900000000000001</c:v>
                </c:pt>
                <c:pt idx="390">
                  <c:v>0.39</c:v>
                </c:pt>
                <c:pt idx="391">
                  <c:v>0.39100000000000001</c:v>
                </c:pt>
                <c:pt idx="392">
                  <c:v>0.39200000000000002</c:v>
                </c:pt>
                <c:pt idx="393">
                  <c:v>0.39300000000000002</c:v>
                </c:pt>
                <c:pt idx="394">
                  <c:v>0.39400000000000002</c:v>
                </c:pt>
                <c:pt idx="395">
                  <c:v>0.39500000000000002</c:v>
                </c:pt>
                <c:pt idx="396">
                  <c:v>0.39600000000000002</c:v>
                </c:pt>
                <c:pt idx="397">
                  <c:v>0.39700000000000002</c:v>
                </c:pt>
                <c:pt idx="398">
                  <c:v>0.39800000000000002</c:v>
                </c:pt>
                <c:pt idx="399">
                  <c:v>0.39900000000000002</c:v>
                </c:pt>
                <c:pt idx="400">
                  <c:v>0.4</c:v>
                </c:pt>
                <c:pt idx="401">
                  <c:v>0.40100000000000002</c:v>
                </c:pt>
                <c:pt idx="402">
                  <c:v>0.40200000000000002</c:v>
                </c:pt>
                <c:pt idx="403">
                  <c:v>0.40300000000000002</c:v>
                </c:pt>
                <c:pt idx="404">
                  <c:v>0.40400000000000003</c:v>
                </c:pt>
                <c:pt idx="405">
                  <c:v>0.40500000000000003</c:v>
                </c:pt>
                <c:pt idx="406">
                  <c:v>0.40600000000000003</c:v>
                </c:pt>
                <c:pt idx="407">
                  <c:v>0.40699999999999997</c:v>
                </c:pt>
                <c:pt idx="408">
                  <c:v>0.40799999999999997</c:v>
                </c:pt>
                <c:pt idx="409">
                  <c:v>0.40899999999999997</c:v>
                </c:pt>
                <c:pt idx="410">
                  <c:v>0.41</c:v>
                </c:pt>
                <c:pt idx="411">
                  <c:v>0.41099999999999998</c:v>
                </c:pt>
                <c:pt idx="412">
                  <c:v>0.41199999999999998</c:v>
                </c:pt>
                <c:pt idx="413">
                  <c:v>0.41299999999999998</c:v>
                </c:pt>
                <c:pt idx="414">
                  <c:v>0.41399999999999998</c:v>
                </c:pt>
                <c:pt idx="415">
                  <c:v>0.41499999999999998</c:v>
                </c:pt>
                <c:pt idx="416">
                  <c:v>0.41599999999999998</c:v>
                </c:pt>
                <c:pt idx="417">
                  <c:v>0.41699999999999998</c:v>
                </c:pt>
                <c:pt idx="418">
                  <c:v>0.41799999999999998</c:v>
                </c:pt>
                <c:pt idx="419">
                  <c:v>0.41899999999999998</c:v>
                </c:pt>
                <c:pt idx="420">
                  <c:v>0.42</c:v>
                </c:pt>
                <c:pt idx="421">
                  <c:v>0.42099999999999999</c:v>
                </c:pt>
                <c:pt idx="422">
                  <c:v>0.42199999999999999</c:v>
                </c:pt>
                <c:pt idx="423">
                  <c:v>0.42299999999999999</c:v>
                </c:pt>
                <c:pt idx="424">
                  <c:v>0.42399999999999999</c:v>
                </c:pt>
                <c:pt idx="425">
                  <c:v>0.42499999999999999</c:v>
                </c:pt>
                <c:pt idx="426">
                  <c:v>0.42599999999999999</c:v>
                </c:pt>
                <c:pt idx="427">
                  <c:v>0.42699999999999999</c:v>
                </c:pt>
                <c:pt idx="428">
                  <c:v>0.42799999999999999</c:v>
                </c:pt>
                <c:pt idx="429">
                  <c:v>0.42899999999999999</c:v>
                </c:pt>
                <c:pt idx="430">
                  <c:v>0.43</c:v>
                </c:pt>
                <c:pt idx="431">
                  <c:v>0.43099999999999999</c:v>
                </c:pt>
                <c:pt idx="432">
                  <c:v>0.432</c:v>
                </c:pt>
                <c:pt idx="433">
                  <c:v>0.433</c:v>
                </c:pt>
                <c:pt idx="434">
                  <c:v>0.434</c:v>
                </c:pt>
                <c:pt idx="435">
                  <c:v>0.435</c:v>
                </c:pt>
                <c:pt idx="436">
                  <c:v>0.436</c:v>
                </c:pt>
                <c:pt idx="437">
                  <c:v>0.437</c:v>
                </c:pt>
                <c:pt idx="438">
                  <c:v>0.438</c:v>
                </c:pt>
                <c:pt idx="439">
                  <c:v>0.439</c:v>
                </c:pt>
                <c:pt idx="440">
                  <c:v>0.44</c:v>
                </c:pt>
                <c:pt idx="441">
                  <c:v>0.441</c:v>
                </c:pt>
                <c:pt idx="442">
                  <c:v>0.442</c:v>
                </c:pt>
                <c:pt idx="443">
                  <c:v>0.443</c:v>
                </c:pt>
                <c:pt idx="444">
                  <c:v>0.44400000000000001</c:v>
                </c:pt>
                <c:pt idx="445">
                  <c:v>0.44500000000000001</c:v>
                </c:pt>
                <c:pt idx="446">
                  <c:v>0.44600000000000001</c:v>
                </c:pt>
                <c:pt idx="447">
                  <c:v>0.44700000000000001</c:v>
                </c:pt>
                <c:pt idx="448">
                  <c:v>0.44800000000000001</c:v>
                </c:pt>
                <c:pt idx="449">
                  <c:v>0.44900000000000001</c:v>
                </c:pt>
                <c:pt idx="450">
                  <c:v>0.45</c:v>
                </c:pt>
                <c:pt idx="451">
                  <c:v>0.45100000000000001</c:v>
                </c:pt>
                <c:pt idx="452">
                  <c:v>0.45200000000000001</c:v>
                </c:pt>
                <c:pt idx="453">
                  <c:v>0.45300000000000001</c:v>
                </c:pt>
                <c:pt idx="454">
                  <c:v>0.45400000000000001</c:v>
                </c:pt>
                <c:pt idx="455">
                  <c:v>0.45500000000000002</c:v>
                </c:pt>
                <c:pt idx="456">
                  <c:v>0.45600000000000002</c:v>
                </c:pt>
                <c:pt idx="457">
                  <c:v>0.45700000000000002</c:v>
                </c:pt>
                <c:pt idx="458">
                  <c:v>0.45800000000000002</c:v>
                </c:pt>
                <c:pt idx="459">
                  <c:v>0.45900000000000002</c:v>
                </c:pt>
                <c:pt idx="460">
                  <c:v>0.46</c:v>
                </c:pt>
                <c:pt idx="461">
                  <c:v>0.46100000000000002</c:v>
                </c:pt>
                <c:pt idx="462">
                  <c:v>0.46200000000000002</c:v>
                </c:pt>
                <c:pt idx="463">
                  <c:v>0.46300000000000002</c:v>
                </c:pt>
                <c:pt idx="464">
                  <c:v>0.46400000000000002</c:v>
                </c:pt>
                <c:pt idx="465">
                  <c:v>0.46500000000000002</c:v>
                </c:pt>
                <c:pt idx="466">
                  <c:v>0.46600000000000003</c:v>
                </c:pt>
                <c:pt idx="467">
                  <c:v>0.46700000000000003</c:v>
                </c:pt>
                <c:pt idx="468">
                  <c:v>0.46800000000000003</c:v>
                </c:pt>
                <c:pt idx="469">
                  <c:v>0.46899999999999997</c:v>
                </c:pt>
                <c:pt idx="470">
                  <c:v>0.47</c:v>
                </c:pt>
                <c:pt idx="471">
                  <c:v>0.47099999999999997</c:v>
                </c:pt>
                <c:pt idx="472">
                  <c:v>0.47199999999999998</c:v>
                </c:pt>
                <c:pt idx="473">
                  <c:v>0.47299999999999998</c:v>
                </c:pt>
                <c:pt idx="474">
                  <c:v>0.47399999999999998</c:v>
                </c:pt>
                <c:pt idx="475">
                  <c:v>0.47499999999999998</c:v>
                </c:pt>
                <c:pt idx="476">
                  <c:v>0.47599999999999998</c:v>
                </c:pt>
                <c:pt idx="477">
                  <c:v>0.47699999999999998</c:v>
                </c:pt>
                <c:pt idx="478">
                  <c:v>0.47799999999999998</c:v>
                </c:pt>
                <c:pt idx="479">
                  <c:v>0.47899999999999998</c:v>
                </c:pt>
                <c:pt idx="480">
                  <c:v>0.48</c:v>
                </c:pt>
                <c:pt idx="481">
                  <c:v>0.48099999999999998</c:v>
                </c:pt>
                <c:pt idx="482">
                  <c:v>0.48199999999999998</c:v>
                </c:pt>
                <c:pt idx="483">
                  <c:v>0.48299999999999998</c:v>
                </c:pt>
                <c:pt idx="484">
                  <c:v>0.48399999999999999</c:v>
                </c:pt>
                <c:pt idx="485">
                  <c:v>0.48499999999999999</c:v>
                </c:pt>
                <c:pt idx="486">
                  <c:v>0.48599999999999999</c:v>
                </c:pt>
                <c:pt idx="487">
                  <c:v>0.48699999999999999</c:v>
                </c:pt>
                <c:pt idx="488">
                  <c:v>0.48799999999999999</c:v>
                </c:pt>
                <c:pt idx="489">
                  <c:v>0.48899999999999999</c:v>
                </c:pt>
                <c:pt idx="490">
                  <c:v>0.49</c:v>
                </c:pt>
                <c:pt idx="491">
                  <c:v>0.49099999999999999</c:v>
                </c:pt>
                <c:pt idx="492">
                  <c:v>0.49199999999999999</c:v>
                </c:pt>
                <c:pt idx="493">
                  <c:v>0.49299999999999999</c:v>
                </c:pt>
                <c:pt idx="494">
                  <c:v>0.49399999999999999</c:v>
                </c:pt>
                <c:pt idx="495">
                  <c:v>0.495</c:v>
                </c:pt>
                <c:pt idx="496">
                  <c:v>0.496</c:v>
                </c:pt>
                <c:pt idx="497">
                  <c:v>0.497</c:v>
                </c:pt>
                <c:pt idx="498">
                  <c:v>0.498</c:v>
                </c:pt>
                <c:pt idx="499">
                  <c:v>0.499</c:v>
                </c:pt>
                <c:pt idx="500">
                  <c:v>0.5</c:v>
                </c:pt>
                <c:pt idx="501">
                  <c:v>0.501</c:v>
                </c:pt>
                <c:pt idx="502">
                  <c:v>0.502</c:v>
                </c:pt>
                <c:pt idx="503">
                  <c:v>0.503</c:v>
                </c:pt>
                <c:pt idx="504">
                  <c:v>0.504</c:v>
                </c:pt>
                <c:pt idx="505">
                  <c:v>0.505</c:v>
                </c:pt>
                <c:pt idx="506">
                  <c:v>0.50600000000000001</c:v>
                </c:pt>
                <c:pt idx="507">
                  <c:v>0.50700000000000001</c:v>
                </c:pt>
                <c:pt idx="508">
                  <c:v>0.50800000000000001</c:v>
                </c:pt>
                <c:pt idx="509">
                  <c:v>0.50900000000000001</c:v>
                </c:pt>
                <c:pt idx="510">
                  <c:v>0.51</c:v>
                </c:pt>
                <c:pt idx="511">
                  <c:v>0.51100000000000001</c:v>
                </c:pt>
                <c:pt idx="512">
                  <c:v>0.51200000000000001</c:v>
                </c:pt>
                <c:pt idx="513">
                  <c:v>0.51300000000000001</c:v>
                </c:pt>
                <c:pt idx="514">
                  <c:v>0.51400000000000001</c:v>
                </c:pt>
                <c:pt idx="515">
                  <c:v>0.51500000000000001</c:v>
                </c:pt>
                <c:pt idx="516">
                  <c:v>0.51600000000000001</c:v>
                </c:pt>
                <c:pt idx="517">
                  <c:v>0.51700000000000002</c:v>
                </c:pt>
                <c:pt idx="518">
                  <c:v>0.51800000000000002</c:v>
                </c:pt>
                <c:pt idx="519">
                  <c:v>0.51900000000000002</c:v>
                </c:pt>
                <c:pt idx="520">
                  <c:v>0.52</c:v>
                </c:pt>
                <c:pt idx="521">
                  <c:v>0.52100000000000002</c:v>
                </c:pt>
                <c:pt idx="522">
                  <c:v>0.52200000000000002</c:v>
                </c:pt>
                <c:pt idx="523">
                  <c:v>0.52300000000000002</c:v>
                </c:pt>
                <c:pt idx="524">
                  <c:v>0.52400000000000002</c:v>
                </c:pt>
                <c:pt idx="525">
                  <c:v>0.52500000000000002</c:v>
                </c:pt>
                <c:pt idx="526">
                  <c:v>0.52600000000000002</c:v>
                </c:pt>
                <c:pt idx="527">
                  <c:v>0.52700000000000002</c:v>
                </c:pt>
                <c:pt idx="528">
                  <c:v>0.52800000000000002</c:v>
                </c:pt>
                <c:pt idx="529">
                  <c:v>0.52900000000000003</c:v>
                </c:pt>
                <c:pt idx="530">
                  <c:v>0.53</c:v>
                </c:pt>
                <c:pt idx="531">
                  <c:v>0.53100000000000003</c:v>
                </c:pt>
                <c:pt idx="532">
                  <c:v>0.53200000000000003</c:v>
                </c:pt>
                <c:pt idx="533">
                  <c:v>0.53300000000000003</c:v>
                </c:pt>
                <c:pt idx="534">
                  <c:v>0.53400000000000003</c:v>
                </c:pt>
                <c:pt idx="535">
                  <c:v>0.53500000000000003</c:v>
                </c:pt>
                <c:pt idx="536">
                  <c:v>0.53600000000000003</c:v>
                </c:pt>
                <c:pt idx="537">
                  <c:v>0.53700000000000003</c:v>
                </c:pt>
                <c:pt idx="538">
                  <c:v>0.53800000000000003</c:v>
                </c:pt>
                <c:pt idx="539">
                  <c:v>0.53900000000000003</c:v>
                </c:pt>
                <c:pt idx="540">
                  <c:v>0.54</c:v>
                </c:pt>
                <c:pt idx="541">
                  <c:v>0.54100000000000004</c:v>
                </c:pt>
                <c:pt idx="542">
                  <c:v>0.54200000000000004</c:v>
                </c:pt>
                <c:pt idx="543">
                  <c:v>0.54300000000000004</c:v>
                </c:pt>
                <c:pt idx="544">
                  <c:v>0.54400000000000004</c:v>
                </c:pt>
                <c:pt idx="545">
                  <c:v>0.54500000000000004</c:v>
                </c:pt>
                <c:pt idx="546">
                  <c:v>0.54600000000000004</c:v>
                </c:pt>
                <c:pt idx="547">
                  <c:v>0.54700000000000004</c:v>
                </c:pt>
                <c:pt idx="548">
                  <c:v>0.54800000000000004</c:v>
                </c:pt>
                <c:pt idx="549">
                  <c:v>0.54900000000000004</c:v>
                </c:pt>
                <c:pt idx="550">
                  <c:v>0.55000000000000004</c:v>
                </c:pt>
                <c:pt idx="551">
                  <c:v>0.55100000000000005</c:v>
                </c:pt>
                <c:pt idx="552">
                  <c:v>0.55200000000000005</c:v>
                </c:pt>
                <c:pt idx="553">
                  <c:v>0.55300000000000005</c:v>
                </c:pt>
                <c:pt idx="554">
                  <c:v>0.55400000000000005</c:v>
                </c:pt>
                <c:pt idx="555">
                  <c:v>0.55500000000000005</c:v>
                </c:pt>
                <c:pt idx="556">
                  <c:v>0.55600000000000005</c:v>
                </c:pt>
                <c:pt idx="557">
                  <c:v>0.55700000000000005</c:v>
                </c:pt>
                <c:pt idx="558">
                  <c:v>0.55800000000000005</c:v>
                </c:pt>
                <c:pt idx="559">
                  <c:v>0.55900000000000005</c:v>
                </c:pt>
                <c:pt idx="560">
                  <c:v>0.56000000000000005</c:v>
                </c:pt>
                <c:pt idx="561">
                  <c:v>0.56100000000000005</c:v>
                </c:pt>
                <c:pt idx="562">
                  <c:v>0.56200000000000006</c:v>
                </c:pt>
                <c:pt idx="563">
                  <c:v>0.56299999999999994</c:v>
                </c:pt>
                <c:pt idx="564">
                  <c:v>0.56399999999999995</c:v>
                </c:pt>
                <c:pt idx="565">
                  <c:v>0.56499999999999995</c:v>
                </c:pt>
                <c:pt idx="566">
                  <c:v>0.56599999999999995</c:v>
                </c:pt>
                <c:pt idx="567">
                  <c:v>0.56699999999999995</c:v>
                </c:pt>
                <c:pt idx="568">
                  <c:v>0.56799999999999995</c:v>
                </c:pt>
                <c:pt idx="569">
                  <c:v>0.56899999999999995</c:v>
                </c:pt>
                <c:pt idx="570">
                  <c:v>0.56999999999999995</c:v>
                </c:pt>
                <c:pt idx="571">
                  <c:v>0.57099999999999995</c:v>
                </c:pt>
                <c:pt idx="572">
                  <c:v>0.57199999999999995</c:v>
                </c:pt>
                <c:pt idx="573">
                  <c:v>0.57299999999999995</c:v>
                </c:pt>
                <c:pt idx="574">
                  <c:v>0.57399999999999995</c:v>
                </c:pt>
                <c:pt idx="575">
                  <c:v>0.57499999999999996</c:v>
                </c:pt>
                <c:pt idx="576">
                  <c:v>0.57599999999999996</c:v>
                </c:pt>
                <c:pt idx="577">
                  <c:v>0.57699999999999996</c:v>
                </c:pt>
                <c:pt idx="578">
                  <c:v>0.57799999999999996</c:v>
                </c:pt>
                <c:pt idx="579">
                  <c:v>0.57899999999999996</c:v>
                </c:pt>
                <c:pt idx="580">
                  <c:v>0.57999999999999996</c:v>
                </c:pt>
                <c:pt idx="581">
                  <c:v>0.58099999999999996</c:v>
                </c:pt>
                <c:pt idx="582">
                  <c:v>0.58199999999999996</c:v>
                </c:pt>
                <c:pt idx="583">
                  <c:v>0.58299999999999996</c:v>
                </c:pt>
                <c:pt idx="584">
                  <c:v>0.58399999999999996</c:v>
                </c:pt>
                <c:pt idx="585">
                  <c:v>0.58499999999999996</c:v>
                </c:pt>
                <c:pt idx="586">
                  <c:v>0.58599999999999997</c:v>
                </c:pt>
                <c:pt idx="587">
                  <c:v>0.58699999999999997</c:v>
                </c:pt>
                <c:pt idx="588">
                  <c:v>0.58799999999999997</c:v>
                </c:pt>
                <c:pt idx="589">
                  <c:v>0.58899999999999997</c:v>
                </c:pt>
                <c:pt idx="590">
                  <c:v>0.59</c:v>
                </c:pt>
                <c:pt idx="591">
                  <c:v>0.59099999999999997</c:v>
                </c:pt>
                <c:pt idx="592">
                  <c:v>0.59199999999999997</c:v>
                </c:pt>
                <c:pt idx="593">
                  <c:v>0.59299999999999997</c:v>
                </c:pt>
                <c:pt idx="594">
                  <c:v>0.59399999999999997</c:v>
                </c:pt>
                <c:pt idx="595">
                  <c:v>0.59499999999999997</c:v>
                </c:pt>
                <c:pt idx="596">
                  <c:v>0.59599999999999997</c:v>
                </c:pt>
                <c:pt idx="597">
                  <c:v>0.59699999999999998</c:v>
                </c:pt>
                <c:pt idx="598">
                  <c:v>0.59799999999999998</c:v>
                </c:pt>
                <c:pt idx="599">
                  <c:v>0.59899999999999998</c:v>
                </c:pt>
                <c:pt idx="600">
                  <c:v>0.6</c:v>
                </c:pt>
                <c:pt idx="601">
                  <c:v>0.60099999999999998</c:v>
                </c:pt>
                <c:pt idx="602">
                  <c:v>0.60199999999999998</c:v>
                </c:pt>
                <c:pt idx="603">
                  <c:v>0.60299999999999998</c:v>
                </c:pt>
                <c:pt idx="604">
                  <c:v>0.60399999999999998</c:v>
                </c:pt>
                <c:pt idx="605">
                  <c:v>0.60499999999999998</c:v>
                </c:pt>
                <c:pt idx="606">
                  <c:v>0.60599999999999998</c:v>
                </c:pt>
                <c:pt idx="607">
                  <c:v>0.60699999999999998</c:v>
                </c:pt>
                <c:pt idx="608">
                  <c:v>0.60799999999999998</c:v>
                </c:pt>
                <c:pt idx="609">
                  <c:v>0.60899999999999999</c:v>
                </c:pt>
                <c:pt idx="610">
                  <c:v>0.61</c:v>
                </c:pt>
                <c:pt idx="611">
                  <c:v>0.61099999999999999</c:v>
                </c:pt>
                <c:pt idx="612">
                  <c:v>0.61199999999999999</c:v>
                </c:pt>
                <c:pt idx="613">
                  <c:v>0.61299999999999999</c:v>
                </c:pt>
                <c:pt idx="614">
                  <c:v>0.61399999999999999</c:v>
                </c:pt>
                <c:pt idx="615">
                  <c:v>0.61499999999999999</c:v>
                </c:pt>
                <c:pt idx="616">
                  <c:v>0.61599999999999999</c:v>
                </c:pt>
                <c:pt idx="617">
                  <c:v>0.61699999999999999</c:v>
                </c:pt>
                <c:pt idx="618">
                  <c:v>0.61799999999999999</c:v>
                </c:pt>
                <c:pt idx="619">
                  <c:v>0.61899999999999999</c:v>
                </c:pt>
                <c:pt idx="620">
                  <c:v>0.62</c:v>
                </c:pt>
                <c:pt idx="621">
                  <c:v>0.621</c:v>
                </c:pt>
                <c:pt idx="622">
                  <c:v>0.622</c:v>
                </c:pt>
                <c:pt idx="623">
                  <c:v>0.623</c:v>
                </c:pt>
                <c:pt idx="624">
                  <c:v>0.624</c:v>
                </c:pt>
                <c:pt idx="625">
                  <c:v>0.625</c:v>
                </c:pt>
                <c:pt idx="626">
                  <c:v>0.626</c:v>
                </c:pt>
                <c:pt idx="627">
                  <c:v>0.627</c:v>
                </c:pt>
                <c:pt idx="628">
                  <c:v>0.628</c:v>
                </c:pt>
                <c:pt idx="629">
                  <c:v>0.629</c:v>
                </c:pt>
                <c:pt idx="630">
                  <c:v>0.63</c:v>
                </c:pt>
                <c:pt idx="631">
                  <c:v>0.63100000000000001</c:v>
                </c:pt>
                <c:pt idx="632">
                  <c:v>0.63200000000000001</c:v>
                </c:pt>
                <c:pt idx="633">
                  <c:v>0.63300000000000001</c:v>
                </c:pt>
                <c:pt idx="634">
                  <c:v>0.63400000000000001</c:v>
                </c:pt>
                <c:pt idx="635">
                  <c:v>0.63500000000000001</c:v>
                </c:pt>
                <c:pt idx="636">
                  <c:v>0.63600000000000001</c:v>
                </c:pt>
                <c:pt idx="637">
                  <c:v>0.63700000000000001</c:v>
                </c:pt>
                <c:pt idx="638">
                  <c:v>0.63800000000000001</c:v>
                </c:pt>
                <c:pt idx="639">
                  <c:v>0.63900000000000001</c:v>
                </c:pt>
                <c:pt idx="640">
                  <c:v>0.64</c:v>
                </c:pt>
                <c:pt idx="641">
                  <c:v>0.64100000000000001</c:v>
                </c:pt>
                <c:pt idx="642">
                  <c:v>0.64200000000000002</c:v>
                </c:pt>
                <c:pt idx="643">
                  <c:v>0.64300000000000002</c:v>
                </c:pt>
                <c:pt idx="644">
                  <c:v>0.64400000000000002</c:v>
                </c:pt>
                <c:pt idx="645">
                  <c:v>0.64500000000000002</c:v>
                </c:pt>
                <c:pt idx="646">
                  <c:v>0.64600000000000002</c:v>
                </c:pt>
                <c:pt idx="647">
                  <c:v>0.64700000000000002</c:v>
                </c:pt>
                <c:pt idx="648">
                  <c:v>0.64800000000000002</c:v>
                </c:pt>
                <c:pt idx="649">
                  <c:v>0.64900000000000002</c:v>
                </c:pt>
                <c:pt idx="650">
                  <c:v>0.65</c:v>
                </c:pt>
                <c:pt idx="651">
                  <c:v>0.65100000000000002</c:v>
                </c:pt>
                <c:pt idx="652">
                  <c:v>0.65200000000000002</c:v>
                </c:pt>
                <c:pt idx="653">
                  <c:v>0.65300000000000002</c:v>
                </c:pt>
                <c:pt idx="654">
                  <c:v>0.65400000000000003</c:v>
                </c:pt>
                <c:pt idx="655">
                  <c:v>0.65500000000000003</c:v>
                </c:pt>
                <c:pt idx="656">
                  <c:v>0.65600000000000003</c:v>
                </c:pt>
                <c:pt idx="657">
                  <c:v>0.65700000000000003</c:v>
                </c:pt>
                <c:pt idx="658">
                  <c:v>0.65800000000000003</c:v>
                </c:pt>
                <c:pt idx="659">
                  <c:v>0.65900000000000003</c:v>
                </c:pt>
                <c:pt idx="660">
                  <c:v>0.66</c:v>
                </c:pt>
                <c:pt idx="661">
                  <c:v>0.66100000000000003</c:v>
                </c:pt>
                <c:pt idx="662">
                  <c:v>0.66200000000000003</c:v>
                </c:pt>
                <c:pt idx="663">
                  <c:v>0.66300000000000003</c:v>
                </c:pt>
                <c:pt idx="664">
                  <c:v>0.66400000000000003</c:v>
                </c:pt>
                <c:pt idx="665">
                  <c:v>0.66500000000000004</c:v>
                </c:pt>
                <c:pt idx="666">
                  <c:v>0.66600000000000004</c:v>
                </c:pt>
                <c:pt idx="667">
                  <c:v>0.66700000000000004</c:v>
                </c:pt>
                <c:pt idx="668">
                  <c:v>0.66800000000000004</c:v>
                </c:pt>
                <c:pt idx="669">
                  <c:v>0.66900000000000004</c:v>
                </c:pt>
                <c:pt idx="670">
                  <c:v>0.67</c:v>
                </c:pt>
                <c:pt idx="671">
                  <c:v>0.67100000000000004</c:v>
                </c:pt>
                <c:pt idx="672">
                  <c:v>0.67200000000000004</c:v>
                </c:pt>
                <c:pt idx="673">
                  <c:v>0.67300000000000004</c:v>
                </c:pt>
                <c:pt idx="674">
                  <c:v>0.67400000000000004</c:v>
                </c:pt>
                <c:pt idx="675">
                  <c:v>0.67500000000000004</c:v>
                </c:pt>
                <c:pt idx="676">
                  <c:v>0.67600000000000005</c:v>
                </c:pt>
                <c:pt idx="677">
                  <c:v>0.67700000000000005</c:v>
                </c:pt>
                <c:pt idx="678">
                  <c:v>0.67800000000000005</c:v>
                </c:pt>
                <c:pt idx="679">
                  <c:v>0.67900000000000005</c:v>
                </c:pt>
                <c:pt idx="680">
                  <c:v>0.68</c:v>
                </c:pt>
                <c:pt idx="681">
                  <c:v>0.68100000000000005</c:v>
                </c:pt>
                <c:pt idx="682">
                  <c:v>0.68200000000000005</c:v>
                </c:pt>
                <c:pt idx="683">
                  <c:v>0.68300000000000005</c:v>
                </c:pt>
                <c:pt idx="684">
                  <c:v>0.68400000000000005</c:v>
                </c:pt>
                <c:pt idx="685">
                  <c:v>0.68500000000000005</c:v>
                </c:pt>
                <c:pt idx="686">
                  <c:v>0.68600000000000005</c:v>
                </c:pt>
                <c:pt idx="687">
                  <c:v>0.68700000000000006</c:v>
                </c:pt>
                <c:pt idx="688">
                  <c:v>0.68799999999999994</c:v>
                </c:pt>
                <c:pt idx="689">
                  <c:v>0.68899999999999995</c:v>
                </c:pt>
                <c:pt idx="690">
                  <c:v>0.69</c:v>
                </c:pt>
                <c:pt idx="691">
                  <c:v>0.69099999999999995</c:v>
                </c:pt>
                <c:pt idx="692">
                  <c:v>0.69199999999999995</c:v>
                </c:pt>
                <c:pt idx="693">
                  <c:v>0.69299999999999995</c:v>
                </c:pt>
                <c:pt idx="694">
                  <c:v>0.69399999999999995</c:v>
                </c:pt>
                <c:pt idx="695">
                  <c:v>0.69499999999999995</c:v>
                </c:pt>
                <c:pt idx="696">
                  <c:v>0.69599999999999995</c:v>
                </c:pt>
                <c:pt idx="697">
                  <c:v>0.69699999999999995</c:v>
                </c:pt>
                <c:pt idx="698">
                  <c:v>0.69799999999999995</c:v>
                </c:pt>
                <c:pt idx="699">
                  <c:v>0.69899999999999995</c:v>
                </c:pt>
                <c:pt idx="700">
                  <c:v>0.7</c:v>
                </c:pt>
                <c:pt idx="701">
                  <c:v>0.70099999999999996</c:v>
                </c:pt>
                <c:pt idx="702">
                  <c:v>0.70199999999999996</c:v>
                </c:pt>
                <c:pt idx="703">
                  <c:v>0.70299999999999996</c:v>
                </c:pt>
                <c:pt idx="704">
                  <c:v>0.70399999999999996</c:v>
                </c:pt>
                <c:pt idx="705">
                  <c:v>0.70499999999999996</c:v>
                </c:pt>
                <c:pt idx="706">
                  <c:v>0.70599999999999996</c:v>
                </c:pt>
                <c:pt idx="707">
                  <c:v>0.70699999999999996</c:v>
                </c:pt>
                <c:pt idx="708">
                  <c:v>0.70799999999999996</c:v>
                </c:pt>
                <c:pt idx="709">
                  <c:v>0.70899999999999996</c:v>
                </c:pt>
                <c:pt idx="710">
                  <c:v>0.71</c:v>
                </c:pt>
                <c:pt idx="711">
                  <c:v>0.71099999999999997</c:v>
                </c:pt>
                <c:pt idx="712">
                  <c:v>0.71199999999999997</c:v>
                </c:pt>
                <c:pt idx="713">
                  <c:v>0.71299999999999997</c:v>
                </c:pt>
                <c:pt idx="714">
                  <c:v>0.71399999999999997</c:v>
                </c:pt>
                <c:pt idx="715">
                  <c:v>0.71499999999999997</c:v>
                </c:pt>
                <c:pt idx="716">
                  <c:v>0.71599999999999997</c:v>
                </c:pt>
                <c:pt idx="717">
                  <c:v>0.71699999999999997</c:v>
                </c:pt>
                <c:pt idx="718">
                  <c:v>0.71799999999999997</c:v>
                </c:pt>
                <c:pt idx="719">
                  <c:v>0.71899999999999997</c:v>
                </c:pt>
                <c:pt idx="720">
                  <c:v>0.72</c:v>
                </c:pt>
                <c:pt idx="721">
                  <c:v>0.72099999999999997</c:v>
                </c:pt>
                <c:pt idx="722">
                  <c:v>0.72199999999999998</c:v>
                </c:pt>
                <c:pt idx="723">
                  <c:v>0.72299999999999998</c:v>
                </c:pt>
                <c:pt idx="724">
                  <c:v>0.72399999999999998</c:v>
                </c:pt>
                <c:pt idx="725">
                  <c:v>0.72499999999999998</c:v>
                </c:pt>
                <c:pt idx="726">
                  <c:v>0.72599999999999998</c:v>
                </c:pt>
                <c:pt idx="727">
                  <c:v>0.72699999999999998</c:v>
                </c:pt>
                <c:pt idx="728">
                  <c:v>0.72799999999999998</c:v>
                </c:pt>
                <c:pt idx="729">
                  <c:v>0.72899999999999998</c:v>
                </c:pt>
                <c:pt idx="730">
                  <c:v>0.73</c:v>
                </c:pt>
                <c:pt idx="731">
                  <c:v>0.73099999999999998</c:v>
                </c:pt>
                <c:pt idx="732">
                  <c:v>0.73199999999999998</c:v>
                </c:pt>
                <c:pt idx="733">
                  <c:v>0.73299999999999998</c:v>
                </c:pt>
                <c:pt idx="734">
                  <c:v>0.73399999999999999</c:v>
                </c:pt>
                <c:pt idx="735">
                  <c:v>0.73499999999999999</c:v>
                </c:pt>
                <c:pt idx="736">
                  <c:v>0.73599999999999999</c:v>
                </c:pt>
                <c:pt idx="737">
                  <c:v>0.73699999999999999</c:v>
                </c:pt>
                <c:pt idx="738">
                  <c:v>0.73799999999999999</c:v>
                </c:pt>
                <c:pt idx="739">
                  <c:v>0.73899999999999999</c:v>
                </c:pt>
                <c:pt idx="740">
                  <c:v>0.74</c:v>
                </c:pt>
                <c:pt idx="741">
                  <c:v>0.74099999999999999</c:v>
                </c:pt>
                <c:pt idx="742">
                  <c:v>0.74199999999999999</c:v>
                </c:pt>
                <c:pt idx="743">
                  <c:v>0.74299999999999999</c:v>
                </c:pt>
                <c:pt idx="744">
                  <c:v>0.74399999999999999</c:v>
                </c:pt>
                <c:pt idx="745">
                  <c:v>0.745</c:v>
                </c:pt>
                <c:pt idx="746">
                  <c:v>0.746</c:v>
                </c:pt>
                <c:pt idx="747">
                  <c:v>0.747</c:v>
                </c:pt>
                <c:pt idx="748">
                  <c:v>0.748</c:v>
                </c:pt>
                <c:pt idx="749">
                  <c:v>0.749</c:v>
                </c:pt>
                <c:pt idx="750">
                  <c:v>0.75</c:v>
                </c:pt>
                <c:pt idx="751">
                  <c:v>0.751</c:v>
                </c:pt>
                <c:pt idx="752">
                  <c:v>0.752</c:v>
                </c:pt>
                <c:pt idx="753">
                  <c:v>0.753</c:v>
                </c:pt>
                <c:pt idx="754">
                  <c:v>0.754</c:v>
                </c:pt>
                <c:pt idx="755">
                  <c:v>0.755</c:v>
                </c:pt>
                <c:pt idx="756">
                  <c:v>0.75600000000000001</c:v>
                </c:pt>
                <c:pt idx="757">
                  <c:v>0.75700000000000001</c:v>
                </c:pt>
                <c:pt idx="758">
                  <c:v>0.75800000000000001</c:v>
                </c:pt>
                <c:pt idx="759">
                  <c:v>0.75900000000000001</c:v>
                </c:pt>
                <c:pt idx="760">
                  <c:v>0.76</c:v>
                </c:pt>
                <c:pt idx="761">
                  <c:v>0.76100000000000001</c:v>
                </c:pt>
                <c:pt idx="762">
                  <c:v>0.76200000000000001</c:v>
                </c:pt>
                <c:pt idx="763">
                  <c:v>0.76300000000000001</c:v>
                </c:pt>
                <c:pt idx="764">
                  <c:v>0.76400000000000001</c:v>
                </c:pt>
                <c:pt idx="765">
                  <c:v>0.76500000000000001</c:v>
                </c:pt>
                <c:pt idx="766">
                  <c:v>0.76600000000000001</c:v>
                </c:pt>
                <c:pt idx="767">
                  <c:v>0.76700000000000002</c:v>
                </c:pt>
                <c:pt idx="768">
                  <c:v>0.76800000000000002</c:v>
                </c:pt>
                <c:pt idx="769">
                  <c:v>0.76900000000000002</c:v>
                </c:pt>
                <c:pt idx="770">
                  <c:v>0.77</c:v>
                </c:pt>
                <c:pt idx="771">
                  <c:v>0.77100000000000002</c:v>
                </c:pt>
                <c:pt idx="772">
                  <c:v>0.77200000000000002</c:v>
                </c:pt>
                <c:pt idx="773">
                  <c:v>0.77300000000000002</c:v>
                </c:pt>
                <c:pt idx="774">
                  <c:v>0.77400000000000002</c:v>
                </c:pt>
                <c:pt idx="775">
                  <c:v>0.77500000000000002</c:v>
                </c:pt>
                <c:pt idx="776">
                  <c:v>0.77600000000000002</c:v>
                </c:pt>
                <c:pt idx="777">
                  <c:v>0.77700000000000002</c:v>
                </c:pt>
                <c:pt idx="778">
                  <c:v>0.77800000000000002</c:v>
                </c:pt>
                <c:pt idx="779">
                  <c:v>0.77900000000000003</c:v>
                </c:pt>
                <c:pt idx="780">
                  <c:v>0.78</c:v>
                </c:pt>
                <c:pt idx="781">
                  <c:v>0.78100000000000003</c:v>
                </c:pt>
                <c:pt idx="782">
                  <c:v>0.78200000000000003</c:v>
                </c:pt>
                <c:pt idx="783">
                  <c:v>0.78300000000000003</c:v>
                </c:pt>
                <c:pt idx="784">
                  <c:v>0.78400000000000003</c:v>
                </c:pt>
                <c:pt idx="785">
                  <c:v>0.78500000000000003</c:v>
                </c:pt>
                <c:pt idx="786">
                  <c:v>0.78600000000000003</c:v>
                </c:pt>
                <c:pt idx="787">
                  <c:v>0.78700000000000003</c:v>
                </c:pt>
                <c:pt idx="788">
                  <c:v>0.78800000000000003</c:v>
                </c:pt>
                <c:pt idx="789">
                  <c:v>0.78900000000000003</c:v>
                </c:pt>
                <c:pt idx="790">
                  <c:v>0.79</c:v>
                </c:pt>
                <c:pt idx="791">
                  <c:v>0.79100000000000004</c:v>
                </c:pt>
                <c:pt idx="792">
                  <c:v>0.79200000000000004</c:v>
                </c:pt>
                <c:pt idx="793">
                  <c:v>0.79300000000000004</c:v>
                </c:pt>
                <c:pt idx="794">
                  <c:v>0.79400000000000004</c:v>
                </c:pt>
                <c:pt idx="795">
                  <c:v>0.79500000000000004</c:v>
                </c:pt>
                <c:pt idx="796">
                  <c:v>0.79600000000000004</c:v>
                </c:pt>
                <c:pt idx="797">
                  <c:v>0.79700000000000004</c:v>
                </c:pt>
                <c:pt idx="798">
                  <c:v>0.79800000000000004</c:v>
                </c:pt>
                <c:pt idx="799">
                  <c:v>0.79900000000000004</c:v>
                </c:pt>
                <c:pt idx="800">
                  <c:v>0.8</c:v>
                </c:pt>
                <c:pt idx="801">
                  <c:v>0.80100000000000005</c:v>
                </c:pt>
                <c:pt idx="802">
                  <c:v>0.80200000000000005</c:v>
                </c:pt>
                <c:pt idx="803">
                  <c:v>0.80300000000000005</c:v>
                </c:pt>
                <c:pt idx="804">
                  <c:v>0.80400000000000005</c:v>
                </c:pt>
                <c:pt idx="805">
                  <c:v>0.80500000000000005</c:v>
                </c:pt>
                <c:pt idx="806">
                  <c:v>0.80600000000000005</c:v>
                </c:pt>
                <c:pt idx="807">
                  <c:v>0.80700000000000005</c:v>
                </c:pt>
                <c:pt idx="808">
                  <c:v>0.80800000000000005</c:v>
                </c:pt>
                <c:pt idx="809">
                  <c:v>0.80900000000000005</c:v>
                </c:pt>
                <c:pt idx="810">
                  <c:v>0.81</c:v>
                </c:pt>
                <c:pt idx="811">
                  <c:v>0.81100000000000005</c:v>
                </c:pt>
                <c:pt idx="812">
                  <c:v>0.81200000000000006</c:v>
                </c:pt>
                <c:pt idx="813">
                  <c:v>0.81299999999999994</c:v>
                </c:pt>
                <c:pt idx="814">
                  <c:v>0.81399999999999995</c:v>
                </c:pt>
                <c:pt idx="815">
                  <c:v>0.81499999999999995</c:v>
                </c:pt>
                <c:pt idx="816">
                  <c:v>0.81599999999999995</c:v>
                </c:pt>
                <c:pt idx="817">
                  <c:v>0.81699999999999995</c:v>
                </c:pt>
                <c:pt idx="818">
                  <c:v>0.81799999999999995</c:v>
                </c:pt>
                <c:pt idx="819">
                  <c:v>0.81899999999999995</c:v>
                </c:pt>
                <c:pt idx="820">
                  <c:v>0.82</c:v>
                </c:pt>
                <c:pt idx="821">
                  <c:v>0.82099999999999995</c:v>
                </c:pt>
                <c:pt idx="822">
                  <c:v>0.82199999999999995</c:v>
                </c:pt>
                <c:pt idx="823">
                  <c:v>0.82299999999999995</c:v>
                </c:pt>
                <c:pt idx="824">
                  <c:v>0.82399999999999995</c:v>
                </c:pt>
                <c:pt idx="825">
                  <c:v>0.82499999999999996</c:v>
                </c:pt>
                <c:pt idx="826">
                  <c:v>0.82599999999999996</c:v>
                </c:pt>
                <c:pt idx="827">
                  <c:v>0.82699999999999996</c:v>
                </c:pt>
                <c:pt idx="828">
                  <c:v>0.82799999999999996</c:v>
                </c:pt>
                <c:pt idx="829">
                  <c:v>0.82899999999999996</c:v>
                </c:pt>
                <c:pt idx="830">
                  <c:v>0.83</c:v>
                </c:pt>
                <c:pt idx="831">
                  <c:v>0.83099999999999996</c:v>
                </c:pt>
                <c:pt idx="832">
                  <c:v>0.83199999999999996</c:v>
                </c:pt>
                <c:pt idx="833">
                  <c:v>0.83299999999999996</c:v>
                </c:pt>
                <c:pt idx="834">
                  <c:v>0.83399999999999996</c:v>
                </c:pt>
                <c:pt idx="835">
                  <c:v>0.83499999999999996</c:v>
                </c:pt>
                <c:pt idx="836">
                  <c:v>0.83599999999999997</c:v>
                </c:pt>
                <c:pt idx="837">
                  <c:v>0.83699999999999997</c:v>
                </c:pt>
                <c:pt idx="838">
                  <c:v>0.83799999999999997</c:v>
                </c:pt>
                <c:pt idx="839">
                  <c:v>0.83899999999999997</c:v>
                </c:pt>
                <c:pt idx="840">
                  <c:v>0.84</c:v>
                </c:pt>
                <c:pt idx="841">
                  <c:v>0.84099999999999997</c:v>
                </c:pt>
                <c:pt idx="842">
                  <c:v>0.84199999999999997</c:v>
                </c:pt>
                <c:pt idx="843">
                  <c:v>0.84299999999999997</c:v>
                </c:pt>
                <c:pt idx="844">
                  <c:v>0.84399999999999997</c:v>
                </c:pt>
                <c:pt idx="845">
                  <c:v>0.84499999999999997</c:v>
                </c:pt>
                <c:pt idx="846">
                  <c:v>0.84599999999999997</c:v>
                </c:pt>
                <c:pt idx="847">
                  <c:v>0.84699999999999998</c:v>
                </c:pt>
                <c:pt idx="848">
                  <c:v>0.84799999999999998</c:v>
                </c:pt>
                <c:pt idx="849">
                  <c:v>0.84899999999999998</c:v>
                </c:pt>
                <c:pt idx="850">
                  <c:v>0.85</c:v>
                </c:pt>
                <c:pt idx="851">
                  <c:v>0.85099999999999998</c:v>
                </c:pt>
                <c:pt idx="852">
                  <c:v>0.85199999999999998</c:v>
                </c:pt>
                <c:pt idx="853">
                  <c:v>0.85299999999999998</c:v>
                </c:pt>
                <c:pt idx="854">
                  <c:v>0.85399999999999998</c:v>
                </c:pt>
                <c:pt idx="855">
                  <c:v>0.85499999999999998</c:v>
                </c:pt>
                <c:pt idx="856">
                  <c:v>0.85599999999999998</c:v>
                </c:pt>
                <c:pt idx="857">
                  <c:v>0.85699999999999998</c:v>
                </c:pt>
                <c:pt idx="858">
                  <c:v>0.85799999999999998</c:v>
                </c:pt>
                <c:pt idx="859">
                  <c:v>0.85899999999999999</c:v>
                </c:pt>
                <c:pt idx="860">
                  <c:v>0.86</c:v>
                </c:pt>
                <c:pt idx="861">
                  <c:v>0.86099999999999999</c:v>
                </c:pt>
                <c:pt idx="862">
                  <c:v>0.86199999999999999</c:v>
                </c:pt>
                <c:pt idx="863">
                  <c:v>0.86299999999999999</c:v>
                </c:pt>
                <c:pt idx="864">
                  <c:v>0.86399999999999999</c:v>
                </c:pt>
                <c:pt idx="865">
                  <c:v>0.86499999999999999</c:v>
                </c:pt>
                <c:pt idx="866">
                  <c:v>0.86599999999999999</c:v>
                </c:pt>
                <c:pt idx="867">
                  <c:v>0.86699999999999999</c:v>
                </c:pt>
                <c:pt idx="868">
                  <c:v>0.86799999999999999</c:v>
                </c:pt>
                <c:pt idx="869">
                  <c:v>0.86899999999999999</c:v>
                </c:pt>
                <c:pt idx="870">
                  <c:v>0.87</c:v>
                </c:pt>
                <c:pt idx="871">
                  <c:v>0.871</c:v>
                </c:pt>
                <c:pt idx="872">
                  <c:v>0.872</c:v>
                </c:pt>
                <c:pt idx="873">
                  <c:v>0.873</c:v>
                </c:pt>
                <c:pt idx="874">
                  <c:v>0.874</c:v>
                </c:pt>
                <c:pt idx="875">
                  <c:v>0.875</c:v>
                </c:pt>
                <c:pt idx="876">
                  <c:v>0.876</c:v>
                </c:pt>
                <c:pt idx="877">
                  <c:v>0.877</c:v>
                </c:pt>
                <c:pt idx="878">
                  <c:v>0.878</c:v>
                </c:pt>
                <c:pt idx="879">
                  <c:v>0.879</c:v>
                </c:pt>
                <c:pt idx="880">
                  <c:v>0.88</c:v>
                </c:pt>
                <c:pt idx="881">
                  <c:v>0.88100000000000001</c:v>
                </c:pt>
                <c:pt idx="882">
                  <c:v>0.88200000000000001</c:v>
                </c:pt>
                <c:pt idx="883">
                  <c:v>0.88300000000000001</c:v>
                </c:pt>
                <c:pt idx="884">
                  <c:v>0.88400000000000001</c:v>
                </c:pt>
                <c:pt idx="885">
                  <c:v>0.88500000000000001</c:v>
                </c:pt>
                <c:pt idx="886">
                  <c:v>0.88600000000000001</c:v>
                </c:pt>
                <c:pt idx="887">
                  <c:v>0.88700000000000001</c:v>
                </c:pt>
                <c:pt idx="888">
                  <c:v>0.88800000000000001</c:v>
                </c:pt>
                <c:pt idx="889">
                  <c:v>0.88900000000000001</c:v>
                </c:pt>
                <c:pt idx="890">
                  <c:v>0.89</c:v>
                </c:pt>
                <c:pt idx="891">
                  <c:v>0.89100000000000001</c:v>
                </c:pt>
                <c:pt idx="892">
                  <c:v>0.89200000000000002</c:v>
                </c:pt>
                <c:pt idx="893">
                  <c:v>0.89300000000000002</c:v>
                </c:pt>
                <c:pt idx="894">
                  <c:v>0.89400000000000002</c:v>
                </c:pt>
                <c:pt idx="895">
                  <c:v>0.89500000000000002</c:v>
                </c:pt>
                <c:pt idx="896">
                  <c:v>0.89600000000000002</c:v>
                </c:pt>
                <c:pt idx="897">
                  <c:v>0.89700000000000002</c:v>
                </c:pt>
                <c:pt idx="898">
                  <c:v>0.89800000000000002</c:v>
                </c:pt>
                <c:pt idx="899">
                  <c:v>0.89900000000000002</c:v>
                </c:pt>
                <c:pt idx="900">
                  <c:v>0.9</c:v>
                </c:pt>
                <c:pt idx="901">
                  <c:v>0.90100000000000002</c:v>
                </c:pt>
                <c:pt idx="902">
                  <c:v>0.90200000000000002</c:v>
                </c:pt>
                <c:pt idx="903">
                  <c:v>0.90300000000000002</c:v>
                </c:pt>
                <c:pt idx="904">
                  <c:v>0.90400000000000003</c:v>
                </c:pt>
                <c:pt idx="905">
                  <c:v>0.90500000000000003</c:v>
                </c:pt>
                <c:pt idx="906">
                  <c:v>0.90600000000000003</c:v>
                </c:pt>
                <c:pt idx="907">
                  <c:v>0.90700000000000003</c:v>
                </c:pt>
                <c:pt idx="908">
                  <c:v>0.90800000000000003</c:v>
                </c:pt>
                <c:pt idx="909">
                  <c:v>0.90900000000000003</c:v>
                </c:pt>
                <c:pt idx="910">
                  <c:v>0.91</c:v>
                </c:pt>
                <c:pt idx="911">
                  <c:v>0.91100000000000003</c:v>
                </c:pt>
                <c:pt idx="912">
                  <c:v>0.91200000000000003</c:v>
                </c:pt>
                <c:pt idx="913">
                  <c:v>0.91300000000000003</c:v>
                </c:pt>
                <c:pt idx="914">
                  <c:v>0.91400000000000003</c:v>
                </c:pt>
                <c:pt idx="915">
                  <c:v>0.91500000000000004</c:v>
                </c:pt>
                <c:pt idx="916">
                  <c:v>0.91600000000000004</c:v>
                </c:pt>
                <c:pt idx="917">
                  <c:v>0.91700000000000004</c:v>
                </c:pt>
                <c:pt idx="918">
                  <c:v>0.91800000000000004</c:v>
                </c:pt>
                <c:pt idx="919">
                  <c:v>0.91900000000000004</c:v>
                </c:pt>
                <c:pt idx="920">
                  <c:v>0.92</c:v>
                </c:pt>
                <c:pt idx="921">
                  <c:v>0.92100000000000004</c:v>
                </c:pt>
                <c:pt idx="922">
                  <c:v>0.92200000000000004</c:v>
                </c:pt>
                <c:pt idx="923">
                  <c:v>0.92300000000000004</c:v>
                </c:pt>
                <c:pt idx="924">
                  <c:v>0.92400000000000004</c:v>
                </c:pt>
                <c:pt idx="925">
                  <c:v>0.92500000000000004</c:v>
                </c:pt>
                <c:pt idx="926">
                  <c:v>0.92600000000000005</c:v>
                </c:pt>
                <c:pt idx="927">
                  <c:v>0.92700000000000005</c:v>
                </c:pt>
                <c:pt idx="928">
                  <c:v>0.92800000000000005</c:v>
                </c:pt>
                <c:pt idx="929">
                  <c:v>0.92900000000000005</c:v>
                </c:pt>
                <c:pt idx="930">
                  <c:v>0.93</c:v>
                </c:pt>
                <c:pt idx="931">
                  <c:v>0.93100000000000005</c:v>
                </c:pt>
                <c:pt idx="932">
                  <c:v>0.93200000000000005</c:v>
                </c:pt>
                <c:pt idx="933">
                  <c:v>0.93300000000000005</c:v>
                </c:pt>
                <c:pt idx="934">
                  <c:v>0.93400000000000005</c:v>
                </c:pt>
                <c:pt idx="935">
                  <c:v>0.93500000000000005</c:v>
                </c:pt>
                <c:pt idx="936">
                  <c:v>0.93600000000000005</c:v>
                </c:pt>
                <c:pt idx="937">
                  <c:v>0.93700000000000006</c:v>
                </c:pt>
                <c:pt idx="938">
                  <c:v>0.93799999999999994</c:v>
                </c:pt>
                <c:pt idx="939">
                  <c:v>0.93899999999999995</c:v>
                </c:pt>
                <c:pt idx="940">
                  <c:v>0.94</c:v>
                </c:pt>
                <c:pt idx="941">
                  <c:v>0.94099999999999995</c:v>
                </c:pt>
                <c:pt idx="942">
                  <c:v>0.94199999999999995</c:v>
                </c:pt>
                <c:pt idx="943">
                  <c:v>0.94299999999999995</c:v>
                </c:pt>
                <c:pt idx="944">
                  <c:v>0.94399999999999995</c:v>
                </c:pt>
                <c:pt idx="945">
                  <c:v>0.94499999999999995</c:v>
                </c:pt>
                <c:pt idx="946">
                  <c:v>0.94599999999999995</c:v>
                </c:pt>
                <c:pt idx="947">
                  <c:v>0.94699999999999995</c:v>
                </c:pt>
                <c:pt idx="948">
                  <c:v>0.94799999999999995</c:v>
                </c:pt>
                <c:pt idx="949">
                  <c:v>0.94899999999999995</c:v>
                </c:pt>
                <c:pt idx="950">
                  <c:v>0.95</c:v>
                </c:pt>
                <c:pt idx="951">
                  <c:v>0.95099999999999996</c:v>
                </c:pt>
                <c:pt idx="952">
                  <c:v>0.95199999999999996</c:v>
                </c:pt>
                <c:pt idx="953">
                  <c:v>0.95299999999999996</c:v>
                </c:pt>
                <c:pt idx="954">
                  <c:v>0.95399999999999996</c:v>
                </c:pt>
                <c:pt idx="955">
                  <c:v>0.95499999999999996</c:v>
                </c:pt>
                <c:pt idx="956">
                  <c:v>0.95599999999999996</c:v>
                </c:pt>
                <c:pt idx="957">
                  <c:v>0.95699999999999996</c:v>
                </c:pt>
                <c:pt idx="958">
                  <c:v>0.95799999999999996</c:v>
                </c:pt>
                <c:pt idx="959">
                  <c:v>0.95899999999999996</c:v>
                </c:pt>
                <c:pt idx="960">
                  <c:v>0.96</c:v>
                </c:pt>
                <c:pt idx="961">
                  <c:v>0.96099999999999997</c:v>
                </c:pt>
                <c:pt idx="962">
                  <c:v>0.96199999999999997</c:v>
                </c:pt>
                <c:pt idx="963">
                  <c:v>0.96299999999999997</c:v>
                </c:pt>
                <c:pt idx="964">
                  <c:v>0.96399999999999997</c:v>
                </c:pt>
                <c:pt idx="965">
                  <c:v>0.96499999999999997</c:v>
                </c:pt>
                <c:pt idx="966">
                  <c:v>0.96599999999999997</c:v>
                </c:pt>
                <c:pt idx="967">
                  <c:v>0.96699999999999997</c:v>
                </c:pt>
                <c:pt idx="968">
                  <c:v>0.96799999999999997</c:v>
                </c:pt>
                <c:pt idx="969">
                  <c:v>0.96899999999999997</c:v>
                </c:pt>
                <c:pt idx="970">
                  <c:v>0.97</c:v>
                </c:pt>
                <c:pt idx="971">
                  <c:v>0.97099999999999997</c:v>
                </c:pt>
                <c:pt idx="972">
                  <c:v>0.97199999999999998</c:v>
                </c:pt>
                <c:pt idx="973">
                  <c:v>0.97299999999999998</c:v>
                </c:pt>
                <c:pt idx="974">
                  <c:v>0.97399999999999998</c:v>
                </c:pt>
                <c:pt idx="975">
                  <c:v>0.97499999999999998</c:v>
                </c:pt>
                <c:pt idx="976">
                  <c:v>0.97599999999999998</c:v>
                </c:pt>
                <c:pt idx="977">
                  <c:v>0.97699999999999998</c:v>
                </c:pt>
                <c:pt idx="978">
                  <c:v>0.97799999999999998</c:v>
                </c:pt>
                <c:pt idx="979">
                  <c:v>0.97899999999999998</c:v>
                </c:pt>
                <c:pt idx="980">
                  <c:v>0.98</c:v>
                </c:pt>
                <c:pt idx="981">
                  <c:v>0.98099999999999998</c:v>
                </c:pt>
                <c:pt idx="982">
                  <c:v>0.98199999999999998</c:v>
                </c:pt>
                <c:pt idx="983">
                  <c:v>0.98299999999999998</c:v>
                </c:pt>
                <c:pt idx="984">
                  <c:v>0.98399999999999999</c:v>
                </c:pt>
                <c:pt idx="985">
                  <c:v>0.98499999999999999</c:v>
                </c:pt>
                <c:pt idx="986">
                  <c:v>0.98599999999999999</c:v>
                </c:pt>
                <c:pt idx="987">
                  <c:v>0.98699999999999999</c:v>
                </c:pt>
                <c:pt idx="988">
                  <c:v>0.98799999999999999</c:v>
                </c:pt>
                <c:pt idx="989">
                  <c:v>0.98899999999999999</c:v>
                </c:pt>
                <c:pt idx="990">
                  <c:v>0.99</c:v>
                </c:pt>
                <c:pt idx="991">
                  <c:v>0.99099999999999999</c:v>
                </c:pt>
                <c:pt idx="992">
                  <c:v>0.99199999999999999</c:v>
                </c:pt>
                <c:pt idx="993">
                  <c:v>0.99299999999999999</c:v>
                </c:pt>
                <c:pt idx="994">
                  <c:v>0.99399999999999999</c:v>
                </c:pt>
                <c:pt idx="995">
                  <c:v>0.995</c:v>
                </c:pt>
                <c:pt idx="996">
                  <c:v>0.996</c:v>
                </c:pt>
                <c:pt idx="997">
                  <c:v>0.997</c:v>
                </c:pt>
                <c:pt idx="998">
                  <c:v>0.998</c:v>
                </c:pt>
                <c:pt idx="999">
                  <c:v>0.999</c:v>
                </c:pt>
                <c:pt idx="1000">
                  <c:v>1</c:v>
                </c:pt>
                <c:pt idx="1001">
                  <c:v>1.0009999999999999</c:v>
                </c:pt>
                <c:pt idx="1002">
                  <c:v>1.002</c:v>
                </c:pt>
                <c:pt idx="1003">
                  <c:v>1.0029999999999999</c:v>
                </c:pt>
                <c:pt idx="1004">
                  <c:v>1.004</c:v>
                </c:pt>
                <c:pt idx="1005">
                  <c:v>1.0049999999999999</c:v>
                </c:pt>
                <c:pt idx="1006">
                  <c:v>1.006</c:v>
                </c:pt>
                <c:pt idx="1007">
                  <c:v>1.0069999999999999</c:v>
                </c:pt>
                <c:pt idx="1008">
                  <c:v>1.008</c:v>
                </c:pt>
                <c:pt idx="1009">
                  <c:v>1.0089999999999999</c:v>
                </c:pt>
                <c:pt idx="1010">
                  <c:v>1.01</c:v>
                </c:pt>
                <c:pt idx="1011">
                  <c:v>1.0109999999999999</c:v>
                </c:pt>
                <c:pt idx="1012">
                  <c:v>1.012</c:v>
                </c:pt>
                <c:pt idx="1013">
                  <c:v>1.0129999999999999</c:v>
                </c:pt>
                <c:pt idx="1014">
                  <c:v>1.014</c:v>
                </c:pt>
                <c:pt idx="1015">
                  <c:v>1.0149999999999999</c:v>
                </c:pt>
                <c:pt idx="1016">
                  <c:v>1.016</c:v>
                </c:pt>
                <c:pt idx="1017">
                  <c:v>1.0169999999999999</c:v>
                </c:pt>
                <c:pt idx="1018">
                  <c:v>1.018</c:v>
                </c:pt>
                <c:pt idx="1019">
                  <c:v>1.0189999999999999</c:v>
                </c:pt>
                <c:pt idx="1020">
                  <c:v>1.02</c:v>
                </c:pt>
                <c:pt idx="1021">
                  <c:v>1.0209999999999999</c:v>
                </c:pt>
                <c:pt idx="1022">
                  <c:v>1.022</c:v>
                </c:pt>
                <c:pt idx="1023">
                  <c:v>1.0229999999999999</c:v>
                </c:pt>
                <c:pt idx="1024">
                  <c:v>1.024</c:v>
                </c:pt>
                <c:pt idx="1025">
                  <c:v>1.0249999999999999</c:v>
                </c:pt>
                <c:pt idx="1026">
                  <c:v>1.026</c:v>
                </c:pt>
                <c:pt idx="1027">
                  <c:v>1.0269999999999999</c:v>
                </c:pt>
                <c:pt idx="1028">
                  <c:v>1.028</c:v>
                </c:pt>
                <c:pt idx="1029">
                  <c:v>1.0289999999999999</c:v>
                </c:pt>
                <c:pt idx="1030">
                  <c:v>1.03</c:v>
                </c:pt>
                <c:pt idx="1031">
                  <c:v>1.0309999999999999</c:v>
                </c:pt>
                <c:pt idx="1032">
                  <c:v>1.032</c:v>
                </c:pt>
                <c:pt idx="1033">
                  <c:v>1.0329999999999999</c:v>
                </c:pt>
                <c:pt idx="1034">
                  <c:v>1.034</c:v>
                </c:pt>
                <c:pt idx="1035">
                  <c:v>1.0349999999999999</c:v>
                </c:pt>
                <c:pt idx="1036">
                  <c:v>1.036</c:v>
                </c:pt>
                <c:pt idx="1037">
                  <c:v>1.0369999999999999</c:v>
                </c:pt>
                <c:pt idx="1038">
                  <c:v>1.038</c:v>
                </c:pt>
                <c:pt idx="1039">
                  <c:v>1.0389999999999999</c:v>
                </c:pt>
                <c:pt idx="1040">
                  <c:v>1.04</c:v>
                </c:pt>
                <c:pt idx="1041">
                  <c:v>1.0409999999999999</c:v>
                </c:pt>
                <c:pt idx="1042">
                  <c:v>1.042</c:v>
                </c:pt>
                <c:pt idx="1043">
                  <c:v>1.0429999999999999</c:v>
                </c:pt>
                <c:pt idx="1044">
                  <c:v>1.044</c:v>
                </c:pt>
                <c:pt idx="1045">
                  <c:v>1.0449999999999999</c:v>
                </c:pt>
                <c:pt idx="1046">
                  <c:v>1.046</c:v>
                </c:pt>
                <c:pt idx="1047">
                  <c:v>1.0469999999999999</c:v>
                </c:pt>
                <c:pt idx="1048">
                  <c:v>1.048</c:v>
                </c:pt>
                <c:pt idx="1049">
                  <c:v>1.0489999999999999</c:v>
                </c:pt>
                <c:pt idx="1050">
                  <c:v>1.05</c:v>
                </c:pt>
                <c:pt idx="1051">
                  <c:v>1.0509999999999999</c:v>
                </c:pt>
                <c:pt idx="1052">
                  <c:v>1.052</c:v>
                </c:pt>
                <c:pt idx="1053">
                  <c:v>1.0529999999999999</c:v>
                </c:pt>
                <c:pt idx="1054">
                  <c:v>1.054</c:v>
                </c:pt>
                <c:pt idx="1055">
                  <c:v>1.0549999999999999</c:v>
                </c:pt>
                <c:pt idx="1056">
                  <c:v>1.056</c:v>
                </c:pt>
                <c:pt idx="1057">
                  <c:v>1.0569999999999999</c:v>
                </c:pt>
                <c:pt idx="1058">
                  <c:v>1.0580000000000001</c:v>
                </c:pt>
                <c:pt idx="1059">
                  <c:v>1.0589999999999999</c:v>
                </c:pt>
                <c:pt idx="1060">
                  <c:v>1.06</c:v>
                </c:pt>
                <c:pt idx="1061">
                  <c:v>1.0609999999999999</c:v>
                </c:pt>
                <c:pt idx="1062">
                  <c:v>1.0620000000000001</c:v>
                </c:pt>
                <c:pt idx="1063">
                  <c:v>1.0629999999999999</c:v>
                </c:pt>
                <c:pt idx="1064">
                  <c:v>1.0640000000000001</c:v>
                </c:pt>
                <c:pt idx="1065">
                  <c:v>1.0649999999999999</c:v>
                </c:pt>
                <c:pt idx="1066">
                  <c:v>1.0660000000000001</c:v>
                </c:pt>
                <c:pt idx="1067">
                  <c:v>1.0669999999999999</c:v>
                </c:pt>
                <c:pt idx="1068">
                  <c:v>1.0680000000000001</c:v>
                </c:pt>
                <c:pt idx="1069">
                  <c:v>1.069</c:v>
                </c:pt>
                <c:pt idx="1070">
                  <c:v>1.07</c:v>
                </c:pt>
                <c:pt idx="1071">
                  <c:v>1.071</c:v>
                </c:pt>
                <c:pt idx="1072">
                  <c:v>1.0720000000000001</c:v>
                </c:pt>
                <c:pt idx="1073">
                  <c:v>1.073</c:v>
                </c:pt>
                <c:pt idx="1074">
                  <c:v>1.0740000000000001</c:v>
                </c:pt>
                <c:pt idx="1075">
                  <c:v>1.075</c:v>
                </c:pt>
                <c:pt idx="1076">
                  <c:v>1.0760000000000001</c:v>
                </c:pt>
                <c:pt idx="1077">
                  <c:v>1.077</c:v>
                </c:pt>
                <c:pt idx="1078">
                  <c:v>1.0780000000000001</c:v>
                </c:pt>
                <c:pt idx="1079">
                  <c:v>1.079</c:v>
                </c:pt>
                <c:pt idx="1080">
                  <c:v>1.08</c:v>
                </c:pt>
                <c:pt idx="1081">
                  <c:v>1.081</c:v>
                </c:pt>
                <c:pt idx="1082">
                  <c:v>1.0820000000000001</c:v>
                </c:pt>
                <c:pt idx="1083">
                  <c:v>1.083</c:v>
                </c:pt>
                <c:pt idx="1084">
                  <c:v>1.0840000000000001</c:v>
                </c:pt>
                <c:pt idx="1085">
                  <c:v>1.085</c:v>
                </c:pt>
                <c:pt idx="1086">
                  <c:v>1.0860000000000001</c:v>
                </c:pt>
                <c:pt idx="1087">
                  <c:v>1.087</c:v>
                </c:pt>
                <c:pt idx="1088">
                  <c:v>1.0880000000000001</c:v>
                </c:pt>
                <c:pt idx="1089">
                  <c:v>1.089</c:v>
                </c:pt>
                <c:pt idx="1090">
                  <c:v>1.0900000000000001</c:v>
                </c:pt>
                <c:pt idx="1091">
                  <c:v>1.091</c:v>
                </c:pt>
                <c:pt idx="1092">
                  <c:v>1.0920000000000001</c:v>
                </c:pt>
                <c:pt idx="1093">
                  <c:v>1.093</c:v>
                </c:pt>
                <c:pt idx="1094">
                  <c:v>1.0940000000000001</c:v>
                </c:pt>
                <c:pt idx="1095">
                  <c:v>1.095</c:v>
                </c:pt>
                <c:pt idx="1096">
                  <c:v>1.0960000000000001</c:v>
                </c:pt>
                <c:pt idx="1097">
                  <c:v>1.097</c:v>
                </c:pt>
                <c:pt idx="1098">
                  <c:v>1.0980000000000001</c:v>
                </c:pt>
                <c:pt idx="1099">
                  <c:v>1.099</c:v>
                </c:pt>
                <c:pt idx="1100">
                  <c:v>1.1000000000000001</c:v>
                </c:pt>
                <c:pt idx="1101">
                  <c:v>1.101</c:v>
                </c:pt>
                <c:pt idx="1102">
                  <c:v>1.1020000000000001</c:v>
                </c:pt>
                <c:pt idx="1103">
                  <c:v>1.103</c:v>
                </c:pt>
                <c:pt idx="1104">
                  <c:v>1.1040000000000001</c:v>
                </c:pt>
                <c:pt idx="1105">
                  <c:v>1.105</c:v>
                </c:pt>
                <c:pt idx="1106">
                  <c:v>1.1060000000000001</c:v>
                </c:pt>
                <c:pt idx="1107">
                  <c:v>1.107</c:v>
                </c:pt>
                <c:pt idx="1108">
                  <c:v>1.1080000000000001</c:v>
                </c:pt>
                <c:pt idx="1109">
                  <c:v>1.109</c:v>
                </c:pt>
                <c:pt idx="1110">
                  <c:v>1.1100000000000001</c:v>
                </c:pt>
                <c:pt idx="1111">
                  <c:v>1.111</c:v>
                </c:pt>
                <c:pt idx="1112">
                  <c:v>1.1120000000000001</c:v>
                </c:pt>
                <c:pt idx="1113">
                  <c:v>1.113</c:v>
                </c:pt>
                <c:pt idx="1114">
                  <c:v>1.1140000000000001</c:v>
                </c:pt>
                <c:pt idx="1115">
                  <c:v>1.115</c:v>
                </c:pt>
                <c:pt idx="1116">
                  <c:v>1.1160000000000001</c:v>
                </c:pt>
                <c:pt idx="1117">
                  <c:v>1.117</c:v>
                </c:pt>
                <c:pt idx="1118">
                  <c:v>1.1180000000000001</c:v>
                </c:pt>
                <c:pt idx="1119">
                  <c:v>1.119</c:v>
                </c:pt>
                <c:pt idx="1120">
                  <c:v>1.1200000000000001</c:v>
                </c:pt>
                <c:pt idx="1121">
                  <c:v>1.121</c:v>
                </c:pt>
                <c:pt idx="1122">
                  <c:v>1.1220000000000001</c:v>
                </c:pt>
                <c:pt idx="1123">
                  <c:v>1.123</c:v>
                </c:pt>
                <c:pt idx="1124">
                  <c:v>1.1240000000000001</c:v>
                </c:pt>
                <c:pt idx="1125">
                  <c:v>1.125</c:v>
                </c:pt>
                <c:pt idx="1126">
                  <c:v>1.1259999999999999</c:v>
                </c:pt>
                <c:pt idx="1127">
                  <c:v>1.127</c:v>
                </c:pt>
                <c:pt idx="1128">
                  <c:v>1.1279999999999999</c:v>
                </c:pt>
                <c:pt idx="1129">
                  <c:v>1.129</c:v>
                </c:pt>
                <c:pt idx="1130">
                  <c:v>1.1299999999999999</c:v>
                </c:pt>
                <c:pt idx="1131">
                  <c:v>1.131</c:v>
                </c:pt>
                <c:pt idx="1132">
                  <c:v>1.1319999999999999</c:v>
                </c:pt>
                <c:pt idx="1133">
                  <c:v>1.133</c:v>
                </c:pt>
                <c:pt idx="1134">
                  <c:v>1.1339999999999999</c:v>
                </c:pt>
                <c:pt idx="1135">
                  <c:v>1.135</c:v>
                </c:pt>
                <c:pt idx="1136">
                  <c:v>1.1359999999999999</c:v>
                </c:pt>
                <c:pt idx="1137">
                  <c:v>1.137</c:v>
                </c:pt>
                <c:pt idx="1138">
                  <c:v>1.1379999999999999</c:v>
                </c:pt>
                <c:pt idx="1139">
                  <c:v>1.139</c:v>
                </c:pt>
                <c:pt idx="1140">
                  <c:v>1.1399999999999999</c:v>
                </c:pt>
                <c:pt idx="1141">
                  <c:v>1.141</c:v>
                </c:pt>
                <c:pt idx="1142">
                  <c:v>1.1419999999999999</c:v>
                </c:pt>
                <c:pt idx="1143">
                  <c:v>1.143</c:v>
                </c:pt>
                <c:pt idx="1144">
                  <c:v>1.1439999999999999</c:v>
                </c:pt>
                <c:pt idx="1145">
                  <c:v>1.145</c:v>
                </c:pt>
                <c:pt idx="1146">
                  <c:v>1.1459999999999999</c:v>
                </c:pt>
                <c:pt idx="1147">
                  <c:v>1.147</c:v>
                </c:pt>
                <c:pt idx="1148">
                  <c:v>1.1479999999999999</c:v>
                </c:pt>
                <c:pt idx="1149">
                  <c:v>1.149</c:v>
                </c:pt>
                <c:pt idx="1150">
                  <c:v>1.1499999999999999</c:v>
                </c:pt>
                <c:pt idx="1151">
                  <c:v>1.151</c:v>
                </c:pt>
                <c:pt idx="1152">
                  <c:v>1.1519999999999999</c:v>
                </c:pt>
                <c:pt idx="1153">
                  <c:v>1.153</c:v>
                </c:pt>
                <c:pt idx="1154">
                  <c:v>1.1539999999999999</c:v>
                </c:pt>
                <c:pt idx="1155">
                  <c:v>1.155</c:v>
                </c:pt>
                <c:pt idx="1156">
                  <c:v>1.1559999999999999</c:v>
                </c:pt>
                <c:pt idx="1157">
                  <c:v>1.157</c:v>
                </c:pt>
                <c:pt idx="1158">
                  <c:v>1.1579999999999999</c:v>
                </c:pt>
                <c:pt idx="1159">
                  <c:v>1.159</c:v>
                </c:pt>
                <c:pt idx="1160">
                  <c:v>1.1599999999999999</c:v>
                </c:pt>
                <c:pt idx="1161">
                  <c:v>1.161</c:v>
                </c:pt>
                <c:pt idx="1162">
                  <c:v>1.1619999999999999</c:v>
                </c:pt>
                <c:pt idx="1163">
                  <c:v>1.163</c:v>
                </c:pt>
                <c:pt idx="1164">
                  <c:v>1.1639999999999999</c:v>
                </c:pt>
                <c:pt idx="1165">
                  <c:v>1.165</c:v>
                </c:pt>
                <c:pt idx="1166">
                  <c:v>1.1659999999999999</c:v>
                </c:pt>
                <c:pt idx="1167">
                  <c:v>1.167</c:v>
                </c:pt>
                <c:pt idx="1168">
                  <c:v>1.1679999999999999</c:v>
                </c:pt>
                <c:pt idx="1169">
                  <c:v>1.169</c:v>
                </c:pt>
                <c:pt idx="1170">
                  <c:v>1.17</c:v>
                </c:pt>
                <c:pt idx="1171">
                  <c:v>1.171</c:v>
                </c:pt>
                <c:pt idx="1172">
                  <c:v>1.1719999999999999</c:v>
                </c:pt>
                <c:pt idx="1173">
                  <c:v>1.173</c:v>
                </c:pt>
                <c:pt idx="1174">
                  <c:v>1.1739999999999999</c:v>
                </c:pt>
                <c:pt idx="1175">
                  <c:v>1.175</c:v>
                </c:pt>
                <c:pt idx="1176">
                  <c:v>1.1759999999999999</c:v>
                </c:pt>
                <c:pt idx="1177">
                  <c:v>1.177</c:v>
                </c:pt>
                <c:pt idx="1178">
                  <c:v>1.1779999999999999</c:v>
                </c:pt>
                <c:pt idx="1179">
                  <c:v>1.179</c:v>
                </c:pt>
                <c:pt idx="1180">
                  <c:v>1.18</c:v>
                </c:pt>
                <c:pt idx="1181">
                  <c:v>1.181</c:v>
                </c:pt>
                <c:pt idx="1182">
                  <c:v>1.1819999999999999</c:v>
                </c:pt>
                <c:pt idx="1183">
                  <c:v>1.1830000000000001</c:v>
                </c:pt>
                <c:pt idx="1184">
                  <c:v>1.1839999999999999</c:v>
                </c:pt>
                <c:pt idx="1185">
                  <c:v>1.1850000000000001</c:v>
                </c:pt>
                <c:pt idx="1186">
                  <c:v>1.1859999999999999</c:v>
                </c:pt>
                <c:pt idx="1187">
                  <c:v>1.1870000000000001</c:v>
                </c:pt>
                <c:pt idx="1188">
                  <c:v>1.1879999999999999</c:v>
                </c:pt>
                <c:pt idx="1189">
                  <c:v>1.1890000000000001</c:v>
                </c:pt>
                <c:pt idx="1190">
                  <c:v>1.19</c:v>
                </c:pt>
                <c:pt idx="1191">
                  <c:v>1.1910000000000001</c:v>
                </c:pt>
                <c:pt idx="1192">
                  <c:v>1.1919999999999999</c:v>
                </c:pt>
                <c:pt idx="1193">
                  <c:v>1.1930000000000001</c:v>
                </c:pt>
                <c:pt idx="1194">
                  <c:v>1.194</c:v>
                </c:pt>
                <c:pt idx="1195">
                  <c:v>1.1950000000000001</c:v>
                </c:pt>
                <c:pt idx="1196">
                  <c:v>1.196</c:v>
                </c:pt>
                <c:pt idx="1197">
                  <c:v>1.1970000000000001</c:v>
                </c:pt>
                <c:pt idx="1198">
                  <c:v>1.198</c:v>
                </c:pt>
                <c:pt idx="1199">
                  <c:v>1.1990000000000001</c:v>
                </c:pt>
                <c:pt idx="1200">
                  <c:v>1.2</c:v>
                </c:pt>
                <c:pt idx="1201">
                  <c:v>1.2010000000000001</c:v>
                </c:pt>
                <c:pt idx="1202">
                  <c:v>1.202</c:v>
                </c:pt>
                <c:pt idx="1203">
                  <c:v>1.2030000000000001</c:v>
                </c:pt>
                <c:pt idx="1204">
                  <c:v>1.204</c:v>
                </c:pt>
                <c:pt idx="1205">
                  <c:v>1.2050000000000001</c:v>
                </c:pt>
                <c:pt idx="1206">
                  <c:v>1.206</c:v>
                </c:pt>
                <c:pt idx="1207">
                  <c:v>1.2070000000000001</c:v>
                </c:pt>
                <c:pt idx="1208">
                  <c:v>1.208</c:v>
                </c:pt>
                <c:pt idx="1209">
                  <c:v>1.2090000000000001</c:v>
                </c:pt>
                <c:pt idx="1210">
                  <c:v>1.21</c:v>
                </c:pt>
                <c:pt idx="1211">
                  <c:v>1.2110000000000001</c:v>
                </c:pt>
                <c:pt idx="1212">
                  <c:v>1.212</c:v>
                </c:pt>
                <c:pt idx="1213">
                  <c:v>1.2130000000000001</c:v>
                </c:pt>
                <c:pt idx="1214">
                  <c:v>1.214</c:v>
                </c:pt>
                <c:pt idx="1215">
                  <c:v>1.2150000000000001</c:v>
                </c:pt>
                <c:pt idx="1216">
                  <c:v>1.216</c:v>
                </c:pt>
                <c:pt idx="1217">
                  <c:v>1.2170000000000001</c:v>
                </c:pt>
                <c:pt idx="1218">
                  <c:v>1.218</c:v>
                </c:pt>
                <c:pt idx="1219">
                  <c:v>1.2190000000000001</c:v>
                </c:pt>
                <c:pt idx="1220">
                  <c:v>1.22</c:v>
                </c:pt>
                <c:pt idx="1221">
                  <c:v>1.2210000000000001</c:v>
                </c:pt>
                <c:pt idx="1222">
                  <c:v>1.222</c:v>
                </c:pt>
                <c:pt idx="1223">
                  <c:v>1.2230000000000001</c:v>
                </c:pt>
                <c:pt idx="1224">
                  <c:v>1.224</c:v>
                </c:pt>
                <c:pt idx="1225">
                  <c:v>1.2250000000000001</c:v>
                </c:pt>
                <c:pt idx="1226">
                  <c:v>1.226</c:v>
                </c:pt>
                <c:pt idx="1227">
                  <c:v>1.2270000000000001</c:v>
                </c:pt>
                <c:pt idx="1228">
                  <c:v>1.228</c:v>
                </c:pt>
                <c:pt idx="1229">
                  <c:v>1.2290000000000001</c:v>
                </c:pt>
                <c:pt idx="1230">
                  <c:v>1.23</c:v>
                </c:pt>
                <c:pt idx="1231">
                  <c:v>1.2310000000000001</c:v>
                </c:pt>
                <c:pt idx="1232">
                  <c:v>1.232</c:v>
                </c:pt>
                <c:pt idx="1233">
                  <c:v>1.2330000000000001</c:v>
                </c:pt>
                <c:pt idx="1234">
                  <c:v>1.234</c:v>
                </c:pt>
                <c:pt idx="1235">
                  <c:v>1.2350000000000001</c:v>
                </c:pt>
                <c:pt idx="1236">
                  <c:v>1.236</c:v>
                </c:pt>
                <c:pt idx="1237">
                  <c:v>1.2370000000000001</c:v>
                </c:pt>
                <c:pt idx="1238">
                  <c:v>1.238</c:v>
                </c:pt>
                <c:pt idx="1239">
                  <c:v>1.2390000000000001</c:v>
                </c:pt>
                <c:pt idx="1240">
                  <c:v>1.24</c:v>
                </c:pt>
                <c:pt idx="1241">
                  <c:v>1.2410000000000001</c:v>
                </c:pt>
                <c:pt idx="1242">
                  <c:v>1.242</c:v>
                </c:pt>
                <c:pt idx="1243">
                  <c:v>1.2430000000000001</c:v>
                </c:pt>
                <c:pt idx="1244">
                  <c:v>1.244</c:v>
                </c:pt>
                <c:pt idx="1245">
                  <c:v>1.2450000000000001</c:v>
                </c:pt>
                <c:pt idx="1246">
                  <c:v>1.246</c:v>
                </c:pt>
                <c:pt idx="1247">
                  <c:v>1.2470000000000001</c:v>
                </c:pt>
                <c:pt idx="1248">
                  <c:v>1.248</c:v>
                </c:pt>
                <c:pt idx="1249">
                  <c:v>1.2490000000000001</c:v>
                </c:pt>
                <c:pt idx="1250">
                  <c:v>1.25</c:v>
                </c:pt>
                <c:pt idx="1251">
                  <c:v>1.2509999999999999</c:v>
                </c:pt>
                <c:pt idx="1252">
                  <c:v>1.252</c:v>
                </c:pt>
                <c:pt idx="1253">
                  <c:v>1.2529999999999999</c:v>
                </c:pt>
                <c:pt idx="1254">
                  <c:v>1.254</c:v>
                </c:pt>
                <c:pt idx="1255">
                  <c:v>1.2549999999999999</c:v>
                </c:pt>
                <c:pt idx="1256">
                  <c:v>1.256</c:v>
                </c:pt>
                <c:pt idx="1257">
                  <c:v>1.2569999999999999</c:v>
                </c:pt>
                <c:pt idx="1258">
                  <c:v>1.258</c:v>
                </c:pt>
                <c:pt idx="1259">
                  <c:v>1.2589999999999999</c:v>
                </c:pt>
                <c:pt idx="1260">
                  <c:v>1.26</c:v>
                </c:pt>
                <c:pt idx="1261">
                  <c:v>1.2609999999999999</c:v>
                </c:pt>
                <c:pt idx="1262">
                  <c:v>1.262</c:v>
                </c:pt>
                <c:pt idx="1263">
                  <c:v>1.2629999999999999</c:v>
                </c:pt>
                <c:pt idx="1264">
                  <c:v>1.264</c:v>
                </c:pt>
                <c:pt idx="1265">
                  <c:v>1.2649999999999999</c:v>
                </c:pt>
                <c:pt idx="1266">
                  <c:v>1.266</c:v>
                </c:pt>
                <c:pt idx="1267">
                  <c:v>1.2669999999999999</c:v>
                </c:pt>
                <c:pt idx="1268">
                  <c:v>1.268</c:v>
                </c:pt>
                <c:pt idx="1269">
                  <c:v>1.2689999999999999</c:v>
                </c:pt>
                <c:pt idx="1270">
                  <c:v>1.27</c:v>
                </c:pt>
                <c:pt idx="1271">
                  <c:v>1.2709999999999999</c:v>
                </c:pt>
                <c:pt idx="1272">
                  <c:v>1.272</c:v>
                </c:pt>
                <c:pt idx="1273">
                  <c:v>1.2729999999999999</c:v>
                </c:pt>
                <c:pt idx="1274">
                  <c:v>1.274</c:v>
                </c:pt>
                <c:pt idx="1275">
                  <c:v>1.2749999999999999</c:v>
                </c:pt>
                <c:pt idx="1276">
                  <c:v>1.276</c:v>
                </c:pt>
                <c:pt idx="1277">
                  <c:v>1.2769999999999999</c:v>
                </c:pt>
                <c:pt idx="1278">
                  <c:v>1.278</c:v>
                </c:pt>
                <c:pt idx="1279">
                  <c:v>1.2789999999999999</c:v>
                </c:pt>
                <c:pt idx="1280">
                  <c:v>1.28</c:v>
                </c:pt>
                <c:pt idx="1281">
                  <c:v>1.2809999999999999</c:v>
                </c:pt>
                <c:pt idx="1282">
                  <c:v>1.282</c:v>
                </c:pt>
                <c:pt idx="1283">
                  <c:v>1.2829999999999999</c:v>
                </c:pt>
                <c:pt idx="1284">
                  <c:v>1.284</c:v>
                </c:pt>
                <c:pt idx="1285">
                  <c:v>1.2849999999999999</c:v>
                </c:pt>
                <c:pt idx="1286">
                  <c:v>1.286</c:v>
                </c:pt>
                <c:pt idx="1287">
                  <c:v>1.2869999999999999</c:v>
                </c:pt>
                <c:pt idx="1288">
                  <c:v>1.288</c:v>
                </c:pt>
                <c:pt idx="1289">
                  <c:v>1.2889999999999999</c:v>
                </c:pt>
                <c:pt idx="1290">
                  <c:v>1.29</c:v>
                </c:pt>
                <c:pt idx="1291">
                  <c:v>1.2909999999999999</c:v>
                </c:pt>
                <c:pt idx="1292">
                  <c:v>1.292</c:v>
                </c:pt>
                <c:pt idx="1293">
                  <c:v>1.2929999999999999</c:v>
                </c:pt>
                <c:pt idx="1294">
                  <c:v>1.294</c:v>
                </c:pt>
                <c:pt idx="1295">
                  <c:v>1.2949999999999999</c:v>
                </c:pt>
                <c:pt idx="1296">
                  <c:v>1.296</c:v>
                </c:pt>
                <c:pt idx="1297">
                  <c:v>1.2969999999999999</c:v>
                </c:pt>
                <c:pt idx="1298">
                  <c:v>1.298</c:v>
                </c:pt>
                <c:pt idx="1299">
                  <c:v>1.2989999999999999</c:v>
                </c:pt>
                <c:pt idx="1300">
                  <c:v>1.3</c:v>
                </c:pt>
                <c:pt idx="1301">
                  <c:v>1.3009999999999999</c:v>
                </c:pt>
                <c:pt idx="1302">
                  <c:v>1.302</c:v>
                </c:pt>
                <c:pt idx="1303">
                  <c:v>1.3029999999999999</c:v>
                </c:pt>
                <c:pt idx="1304">
                  <c:v>1.304</c:v>
                </c:pt>
                <c:pt idx="1305">
                  <c:v>1.3049999999999999</c:v>
                </c:pt>
                <c:pt idx="1306">
                  <c:v>1.306</c:v>
                </c:pt>
                <c:pt idx="1307">
                  <c:v>1.3069999999999999</c:v>
                </c:pt>
                <c:pt idx="1308">
                  <c:v>1.3080000000000001</c:v>
                </c:pt>
                <c:pt idx="1309">
                  <c:v>1.3089999999999999</c:v>
                </c:pt>
                <c:pt idx="1310">
                  <c:v>1.31</c:v>
                </c:pt>
                <c:pt idx="1311">
                  <c:v>1.3109999999999999</c:v>
                </c:pt>
                <c:pt idx="1312">
                  <c:v>1.3120000000000001</c:v>
                </c:pt>
                <c:pt idx="1313">
                  <c:v>1.3129999999999999</c:v>
                </c:pt>
                <c:pt idx="1314">
                  <c:v>1.3140000000000001</c:v>
                </c:pt>
                <c:pt idx="1315">
                  <c:v>1.3149999999999999</c:v>
                </c:pt>
                <c:pt idx="1316">
                  <c:v>1.3160000000000001</c:v>
                </c:pt>
                <c:pt idx="1317">
                  <c:v>1.3169999999999999</c:v>
                </c:pt>
                <c:pt idx="1318">
                  <c:v>1.3180000000000001</c:v>
                </c:pt>
                <c:pt idx="1319">
                  <c:v>1.319</c:v>
                </c:pt>
                <c:pt idx="1320">
                  <c:v>1.32</c:v>
                </c:pt>
                <c:pt idx="1321">
                  <c:v>1.321</c:v>
                </c:pt>
                <c:pt idx="1322">
                  <c:v>1.3220000000000001</c:v>
                </c:pt>
                <c:pt idx="1323">
                  <c:v>1.323</c:v>
                </c:pt>
                <c:pt idx="1324">
                  <c:v>1.3240000000000001</c:v>
                </c:pt>
                <c:pt idx="1325">
                  <c:v>1.325</c:v>
                </c:pt>
                <c:pt idx="1326">
                  <c:v>1.3260000000000001</c:v>
                </c:pt>
                <c:pt idx="1327">
                  <c:v>1.327</c:v>
                </c:pt>
                <c:pt idx="1328">
                  <c:v>1.3280000000000001</c:v>
                </c:pt>
                <c:pt idx="1329">
                  <c:v>1.329</c:v>
                </c:pt>
                <c:pt idx="1330">
                  <c:v>1.33</c:v>
                </c:pt>
                <c:pt idx="1331">
                  <c:v>1.331</c:v>
                </c:pt>
                <c:pt idx="1332">
                  <c:v>1.3320000000000001</c:v>
                </c:pt>
                <c:pt idx="1333">
                  <c:v>1.333</c:v>
                </c:pt>
                <c:pt idx="1334">
                  <c:v>1.3340000000000001</c:v>
                </c:pt>
                <c:pt idx="1335">
                  <c:v>1.335</c:v>
                </c:pt>
                <c:pt idx="1336">
                  <c:v>1.3360000000000001</c:v>
                </c:pt>
                <c:pt idx="1337">
                  <c:v>1.337</c:v>
                </c:pt>
                <c:pt idx="1338">
                  <c:v>1.3380000000000001</c:v>
                </c:pt>
                <c:pt idx="1339">
                  <c:v>1.339</c:v>
                </c:pt>
                <c:pt idx="1340">
                  <c:v>1.34</c:v>
                </c:pt>
                <c:pt idx="1341">
                  <c:v>1.341</c:v>
                </c:pt>
                <c:pt idx="1342">
                  <c:v>1.3420000000000001</c:v>
                </c:pt>
                <c:pt idx="1343">
                  <c:v>1.343</c:v>
                </c:pt>
                <c:pt idx="1344">
                  <c:v>1.3440000000000001</c:v>
                </c:pt>
                <c:pt idx="1345">
                  <c:v>1.345</c:v>
                </c:pt>
                <c:pt idx="1346">
                  <c:v>1.3460000000000001</c:v>
                </c:pt>
                <c:pt idx="1347">
                  <c:v>1.347</c:v>
                </c:pt>
                <c:pt idx="1348">
                  <c:v>1.3480000000000001</c:v>
                </c:pt>
                <c:pt idx="1349">
                  <c:v>1.349</c:v>
                </c:pt>
                <c:pt idx="1350">
                  <c:v>1.35</c:v>
                </c:pt>
                <c:pt idx="1351">
                  <c:v>1.351</c:v>
                </c:pt>
                <c:pt idx="1352">
                  <c:v>1.3520000000000001</c:v>
                </c:pt>
                <c:pt idx="1353">
                  <c:v>1.353</c:v>
                </c:pt>
                <c:pt idx="1354">
                  <c:v>1.3540000000000001</c:v>
                </c:pt>
                <c:pt idx="1355">
                  <c:v>1.355</c:v>
                </c:pt>
                <c:pt idx="1356">
                  <c:v>1.3560000000000001</c:v>
                </c:pt>
                <c:pt idx="1357">
                  <c:v>1.357</c:v>
                </c:pt>
                <c:pt idx="1358">
                  <c:v>1.3580000000000001</c:v>
                </c:pt>
                <c:pt idx="1359">
                  <c:v>1.359</c:v>
                </c:pt>
                <c:pt idx="1360">
                  <c:v>1.36</c:v>
                </c:pt>
                <c:pt idx="1361">
                  <c:v>1.361</c:v>
                </c:pt>
                <c:pt idx="1362">
                  <c:v>1.3620000000000001</c:v>
                </c:pt>
                <c:pt idx="1363">
                  <c:v>1.363</c:v>
                </c:pt>
                <c:pt idx="1364">
                  <c:v>1.3640000000000001</c:v>
                </c:pt>
                <c:pt idx="1365">
                  <c:v>1.365</c:v>
                </c:pt>
                <c:pt idx="1366">
                  <c:v>1.3660000000000001</c:v>
                </c:pt>
                <c:pt idx="1367">
                  <c:v>1.367</c:v>
                </c:pt>
                <c:pt idx="1368">
                  <c:v>1.3680000000000001</c:v>
                </c:pt>
                <c:pt idx="1369">
                  <c:v>1.369</c:v>
                </c:pt>
                <c:pt idx="1370">
                  <c:v>1.37</c:v>
                </c:pt>
                <c:pt idx="1371">
                  <c:v>1.371</c:v>
                </c:pt>
                <c:pt idx="1372">
                  <c:v>1.3720000000000001</c:v>
                </c:pt>
                <c:pt idx="1373">
                  <c:v>1.373</c:v>
                </c:pt>
                <c:pt idx="1374">
                  <c:v>1.3740000000000001</c:v>
                </c:pt>
                <c:pt idx="1375">
                  <c:v>1.375</c:v>
                </c:pt>
                <c:pt idx="1376">
                  <c:v>1.3759999999999999</c:v>
                </c:pt>
                <c:pt idx="1377">
                  <c:v>1.377</c:v>
                </c:pt>
                <c:pt idx="1378">
                  <c:v>1.3779999999999999</c:v>
                </c:pt>
                <c:pt idx="1379">
                  <c:v>1.379</c:v>
                </c:pt>
                <c:pt idx="1380">
                  <c:v>1.38</c:v>
                </c:pt>
                <c:pt idx="1381">
                  <c:v>1.381</c:v>
                </c:pt>
                <c:pt idx="1382">
                  <c:v>1.3819999999999999</c:v>
                </c:pt>
                <c:pt idx="1383">
                  <c:v>1.383</c:v>
                </c:pt>
                <c:pt idx="1384">
                  <c:v>1.3839999999999999</c:v>
                </c:pt>
                <c:pt idx="1385">
                  <c:v>1.385</c:v>
                </c:pt>
                <c:pt idx="1386">
                  <c:v>1.3859999999999999</c:v>
                </c:pt>
                <c:pt idx="1387">
                  <c:v>1.387</c:v>
                </c:pt>
                <c:pt idx="1388">
                  <c:v>1.3879999999999999</c:v>
                </c:pt>
                <c:pt idx="1389">
                  <c:v>1.389</c:v>
                </c:pt>
                <c:pt idx="1390">
                  <c:v>1.39</c:v>
                </c:pt>
                <c:pt idx="1391">
                  <c:v>1.391</c:v>
                </c:pt>
                <c:pt idx="1392">
                  <c:v>1.3919999999999999</c:v>
                </c:pt>
                <c:pt idx="1393">
                  <c:v>1.393</c:v>
                </c:pt>
                <c:pt idx="1394">
                  <c:v>1.3939999999999999</c:v>
                </c:pt>
                <c:pt idx="1395">
                  <c:v>1.395</c:v>
                </c:pt>
                <c:pt idx="1396">
                  <c:v>1.3959999999999999</c:v>
                </c:pt>
                <c:pt idx="1397">
                  <c:v>1.397</c:v>
                </c:pt>
                <c:pt idx="1398">
                  <c:v>1.3979999999999999</c:v>
                </c:pt>
                <c:pt idx="1399">
                  <c:v>1.399</c:v>
                </c:pt>
                <c:pt idx="1400">
                  <c:v>1.4</c:v>
                </c:pt>
                <c:pt idx="1401">
                  <c:v>1.401</c:v>
                </c:pt>
                <c:pt idx="1402">
                  <c:v>1.4019999999999999</c:v>
                </c:pt>
                <c:pt idx="1403">
                  <c:v>1.403</c:v>
                </c:pt>
                <c:pt idx="1404">
                  <c:v>1.4039999999999999</c:v>
                </c:pt>
                <c:pt idx="1405">
                  <c:v>1.405</c:v>
                </c:pt>
                <c:pt idx="1406">
                  <c:v>1.4059999999999999</c:v>
                </c:pt>
                <c:pt idx="1407">
                  <c:v>1.407</c:v>
                </c:pt>
                <c:pt idx="1408">
                  <c:v>1.4079999999999999</c:v>
                </c:pt>
                <c:pt idx="1409">
                  <c:v>1.409</c:v>
                </c:pt>
                <c:pt idx="1410">
                  <c:v>1.41</c:v>
                </c:pt>
                <c:pt idx="1411">
                  <c:v>1.411</c:v>
                </c:pt>
                <c:pt idx="1412">
                  <c:v>1.4119999999999999</c:v>
                </c:pt>
                <c:pt idx="1413">
                  <c:v>1.413</c:v>
                </c:pt>
                <c:pt idx="1414">
                  <c:v>1.4139999999999999</c:v>
                </c:pt>
                <c:pt idx="1415">
                  <c:v>1.415</c:v>
                </c:pt>
                <c:pt idx="1416">
                  <c:v>1.4159999999999999</c:v>
                </c:pt>
                <c:pt idx="1417">
                  <c:v>1.417</c:v>
                </c:pt>
                <c:pt idx="1418">
                  <c:v>1.4179999999999999</c:v>
                </c:pt>
                <c:pt idx="1419">
                  <c:v>1.419</c:v>
                </c:pt>
                <c:pt idx="1420">
                  <c:v>1.42</c:v>
                </c:pt>
                <c:pt idx="1421">
                  <c:v>1.421</c:v>
                </c:pt>
                <c:pt idx="1422">
                  <c:v>1.4219999999999999</c:v>
                </c:pt>
                <c:pt idx="1423">
                  <c:v>1.423</c:v>
                </c:pt>
                <c:pt idx="1424">
                  <c:v>1.4239999999999999</c:v>
                </c:pt>
                <c:pt idx="1425">
                  <c:v>1.425</c:v>
                </c:pt>
                <c:pt idx="1426">
                  <c:v>1.4259999999999999</c:v>
                </c:pt>
                <c:pt idx="1427">
                  <c:v>1.427</c:v>
                </c:pt>
                <c:pt idx="1428">
                  <c:v>1.4279999999999999</c:v>
                </c:pt>
                <c:pt idx="1429">
                  <c:v>1.429</c:v>
                </c:pt>
                <c:pt idx="1430">
                  <c:v>1.43</c:v>
                </c:pt>
                <c:pt idx="1431">
                  <c:v>1.431</c:v>
                </c:pt>
                <c:pt idx="1432">
                  <c:v>1.4319999999999999</c:v>
                </c:pt>
                <c:pt idx="1433">
                  <c:v>1.4330000000000001</c:v>
                </c:pt>
                <c:pt idx="1434">
                  <c:v>1.4339999999999999</c:v>
                </c:pt>
                <c:pt idx="1435">
                  <c:v>1.4350000000000001</c:v>
                </c:pt>
                <c:pt idx="1436">
                  <c:v>1.4359999999999999</c:v>
                </c:pt>
                <c:pt idx="1437">
                  <c:v>1.4370000000000001</c:v>
                </c:pt>
                <c:pt idx="1438">
                  <c:v>1.4379999999999999</c:v>
                </c:pt>
                <c:pt idx="1439">
                  <c:v>1.4390000000000001</c:v>
                </c:pt>
                <c:pt idx="1440">
                  <c:v>1.44</c:v>
                </c:pt>
                <c:pt idx="1441">
                  <c:v>1.4410000000000001</c:v>
                </c:pt>
                <c:pt idx="1442">
                  <c:v>1.4419999999999999</c:v>
                </c:pt>
                <c:pt idx="1443">
                  <c:v>1.4430000000000001</c:v>
                </c:pt>
                <c:pt idx="1444">
                  <c:v>1.444</c:v>
                </c:pt>
                <c:pt idx="1445">
                  <c:v>1.4450000000000001</c:v>
                </c:pt>
                <c:pt idx="1446">
                  <c:v>1.446</c:v>
                </c:pt>
                <c:pt idx="1447">
                  <c:v>1.4470000000000001</c:v>
                </c:pt>
                <c:pt idx="1448">
                  <c:v>1.448</c:v>
                </c:pt>
                <c:pt idx="1449">
                  <c:v>1.4490000000000001</c:v>
                </c:pt>
                <c:pt idx="1450">
                  <c:v>1.45</c:v>
                </c:pt>
                <c:pt idx="1451">
                  <c:v>1.4510000000000001</c:v>
                </c:pt>
                <c:pt idx="1452">
                  <c:v>1.452</c:v>
                </c:pt>
                <c:pt idx="1453">
                  <c:v>1.4530000000000001</c:v>
                </c:pt>
                <c:pt idx="1454">
                  <c:v>1.454</c:v>
                </c:pt>
                <c:pt idx="1455">
                  <c:v>1.4550000000000001</c:v>
                </c:pt>
                <c:pt idx="1456">
                  <c:v>1.456</c:v>
                </c:pt>
                <c:pt idx="1457">
                  <c:v>1.4570000000000001</c:v>
                </c:pt>
                <c:pt idx="1458">
                  <c:v>1.458</c:v>
                </c:pt>
                <c:pt idx="1459">
                  <c:v>1.4590000000000001</c:v>
                </c:pt>
                <c:pt idx="1460">
                  <c:v>1.46</c:v>
                </c:pt>
                <c:pt idx="1461">
                  <c:v>1.4610000000000001</c:v>
                </c:pt>
                <c:pt idx="1462">
                  <c:v>1.462</c:v>
                </c:pt>
                <c:pt idx="1463">
                  <c:v>1.4630000000000001</c:v>
                </c:pt>
                <c:pt idx="1464">
                  <c:v>1.464</c:v>
                </c:pt>
                <c:pt idx="1465">
                  <c:v>1.4650000000000001</c:v>
                </c:pt>
                <c:pt idx="1466">
                  <c:v>1.466</c:v>
                </c:pt>
                <c:pt idx="1467">
                  <c:v>1.4670000000000001</c:v>
                </c:pt>
                <c:pt idx="1468">
                  <c:v>1.468</c:v>
                </c:pt>
                <c:pt idx="1469">
                  <c:v>1.4690000000000001</c:v>
                </c:pt>
                <c:pt idx="1470">
                  <c:v>1.47</c:v>
                </c:pt>
                <c:pt idx="1471">
                  <c:v>1.4710000000000001</c:v>
                </c:pt>
                <c:pt idx="1472">
                  <c:v>1.472</c:v>
                </c:pt>
                <c:pt idx="1473">
                  <c:v>1.4730000000000001</c:v>
                </c:pt>
                <c:pt idx="1474">
                  <c:v>1.474</c:v>
                </c:pt>
                <c:pt idx="1475">
                  <c:v>1.4750000000000001</c:v>
                </c:pt>
                <c:pt idx="1476">
                  <c:v>1.476</c:v>
                </c:pt>
                <c:pt idx="1477">
                  <c:v>1.4770000000000001</c:v>
                </c:pt>
                <c:pt idx="1478">
                  <c:v>1.478</c:v>
                </c:pt>
                <c:pt idx="1479">
                  <c:v>1.4790000000000001</c:v>
                </c:pt>
                <c:pt idx="1480">
                  <c:v>1.48</c:v>
                </c:pt>
                <c:pt idx="1481">
                  <c:v>1.4810000000000001</c:v>
                </c:pt>
                <c:pt idx="1482">
                  <c:v>1.482</c:v>
                </c:pt>
                <c:pt idx="1483">
                  <c:v>1.4830000000000001</c:v>
                </c:pt>
                <c:pt idx="1484">
                  <c:v>1.484</c:v>
                </c:pt>
                <c:pt idx="1485">
                  <c:v>1.4850000000000001</c:v>
                </c:pt>
                <c:pt idx="1486">
                  <c:v>1.486</c:v>
                </c:pt>
                <c:pt idx="1487">
                  <c:v>1.4870000000000001</c:v>
                </c:pt>
                <c:pt idx="1488">
                  <c:v>1.488</c:v>
                </c:pt>
                <c:pt idx="1489">
                  <c:v>1.4890000000000001</c:v>
                </c:pt>
                <c:pt idx="1490">
                  <c:v>1.49</c:v>
                </c:pt>
                <c:pt idx="1491">
                  <c:v>1.4910000000000001</c:v>
                </c:pt>
                <c:pt idx="1492">
                  <c:v>1.492</c:v>
                </c:pt>
                <c:pt idx="1493">
                  <c:v>1.4930000000000001</c:v>
                </c:pt>
                <c:pt idx="1494">
                  <c:v>1.494</c:v>
                </c:pt>
                <c:pt idx="1495">
                  <c:v>1.4950000000000001</c:v>
                </c:pt>
                <c:pt idx="1496">
                  <c:v>1.496</c:v>
                </c:pt>
                <c:pt idx="1497">
                  <c:v>1.4970000000000001</c:v>
                </c:pt>
                <c:pt idx="1498">
                  <c:v>1.498</c:v>
                </c:pt>
                <c:pt idx="1499">
                  <c:v>1.4990000000000001</c:v>
                </c:pt>
                <c:pt idx="1500">
                  <c:v>1.5</c:v>
                </c:pt>
                <c:pt idx="1501">
                  <c:v>1.5009999999999999</c:v>
                </c:pt>
                <c:pt idx="1502">
                  <c:v>1.502</c:v>
                </c:pt>
                <c:pt idx="1503">
                  <c:v>1.5029999999999999</c:v>
                </c:pt>
                <c:pt idx="1504">
                  <c:v>1.504</c:v>
                </c:pt>
                <c:pt idx="1505">
                  <c:v>1.5049999999999999</c:v>
                </c:pt>
                <c:pt idx="1506">
                  <c:v>1.506</c:v>
                </c:pt>
                <c:pt idx="1507">
                  <c:v>1.5069999999999999</c:v>
                </c:pt>
                <c:pt idx="1508">
                  <c:v>1.508</c:v>
                </c:pt>
                <c:pt idx="1509">
                  <c:v>1.5089999999999999</c:v>
                </c:pt>
                <c:pt idx="1510">
                  <c:v>1.51</c:v>
                </c:pt>
                <c:pt idx="1511">
                  <c:v>1.5109999999999999</c:v>
                </c:pt>
                <c:pt idx="1512">
                  <c:v>1.512</c:v>
                </c:pt>
                <c:pt idx="1513">
                  <c:v>1.5129999999999999</c:v>
                </c:pt>
                <c:pt idx="1514">
                  <c:v>1.514</c:v>
                </c:pt>
                <c:pt idx="1515">
                  <c:v>1.5149999999999999</c:v>
                </c:pt>
                <c:pt idx="1516">
                  <c:v>1.516</c:v>
                </c:pt>
                <c:pt idx="1517">
                  <c:v>1.5169999999999999</c:v>
                </c:pt>
                <c:pt idx="1518">
                  <c:v>1.518</c:v>
                </c:pt>
                <c:pt idx="1519">
                  <c:v>1.5189999999999999</c:v>
                </c:pt>
                <c:pt idx="1520">
                  <c:v>1.52</c:v>
                </c:pt>
                <c:pt idx="1521">
                  <c:v>1.5209999999999999</c:v>
                </c:pt>
                <c:pt idx="1522">
                  <c:v>1.522</c:v>
                </c:pt>
                <c:pt idx="1523">
                  <c:v>1.5229999999999999</c:v>
                </c:pt>
                <c:pt idx="1524">
                  <c:v>1.524</c:v>
                </c:pt>
                <c:pt idx="1525">
                  <c:v>1.5249999999999999</c:v>
                </c:pt>
                <c:pt idx="1526">
                  <c:v>1.526</c:v>
                </c:pt>
                <c:pt idx="1527">
                  <c:v>1.5269999999999999</c:v>
                </c:pt>
                <c:pt idx="1528">
                  <c:v>1.528</c:v>
                </c:pt>
                <c:pt idx="1529">
                  <c:v>1.5289999999999999</c:v>
                </c:pt>
                <c:pt idx="1530">
                  <c:v>1.53</c:v>
                </c:pt>
                <c:pt idx="1531">
                  <c:v>1.5309999999999999</c:v>
                </c:pt>
                <c:pt idx="1532">
                  <c:v>1.532</c:v>
                </c:pt>
                <c:pt idx="1533">
                  <c:v>1.5329999999999999</c:v>
                </c:pt>
                <c:pt idx="1534">
                  <c:v>1.534</c:v>
                </c:pt>
                <c:pt idx="1535">
                  <c:v>1.5349999999999999</c:v>
                </c:pt>
                <c:pt idx="1536">
                  <c:v>1.536</c:v>
                </c:pt>
                <c:pt idx="1537">
                  <c:v>1.5369999999999999</c:v>
                </c:pt>
                <c:pt idx="1538">
                  <c:v>1.538</c:v>
                </c:pt>
                <c:pt idx="1539">
                  <c:v>1.5389999999999999</c:v>
                </c:pt>
                <c:pt idx="1540">
                  <c:v>1.54</c:v>
                </c:pt>
                <c:pt idx="1541">
                  <c:v>1.5409999999999999</c:v>
                </c:pt>
                <c:pt idx="1542">
                  <c:v>1.542</c:v>
                </c:pt>
                <c:pt idx="1543">
                  <c:v>1.5429999999999999</c:v>
                </c:pt>
                <c:pt idx="1544">
                  <c:v>1.544</c:v>
                </c:pt>
                <c:pt idx="1545">
                  <c:v>1.5449999999999999</c:v>
                </c:pt>
                <c:pt idx="1546">
                  <c:v>1.546</c:v>
                </c:pt>
                <c:pt idx="1547">
                  <c:v>1.5469999999999999</c:v>
                </c:pt>
                <c:pt idx="1548">
                  <c:v>1.548</c:v>
                </c:pt>
                <c:pt idx="1549">
                  <c:v>1.5489999999999999</c:v>
                </c:pt>
                <c:pt idx="1550">
                  <c:v>1.55</c:v>
                </c:pt>
                <c:pt idx="1551">
                  <c:v>1.5509999999999999</c:v>
                </c:pt>
                <c:pt idx="1552">
                  <c:v>1.552</c:v>
                </c:pt>
                <c:pt idx="1553">
                  <c:v>1.5529999999999999</c:v>
                </c:pt>
                <c:pt idx="1554">
                  <c:v>1.554</c:v>
                </c:pt>
                <c:pt idx="1555">
                  <c:v>1.5549999999999999</c:v>
                </c:pt>
                <c:pt idx="1556">
                  <c:v>1.556</c:v>
                </c:pt>
                <c:pt idx="1557">
                  <c:v>1.5569999999999999</c:v>
                </c:pt>
                <c:pt idx="1558">
                  <c:v>1.5580000000000001</c:v>
                </c:pt>
                <c:pt idx="1559">
                  <c:v>1.5589999999999999</c:v>
                </c:pt>
                <c:pt idx="1560">
                  <c:v>1.56</c:v>
                </c:pt>
                <c:pt idx="1561">
                  <c:v>1.5609999999999999</c:v>
                </c:pt>
                <c:pt idx="1562">
                  <c:v>1.5620000000000001</c:v>
                </c:pt>
                <c:pt idx="1563">
                  <c:v>1.5629999999999999</c:v>
                </c:pt>
                <c:pt idx="1564">
                  <c:v>1.5640000000000001</c:v>
                </c:pt>
                <c:pt idx="1565">
                  <c:v>1.5649999999999999</c:v>
                </c:pt>
                <c:pt idx="1566">
                  <c:v>1.5660000000000001</c:v>
                </c:pt>
                <c:pt idx="1567">
                  <c:v>1.5669999999999999</c:v>
                </c:pt>
                <c:pt idx="1568">
                  <c:v>1.5680000000000001</c:v>
                </c:pt>
                <c:pt idx="1569">
                  <c:v>1.569</c:v>
                </c:pt>
                <c:pt idx="1570">
                  <c:v>1.57</c:v>
                </c:pt>
                <c:pt idx="1571">
                  <c:v>1.571</c:v>
                </c:pt>
                <c:pt idx="1572">
                  <c:v>1.5720000000000001</c:v>
                </c:pt>
                <c:pt idx="1573">
                  <c:v>1.573</c:v>
                </c:pt>
                <c:pt idx="1574">
                  <c:v>1.5740000000000001</c:v>
                </c:pt>
                <c:pt idx="1575">
                  <c:v>1.575</c:v>
                </c:pt>
                <c:pt idx="1576">
                  <c:v>1.5760000000000001</c:v>
                </c:pt>
                <c:pt idx="1577">
                  <c:v>1.577</c:v>
                </c:pt>
                <c:pt idx="1578">
                  <c:v>1.5780000000000001</c:v>
                </c:pt>
                <c:pt idx="1579">
                  <c:v>1.579</c:v>
                </c:pt>
                <c:pt idx="1580">
                  <c:v>1.58</c:v>
                </c:pt>
                <c:pt idx="1581">
                  <c:v>1.581</c:v>
                </c:pt>
                <c:pt idx="1582">
                  <c:v>1.5820000000000001</c:v>
                </c:pt>
                <c:pt idx="1583">
                  <c:v>1.583</c:v>
                </c:pt>
                <c:pt idx="1584">
                  <c:v>1.5840000000000001</c:v>
                </c:pt>
                <c:pt idx="1585">
                  <c:v>1.585</c:v>
                </c:pt>
                <c:pt idx="1586">
                  <c:v>1.5860000000000001</c:v>
                </c:pt>
                <c:pt idx="1587">
                  <c:v>1.587</c:v>
                </c:pt>
                <c:pt idx="1588">
                  <c:v>1.5880000000000001</c:v>
                </c:pt>
                <c:pt idx="1589">
                  <c:v>1.589</c:v>
                </c:pt>
                <c:pt idx="1590">
                  <c:v>1.59</c:v>
                </c:pt>
                <c:pt idx="1591">
                  <c:v>1.591</c:v>
                </c:pt>
                <c:pt idx="1592">
                  <c:v>1.5920000000000001</c:v>
                </c:pt>
                <c:pt idx="1593">
                  <c:v>1.593</c:v>
                </c:pt>
                <c:pt idx="1594">
                  <c:v>1.5940000000000001</c:v>
                </c:pt>
                <c:pt idx="1595">
                  <c:v>1.595</c:v>
                </c:pt>
                <c:pt idx="1596">
                  <c:v>1.5960000000000001</c:v>
                </c:pt>
                <c:pt idx="1597">
                  <c:v>1.597</c:v>
                </c:pt>
                <c:pt idx="1598">
                  <c:v>1.5980000000000001</c:v>
                </c:pt>
                <c:pt idx="1599">
                  <c:v>1.599</c:v>
                </c:pt>
                <c:pt idx="1600">
                  <c:v>1.6</c:v>
                </c:pt>
                <c:pt idx="1601">
                  <c:v>1.601</c:v>
                </c:pt>
                <c:pt idx="1602">
                  <c:v>1.6020000000000001</c:v>
                </c:pt>
                <c:pt idx="1603">
                  <c:v>1.603</c:v>
                </c:pt>
                <c:pt idx="1604">
                  <c:v>1.6040000000000001</c:v>
                </c:pt>
                <c:pt idx="1605">
                  <c:v>1.605</c:v>
                </c:pt>
                <c:pt idx="1606">
                  <c:v>1.6060000000000001</c:v>
                </c:pt>
                <c:pt idx="1607">
                  <c:v>1.607</c:v>
                </c:pt>
                <c:pt idx="1608">
                  <c:v>1.6080000000000001</c:v>
                </c:pt>
                <c:pt idx="1609">
                  <c:v>1.609</c:v>
                </c:pt>
                <c:pt idx="1610">
                  <c:v>1.61</c:v>
                </c:pt>
                <c:pt idx="1611">
                  <c:v>1.611</c:v>
                </c:pt>
                <c:pt idx="1612">
                  <c:v>1.6120000000000001</c:v>
                </c:pt>
                <c:pt idx="1613">
                  <c:v>1.613</c:v>
                </c:pt>
                <c:pt idx="1614">
                  <c:v>1.6140000000000001</c:v>
                </c:pt>
                <c:pt idx="1615">
                  <c:v>1.615</c:v>
                </c:pt>
                <c:pt idx="1616">
                  <c:v>1.6160000000000001</c:v>
                </c:pt>
                <c:pt idx="1617">
                  <c:v>1.617</c:v>
                </c:pt>
                <c:pt idx="1618">
                  <c:v>1.6180000000000001</c:v>
                </c:pt>
                <c:pt idx="1619">
                  <c:v>1.619</c:v>
                </c:pt>
                <c:pt idx="1620">
                  <c:v>1.62</c:v>
                </c:pt>
                <c:pt idx="1621">
                  <c:v>1.621</c:v>
                </c:pt>
                <c:pt idx="1622">
                  <c:v>1.6220000000000001</c:v>
                </c:pt>
                <c:pt idx="1623">
                  <c:v>1.623</c:v>
                </c:pt>
                <c:pt idx="1624">
                  <c:v>1.6240000000000001</c:v>
                </c:pt>
                <c:pt idx="1625">
                  <c:v>1.625</c:v>
                </c:pt>
                <c:pt idx="1626">
                  <c:v>1.6259999999999999</c:v>
                </c:pt>
                <c:pt idx="1627">
                  <c:v>1.627</c:v>
                </c:pt>
                <c:pt idx="1628">
                  <c:v>1.6279999999999999</c:v>
                </c:pt>
                <c:pt idx="1629">
                  <c:v>1.629</c:v>
                </c:pt>
                <c:pt idx="1630">
                  <c:v>1.63</c:v>
                </c:pt>
                <c:pt idx="1631">
                  <c:v>1.631</c:v>
                </c:pt>
                <c:pt idx="1632">
                  <c:v>1.6319999999999999</c:v>
                </c:pt>
                <c:pt idx="1633">
                  <c:v>1.633</c:v>
                </c:pt>
                <c:pt idx="1634">
                  <c:v>1.6339999999999999</c:v>
                </c:pt>
                <c:pt idx="1635">
                  <c:v>1.635</c:v>
                </c:pt>
                <c:pt idx="1636">
                  <c:v>1.6359999999999999</c:v>
                </c:pt>
                <c:pt idx="1637">
                  <c:v>1.637</c:v>
                </c:pt>
                <c:pt idx="1638">
                  <c:v>1.6379999999999999</c:v>
                </c:pt>
                <c:pt idx="1639">
                  <c:v>1.639</c:v>
                </c:pt>
                <c:pt idx="1640">
                  <c:v>1.64</c:v>
                </c:pt>
                <c:pt idx="1641">
                  <c:v>1.641</c:v>
                </c:pt>
                <c:pt idx="1642">
                  <c:v>1.6419999999999999</c:v>
                </c:pt>
                <c:pt idx="1643">
                  <c:v>1.643</c:v>
                </c:pt>
                <c:pt idx="1644">
                  <c:v>1.6439999999999999</c:v>
                </c:pt>
                <c:pt idx="1645">
                  <c:v>1.645</c:v>
                </c:pt>
                <c:pt idx="1646">
                  <c:v>1.6459999999999999</c:v>
                </c:pt>
                <c:pt idx="1647">
                  <c:v>1.647</c:v>
                </c:pt>
                <c:pt idx="1648">
                  <c:v>1.6479999999999999</c:v>
                </c:pt>
                <c:pt idx="1649">
                  <c:v>1.649</c:v>
                </c:pt>
                <c:pt idx="1650">
                  <c:v>1.65</c:v>
                </c:pt>
                <c:pt idx="1651">
                  <c:v>1.651</c:v>
                </c:pt>
                <c:pt idx="1652">
                  <c:v>1.6519999999999999</c:v>
                </c:pt>
                <c:pt idx="1653">
                  <c:v>1.653</c:v>
                </c:pt>
                <c:pt idx="1654">
                  <c:v>1.6539999999999999</c:v>
                </c:pt>
                <c:pt idx="1655">
                  <c:v>1.655</c:v>
                </c:pt>
                <c:pt idx="1656">
                  <c:v>1.6559999999999999</c:v>
                </c:pt>
                <c:pt idx="1657">
                  <c:v>1.657</c:v>
                </c:pt>
                <c:pt idx="1658">
                  <c:v>1.6579999999999999</c:v>
                </c:pt>
                <c:pt idx="1659">
                  <c:v>1.659</c:v>
                </c:pt>
                <c:pt idx="1660">
                  <c:v>1.66</c:v>
                </c:pt>
                <c:pt idx="1661">
                  <c:v>1.661</c:v>
                </c:pt>
                <c:pt idx="1662">
                  <c:v>1.6619999999999999</c:v>
                </c:pt>
                <c:pt idx="1663">
                  <c:v>1.663</c:v>
                </c:pt>
                <c:pt idx="1664">
                  <c:v>1.6639999999999999</c:v>
                </c:pt>
                <c:pt idx="1665">
                  <c:v>1.665</c:v>
                </c:pt>
                <c:pt idx="1666">
                  <c:v>1.6659999999999999</c:v>
                </c:pt>
                <c:pt idx="1667">
                  <c:v>1.667</c:v>
                </c:pt>
                <c:pt idx="1668">
                  <c:v>1.6679999999999999</c:v>
                </c:pt>
                <c:pt idx="1669">
                  <c:v>1.669</c:v>
                </c:pt>
                <c:pt idx="1670">
                  <c:v>1.67</c:v>
                </c:pt>
                <c:pt idx="1671">
                  <c:v>1.671</c:v>
                </c:pt>
                <c:pt idx="1672">
                  <c:v>1.6719999999999999</c:v>
                </c:pt>
                <c:pt idx="1673">
                  <c:v>1.673</c:v>
                </c:pt>
                <c:pt idx="1674">
                  <c:v>1.6739999999999999</c:v>
                </c:pt>
                <c:pt idx="1675">
                  <c:v>1.675</c:v>
                </c:pt>
                <c:pt idx="1676">
                  <c:v>1.6759999999999999</c:v>
                </c:pt>
                <c:pt idx="1677">
                  <c:v>1.677</c:v>
                </c:pt>
                <c:pt idx="1678">
                  <c:v>1.6779999999999999</c:v>
                </c:pt>
                <c:pt idx="1679">
                  <c:v>1.679</c:v>
                </c:pt>
                <c:pt idx="1680">
                  <c:v>1.68</c:v>
                </c:pt>
                <c:pt idx="1681">
                  <c:v>1.681</c:v>
                </c:pt>
                <c:pt idx="1682">
                  <c:v>1.6819999999999999</c:v>
                </c:pt>
                <c:pt idx="1683">
                  <c:v>1.6830000000000001</c:v>
                </c:pt>
                <c:pt idx="1684">
                  <c:v>1.6839999999999999</c:v>
                </c:pt>
                <c:pt idx="1685">
                  <c:v>1.6850000000000001</c:v>
                </c:pt>
                <c:pt idx="1686">
                  <c:v>1.6859999999999999</c:v>
                </c:pt>
                <c:pt idx="1687">
                  <c:v>1.6870000000000001</c:v>
                </c:pt>
                <c:pt idx="1688">
                  <c:v>1.6879999999999999</c:v>
                </c:pt>
                <c:pt idx="1689">
                  <c:v>1.6890000000000001</c:v>
                </c:pt>
                <c:pt idx="1690">
                  <c:v>1.69</c:v>
                </c:pt>
                <c:pt idx="1691">
                  <c:v>1.6910000000000001</c:v>
                </c:pt>
                <c:pt idx="1692">
                  <c:v>1.6919999999999999</c:v>
                </c:pt>
                <c:pt idx="1693">
                  <c:v>1.6930000000000001</c:v>
                </c:pt>
                <c:pt idx="1694">
                  <c:v>1.694</c:v>
                </c:pt>
                <c:pt idx="1695">
                  <c:v>1.6950000000000001</c:v>
                </c:pt>
                <c:pt idx="1696">
                  <c:v>1.696</c:v>
                </c:pt>
                <c:pt idx="1697">
                  <c:v>1.6970000000000001</c:v>
                </c:pt>
                <c:pt idx="1698">
                  <c:v>1.698</c:v>
                </c:pt>
                <c:pt idx="1699">
                  <c:v>1.6990000000000001</c:v>
                </c:pt>
                <c:pt idx="1700">
                  <c:v>1.7</c:v>
                </c:pt>
                <c:pt idx="1701">
                  <c:v>1.7010000000000001</c:v>
                </c:pt>
                <c:pt idx="1702">
                  <c:v>1.702</c:v>
                </c:pt>
                <c:pt idx="1703">
                  <c:v>1.7030000000000001</c:v>
                </c:pt>
                <c:pt idx="1704">
                  <c:v>1.704</c:v>
                </c:pt>
                <c:pt idx="1705">
                  <c:v>1.7050000000000001</c:v>
                </c:pt>
                <c:pt idx="1706">
                  <c:v>1.706</c:v>
                </c:pt>
                <c:pt idx="1707">
                  <c:v>1.7070000000000001</c:v>
                </c:pt>
                <c:pt idx="1708">
                  <c:v>1.708</c:v>
                </c:pt>
                <c:pt idx="1709">
                  <c:v>1.7090000000000001</c:v>
                </c:pt>
                <c:pt idx="1710">
                  <c:v>1.71</c:v>
                </c:pt>
                <c:pt idx="1711">
                  <c:v>1.7110000000000001</c:v>
                </c:pt>
                <c:pt idx="1712">
                  <c:v>1.712</c:v>
                </c:pt>
                <c:pt idx="1713">
                  <c:v>1.7130000000000001</c:v>
                </c:pt>
                <c:pt idx="1714">
                  <c:v>1.714</c:v>
                </c:pt>
                <c:pt idx="1715">
                  <c:v>1.7150000000000001</c:v>
                </c:pt>
                <c:pt idx="1716">
                  <c:v>1.716</c:v>
                </c:pt>
                <c:pt idx="1717">
                  <c:v>1.7170000000000001</c:v>
                </c:pt>
                <c:pt idx="1718">
                  <c:v>1.718</c:v>
                </c:pt>
                <c:pt idx="1719">
                  <c:v>1.7190000000000001</c:v>
                </c:pt>
                <c:pt idx="1720">
                  <c:v>1.72</c:v>
                </c:pt>
                <c:pt idx="1721">
                  <c:v>1.7210000000000001</c:v>
                </c:pt>
                <c:pt idx="1722">
                  <c:v>1.722</c:v>
                </c:pt>
                <c:pt idx="1723">
                  <c:v>1.7230000000000001</c:v>
                </c:pt>
                <c:pt idx="1724">
                  <c:v>1.724</c:v>
                </c:pt>
                <c:pt idx="1725">
                  <c:v>1.7250000000000001</c:v>
                </c:pt>
                <c:pt idx="1726">
                  <c:v>1.726</c:v>
                </c:pt>
                <c:pt idx="1727">
                  <c:v>1.7270000000000001</c:v>
                </c:pt>
                <c:pt idx="1728">
                  <c:v>1.728</c:v>
                </c:pt>
                <c:pt idx="1729">
                  <c:v>1.7290000000000001</c:v>
                </c:pt>
                <c:pt idx="1730">
                  <c:v>1.73</c:v>
                </c:pt>
                <c:pt idx="1731">
                  <c:v>1.7310000000000001</c:v>
                </c:pt>
                <c:pt idx="1732">
                  <c:v>1.732</c:v>
                </c:pt>
                <c:pt idx="1733">
                  <c:v>1.7330000000000001</c:v>
                </c:pt>
                <c:pt idx="1734">
                  <c:v>1.734</c:v>
                </c:pt>
                <c:pt idx="1735">
                  <c:v>1.7350000000000001</c:v>
                </c:pt>
                <c:pt idx="1736">
                  <c:v>1.736</c:v>
                </c:pt>
                <c:pt idx="1737">
                  <c:v>1.7370000000000001</c:v>
                </c:pt>
                <c:pt idx="1738">
                  <c:v>1.738</c:v>
                </c:pt>
                <c:pt idx="1739">
                  <c:v>1.7390000000000001</c:v>
                </c:pt>
                <c:pt idx="1740">
                  <c:v>1.74</c:v>
                </c:pt>
                <c:pt idx="1741">
                  <c:v>1.7410000000000001</c:v>
                </c:pt>
                <c:pt idx="1742">
                  <c:v>1.742</c:v>
                </c:pt>
                <c:pt idx="1743">
                  <c:v>1.7430000000000001</c:v>
                </c:pt>
                <c:pt idx="1744">
                  <c:v>1.744</c:v>
                </c:pt>
                <c:pt idx="1745">
                  <c:v>1.7450000000000001</c:v>
                </c:pt>
                <c:pt idx="1746">
                  <c:v>1.746</c:v>
                </c:pt>
                <c:pt idx="1747">
                  <c:v>1.7470000000000001</c:v>
                </c:pt>
                <c:pt idx="1748">
                  <c:v>1.748</c:v>
                </c:pt>
                <c:pt idx="1749">
                  <c:v>1.7490000000000001</c:v>
                </c:pt>
                <c:pt idx="1750">
                  <c:v>1.75</c:v>
                </c:pt>
                <c:pt idx="1751">
                  <c:v>1.7509999999999999</c:v>
                </c:pt>
                <c:pt idx="1752">
                  <c:v>1.752</c:v>
                </c:pt>
                <c:pt idx="1753">
                  <c:v>1.7529999999999999</c:v>
                </c:pt>
                <c:pt idx="1754">
                  <c:v>1.754</c:v>
                </c:pt>
                <c:pt idx="1755">
                  <c:v>1.7549999999999999</c:v>
                </c:pt>
                <c:pt idx="1756">
                  <c:v>1.756</c:v>
                </c:pt>
                <c:pt idx="1757">
                  <c:v>1.7569999999999999</c:v>
                </c:pt>
                <c:pt idx="1758">
                  <c:v>1.758</c:v>
                </c:pt>
                <c:pt idx="1759">
                  <c:v>1.7589999999999999</c:v>
                </c:pt>
                <c:pt idx="1760">
                  <c:v>1.76</c:v>
                </c:pt>
                <c:pt idx="1761">
                  <c:v>1.7609999999999999</c:v>
                </c:pt>
                <c:pt idx="1762">
                  <c:v>1.762</c:v>
                </c:pt>
                <c:pt idx="1763">
                  <c:v>1.7629999999999999</c:v>
                </c:pt>
                <c:pt idx="1764">
                  <c:v>1.764</c:v>
                </c:pt>
                <c:pt idx="1765">
                  <c:v>1.7649999999999999</c:v>
                </c:pt>
                <c:pt idx="1766">
                  <c:v>1.766</c:v>
                </c:pt>
                <c:pt idx="1767">
                  <c:v>1.7669999999999999</c:v>
                </c:pt>
                <c:pt idx="1768">
                  <c:v>1.768</c:v>
                </c:pt>
                <c:pt idx="1769">
                  <c:v>1.7689999999999999</c:v>
                </c:pt>
                <c:pt idx="1770">
                  <c:v>1.77</c:v>
                </c:pt>
                <c:pt idx="1771">
                  <c:v>1.7709999999999999</c:v>
                </c:pt>
                <c:pt idx="1772">
                  <c:v>1.772</c:v>
                </c:pt>
                <c:pt idx="1773">
                  <c:v>1.7729999999999999</c:v>
                </c:pt>
                <c:pt idx="1774">
                  <c:v>1.774</c:v>
                </c:pt>
                <c:pt idx="1775">
                  <c:v>1.7749999999999999</c:v>
                </c:pt>
                <c:pt idx="1776">
                  <c:v>1.776</c:v>
                </c:pt>
                <c:pt idx="1777">
                  <c:v>1.7769999999999999</c:v>
                </c:pt>
                <c:pt idx="1778">
                  <c:v>1.778</c:v>
                </c:pt>
                <c:pt idx="1779">
                  <c:v>1.7789999999999999</c:v>
                </c:pt>
                <c:pt idx="1780">
                  <c:v>1.78</c:v>
                </c:pt>
                <c:pt idx="1781">
                  <c:v>1.7809999999999999</c:v>
                </c:pt>
                <c:pt idx="1782">
                  <c:v>1.782</c:v>
                </c:pt>
                <c:pt idx="1783">
                  <c:v>1.7829999999999999</c:v>
                </c:pt>
                <c:pt idx="1784">
                  <c:v>1.784</c:v>
                </c:pt>
                <c:pt idx="1785">
                  <c:v>1.7849999999999999</c:v>
                </c:pt>
                <c:pt idx="1786">
                  <c:v>1.786</c:v>
                </c:pt>
                <c:pt idx="1787">
                  <c:v>1.7869999999999999</c:v>
                </c:pt>
                <c:pt idx="1788">
                  <c:v>1.788</c:v>
                </c:pt>
                <c:pt idx="1789">
                  <c:v>1.7889999999999999</c:v>
                </c:pt>
                <c:pt idx="1790">
                  <c:v>1.79</c:v>
                </c:pt>
                <c:pt idx="1791">
                  <c:v>1.7909999999999999</c:v>
                </c:pt>
                <c:pt idx="1792">
                  <c:v>1.792</c:v>
                </c:pt>
                <c:pt idx="1793">
                  <c:v>1.7929999999999999</c:v>
                </c:pt>
                <c:pt idx="1794">
                  <c:v>1.794</c:v>
                </c:pt>
                <c:pt idx="1795">
                  <c:v>1.7949999999999999</c:v>
                </c:pt>
                <c:pt idx="1796">
                  <c:v>1.796</c:v>
                </c:pt>
                <c:pt idx="1797">
                  <c:v>1.7969999999999999</c:v>
                </c:pt>
                <c:pt idx="1798">
                  <c:v>1.798</c:v>
                </c:pt>
                <c:pt idx="1799">
                  <c:v>1.7989999999999999</c:v>
                </c:pt>
                <c:pt idx="1800">
                  <c:v>1.8</c:v>
                </c:pt>
                <c:pt idx="1801">
                  <c:v>1.8009999999999999</c:v>
                </c:pt>
                <c:pt idx="1802">
                  <c:v>1.802</c:v>
                </c:pt>
                <c:pt idx="1803">
                  <c:v>1.8029999999999999</c:v>
                </c:pt>
                <c:pt idx="1804">
                  <c:v>1.804</c:v>
                </c:pt>
                <c:pt idx="1805">
                  <c:v>1.8049999999999999</c:v>
                </c:pt>
                <c:pt idx="1806">
                  <c:v>1.806</c:v>
                </c:pt>
                <c:pt idx="1807">
                  <c:v>1.8069999999999999</c:v>
                </c:pt>
                <c:pt idx="1808">
                  <c:v>1.8080000000000001</c:v>
                </c:pt>
                <c:pt idx="1809">
                  <c:v>1.8089999999999999</c:v>
                </c:pt>
                <c:pt idx="1810">
                  <c:v>1.81</c:v>
                </c:pt>
                <c:pt idx="1811">
                  <c:v>1.8109999999999999</c:v>
                </c:pt>
                <c:pt idx="1812">
                  <c:v>1.8120000000000001</c:v>
                </c:pt>
                <c:pt idx="1813">
                  <c:v>1.8129999999999999</c:v>
                </c:pt>
                <c:pt idx="1814">
                  <c:v>1.8140000000000001</c:v>
                </c:pt>
                <c:pt idx="1815">
                  <c:v>1.8149999999999999</c:v>
                </c:pt>
                <c:pt idx="1816">
                  <c:v>1.8160000000000001</c:v>
                </c:pt>
                <c:pt idx="1817">
                  <c:v>1.8169999999999999</c:v>
                </c:pt>
                <c:pt idx="1818">
                  <c:v>1.8180000000000001</c:v>
                </c:pt>
                <c:pt idx="1819">
                  <c:v>1.819</c:v>
                </c:pt>
                <c:pt idx="1820">
                  <c:v>1.82</c:v>
                </c:pt>
                <c:pt idx="1821">
                  <c:v>1.821</c:v>
                </c:pt>
                <c:pt idx="1822">
                  <c:v>1.8220000000000001</c:v>
                </c:pt>
                <c:pt idx="1823">
                  <c:v>1.823</c:v>
                </c:pt>
                <c:pt idx="1824">
                  <c:v>1.8240000000000001</c:v>
                </c:pt>
                <c:pt idx="1825">
                  <c:v>1.825</c:v>
                </c:pt>
                <c:pt idx="1826">
                  <c:v>1.8260000000000001</c:v>
                </c:pt>
                <c:pt idx="1827">
                  <c:v>1.827</c:v>
                </c:pt>
                <c:pt idx="1828">
                  <c:v>1.8280000000000001</c:v>
                </c:pt>
                <c:pt idx="1829">
                  <c:v>1.829</c:v>
                </c:pt>
                <c:pt idx="1830">
                  <c:v>1.83</c:v>
                </c:pt>
                <c:pt idx="1831">
                  <c:v>1.831</c:v>
                </c:pt>
                <c:pt idx="1832">
                  <c:v>1.8320000000000001</c:v>
                </c:pt>
                <c:pt idx="1833">
                  <c:v>1.833</c:v>
                </c:pt>
                <c:pt idx="1834">
                  <c:v>1.8340000000000001</c:v>
                </c:pt>
                <c:pt idx="1835">
                  <c:v>1.835</c:v>
                </c:pt>
                <c:pt idx="1836">
                  <c:v>1.8360000000000001</c:v>
                </c:pt>
                <c:pt idx="1837">
                  <c:v>1.837</c:v>
                </c:pt>
                <c:pt idx="1838">
                  <c:v>1.8380000000000001</c:v>
                </c:pt>
                <c:pt idx="1839">
                  <c:v>1.839</c:v>
                </c:pt>
                <c:pt idx="1840">
                  <c:v>1.84</c:v>
                </c:pt>
                <c:pt idx="1841">
                  <c:v>1.841</c:v>
                </c:pt>
                <c:pt idx="1842">
                  <c:v>1.8420000000000001</c:v>
                </c:pt>
                <c:pt idx="1843">
                  <c:v>1.843</c:v>
                </c:pt>
                <c:pt idx="1844">
                  <c:v>1.8440000000000001</c:v>
                </c:pt>
                <c:pt idx="1845">
                  <c:v>1.845</c:v>
                </c:pt>
                <c:pt idx="1846">
                  <c:v>1.8460000000000001</c:v>
                </c:pt>
                <c:pt idx="1847">
                  <c:v>1.847</c:v>
                </c:pt>
                <c:pt idx="1848">
                  <c:v>1.8480000000000001</c:v>
                </c:pt>
                <c:pt idx="1849">
                  <c:v>1.849</c:v>
                </c:pt>
                <c:pt idx="1850">
                  <c:v>1.85</c:v>
                </c:pt>
                <c:pt idx="1851">
                  <c:v>1.851</c:v>
                </c:pt>
                <c:pt idx="1852">
                  <c:v>1.8520000000000001</c:v>
                </c:pt>
                <c:pt idx="1853">
                  <c:v>1.853</c:v>
                </c:pt>
                <c:pt idx="1854">
                  <c:v>1.8540000000000001</c:v>
                </c:pt>
                <c:pt idx="1855">
                  <c:v>1.855</c:v>
                </c:pt>
                <c:pt idx="1856">
                  <c:v>1.8560000000000001</c:v>
                </c:pt>
                <c:pt idx="1857">
                  <c:v>1.857</c:v>
                </c:pt>
                <c:pt idx="1858">
                  <c:v>1.8580000000000001</c:v>
                </c:pt>
                <c:pt idx="1859">
                  <c:v>1.859</c:v>
                </c:pt>
                <c:pt idx="1860">
                  <c:v>1.86</c:v>
                </c:pt>
                <c:pt idx="1861">
                  <c:v>1.861</c:v>
                </c:pt>
                <c:pt idx="1862">
                  <c:v>1.8620000000000001</c:v>
                </c:pt>
                <c:pt idx="1863">
                  <c:v>1.863</c:v>
                </c:pt>
                <c:pt idx="1864">
                  <c:v>1.8640000000000001</c:v>
                </c:pt>
                <c:pt idx="1865">
                  <c:v>1.865</c:v>
                </c:pt>
                <c:pt idx="1866">
                  <c:v>1.8660000000000001</c:v>
                </c:pt>
                <c:pt idx="1867">
                  <c:v>1.867</c:v>
                </c:pt>
                <c:pt idx="1868">
                  <c:v>1.8680000000000001</c:v>
                </c:pt>
                <c:pt idx="1869">
                  <c:v>1.869</c:v>
                </c:pt>
                <c:pt idx="1870">
                  <c:v>1.87</c:v>
                </c:pt>
                <c:pt idx="1871">
                  <c:v>1.871</c:v>
                </c:pt>
                <c:pt idx="1872">
                  <c:v>1.8720000000000001</c:v>
                </c:pt>
                <c:pt idx="1873">
                  <c:v>1.873</c:v>
                </c:pt>
                <c:pt idx="1874">
                  <c:v>1.8740000000000001</c:v>
                </c:pt>
                <c:pt idx="1875">
                  <c:v>1.875</c:v>
                </c:pt>
                <c:pt idx="1876">
                  <c:v>1.8759999999999999</c:v>
                </c:pt>
                <c:pt idx="1877">
                  <c:v>1.877</c:v>
                </c:pt>
                <c:pt idx="1878">
                  <c:v>1.8779999999999999</c:v>
                </c:pt>
                <c:pt idx="1879">
                  <c:v>1.879</c:v>
                </c:pt>
                <c:pt idx="1880">
                  <c:v>1.88</c:v>
                </c:pt>
                <c:pt idx="1881">
                  <c:v>1.881</c:v>
                </c:pt>
                <c:pt idx="1882">
                  <c:v>1.8819999999999999</c:v>
                </c:pt>
                <c:pt idx="1883">
                  <c:v>1.883</c:v>
                </c:pt>
                <c:pt idx="1884">
                  <c:v>1.8839999999999999</c:v>
                </c:pt>
                <c:pt idx="1885">
                  <c:v>1.885</c:v>
                </c:pt>
                <c:pt idx="1886">
                  <c:v>1.8859999999999999</c:v>
                </c:pt>
                <c:pt idx="1887">
                  <c:v>1.887</c:v>
                </c:pt>
                <c:pt idx="1888">
                  <c:v>1.8879999999999999</c:v>
                </c:pt>
                <c:pt idx="1889">
                  <c:v>1.889</c:v>
                </c:pt>
                <c:pt idx="1890">
                  <c:v>1.89</c:v>
                </c:pt>
                <c:pt idx="1891">
                  <c:v>1.891</c:v>
                </c:pt>
                <c:pt idx="1892">
                  <c:v>1.8919999999999999</c:v>
                </c:pt>
                <c:pt idx="1893">
                  <c:v>1.893</c:v>
                </c:pt>
                <c:pt idx="1894">
                  <c:v>1.8939999999999999</c:v>
                </c:pt>
                <c:pt idx="1895">
                  <c:v>1.895</c:v>
                </c:pt>
                <c:pt idx="1896">
                  <c:v>1.8959999999999999</c:v>
                </c:pt>
                <c:pt idx="1897">
                  <c:v>1.897</c:v>
                </c:pt>
                <c:pt idx="1898">
                  <c:v>1.8979999999999999</c:v>
                </c:pt>
                <c:pt idx="1899">
                  <c:v>1.899</c:v>
                </c:pt>
                <c:pt idx="1900">
                  <c:v>1.9</c:v>
                </c:pt>
                <c:pt idx="1901">
                  <c:v>1.901</c:v>
                </c:pt>
                <c:pt idx="1902">
                  <c:v>1.9019999999999999</c:v>
                </c:pt>
                <c:pt idx="1903">
                  <c:v>1.903</c:v>
                </c:pt>
                <c:pt idx="1904">
                  <c:v>1.9039999999999999</c:v>
                </c:pt>
                <c:pt idx="1905">
                  <c:v>1.905</c:v>
                </c:pt>
                <c:pt idx="1906">
                  <c:v>1.9059999999999999</c:v>
                </c:pt>
                <c:pt idx="1907">
                  <c:v>1.907</c:v>
                </c:pt>
                <c:pt idx="1908">
                  <c:v>1.9079999999999999</c:v>
                </c:pt>
                <c:pt idx="1909">
                  <c:v>1.909</c:v>
                </c:pt>
                <c:pt idx="1910">
                  <c:v>1.91</c:v>
                </c:pt>
                <c:pt idx="1911">
                  <c:v>1.911</c:v>
                </c:pt>
                <c:pt idx="1912">
                  <c:v>1.9119999999999999</c:v>
                </c:pt>
                <c:pt idx="1913">
                  <c:v>1.913</c:v>
                </c:pt>
                <c:pt idx="1914">
                  <c:v>1.9139999999999999</c:v>
                </c:pt>
                <c:pt idx="1915">
                  <c:v>1.915</c:v>
                </c:pt>
                <c:pt idx="1916">
                  <c:v>1.9159999999999999</c:v>
                </c:pt>
                <c:pt idx="1917">
                  <c:v>1.917</c:v>
                </c:pt>
                <c:pt idx="1918">
                  <c:v>1.9179999999999999</c:v>
                </c:pt>
                <c:pt idx="1919">
                  <c:v>1.919</c:v>
                </c:pt>
                <c:pt idx="1920">
                  <c:v>1.92</c:v>
                </c:pt>
                <c:pt idx="1921">
                  <c:v>1.921</c:v>
                </c:pt>
                <c:pt idx="1922">
                  <c:v>1.9219999999999999</c:v>
                </c:pt>
                <c:pt idx="1923">
                  <c:v>1.923</c:v>
                </c:pt>
                <c:pt idx="1924">
                  <c:v>1.9239999999999999</c:v>
                </c:pt>
                <c:pt idx="1925">
                  <c:v>1.925</c:v>
                </c:pt>
                <c:pt idx="1926">
                  <c:v>1.9259999999999999</c:v>
                </c:pt>
                <c:pt idx="1927">
                  <c:v>1.927</c:v>
                </c:pt>
                <c:pt idx="1928">
                  <c:v>1.9279999999999999</c:v>
                </c:pt>
                <c:pt idx="1929">
                  <c:v>1.929</c:v>
                </c:pt>
                <c:pt idx="1930">
                  <c:v>1.93</c:v>
                </c:pt>
                <c:pt idx="1931">
                  <c:v>1.931</c:v>
                </c:pt>
                <c:pt idx="1932">
                  <c:v>1.9319999999999999</c:v>
                </c:pt>
                <c:pt idx="1933">
                  <c:v>1.9330000000000001</c:v>
                </c:pt>
                <c:pt idx="1934">
                  <c:v>1.9339999999999999</c:v>
                </c:pt>
                <c:pt idx="1935">
                  <c:v>1.9350000000000001</c:v>
                </c:pt>
                <c:pt idx="1936">
                  <c:v>1.9359999999999999</c:v>
                </c:pt>
                <c:pt idx="1937">
                  <c:v>1.9370000000000001</c:v>
                </c:pt>
                <c:pt idx="1938">
                  <c:v>1.9379999999999999</c:v>
                </c:pt>
                <c:pt idx="1939">
                  <c:v>1.9390000000000001</c:v>
                </c:pt>
                <c:pt idx="1940">
                  <c:v>1.94</c:v>
                </c:pt>
                <c:pt idx="1941">
                  <c:v>1.9410000000000001</c:v>
                </c:pt>
                <c:pt idx="1942">
                  <c:v>1.9419999999999999</c:v>
                </c:pt>
                <c:pt idx="1943">
                  <c:v>1.9430000000000001</c:v>
                </c:pt>
                <c:pt idx="1944">
                  <c:v>1.944</c:v>
                </c:pt>
                <c:pt idx="1945">
                  <c:v>1.9450000000000001</c:v>
                </c:pt>
                <c:pt idx="1946">
                  <c:v>1.946</c:v>
                </c:pt>
                <c:pt idx="1947">
                  <c:v>1.9470000000000001</c:v>
                </c:pt>
                <c:pt idx="1948">
                  <c:v>1.948</c:v>
                </c:pt>
                <c:pt idx="1949">
                  <c:v>1.9490000000000001</c:v>
                </c:pt>
                <c:pt idx="1950">
                  <c:v>1.95</c:v>
                </c:pt>
                <c:pt idx="1951">
                  <c:v>1.9510000000000001</c:v>
                </c:pt>
                <c:pt idx="1952">
                  <c:v>1.952</c:v>
                </c:pt>
                <c:pt idx="1953">
                  <c:v>1.9530000000000001</c:v>
                </c:pt>
                <c:pt idx="1954">
                  <c:v>1.954</c:v>
                </c:pt>
                <c:pt idx="1955">
                  <c:v>1.9550000000000001</c:v>
                </c:pt>
                <c:pt idx="1956">
                  <c:v>1.956</c:v>
                </c:pt>
                <c:pt idx="1957">
                  <c:v>1.9570000000000001</c:v>
                </c:pt>
                <c:pt idx="1958">
                  <c:v>1.958</c:v>
                </c:pt>
                <c:pt idx="1959">
                  <c:v>1.9590000000000001</c:v>
                </c:pt>
                <c:pt idx="1960">
                  <c:v>1.96</c:v>
                </c:pt>
                <c:pt idx="1961">
                  <c:v>1.9610000000000001</c:v>
                </c:pt>
                <c:pt idx="1962">
                  <c:v>1.962</c:v>
                </c:pt>
                <c:pt idx="1963">
                  <c:v>1.9630000000000001</c:v>
                </c:pt>
                <c:pt idx="1964">
                  <c:v>1.964</c:v>
                </c:pt>
                <c:pt idx="1965">
                  <c:v>1.9650000000000001</c:v>
                </c:pt>
                <c:pt idx="1966">
                  <c:v>1.966</c:v>
                </c:pt>
                <c:pt idx="1967">
                  <c:v>1.9670000000000001</c:v>
                </c:pt>
                <c:pt idx="1968">
                  <c:v>1.968</c:v>
                </c:pt>
                <c:pt idx="1969">
                  <c:v>1.9690000000000001</c:v>
                </c:pt>
                <c:pt idx="1970">
                  <c:v>1.97</c:v>
                </c:pt>
                <c:pt idx="1971">
                  <c:v>1.9710000000000001</c:v>
                </c:pt>
                <c:pt idx="1972">
                  <c:v>1.972</c:v>
                </c:pt>
                <c:pt idx="1973">
                  <c:v>1.9730000000000001</c:v>
                </c:pt>
                <c:pt idx="1974">
                  <c:v>1.974</c:v>
                </c:pt>
                <c:pt idx="1975">
                  <c:v>1.9750000000000001</c:v>
                </c:pt>
                <c:pt idx="1976">
                  <c:v>1.976</c:v>
                </c:pt>
                <c:pt idx="1977">
                  <c:v>1.9770000000000001</c:v>
                </c:pt>
                <c:pt idx="1978">
                  <c:v>1.978</c:v>
                </c:pt>
                <c:pt idx="1979">
                  <c:v>1.9790000000000001</c:v>
                </c:pt>
                <c:pt idx="1980">
                  <c:v>1.98</c:v>
                </c:pt>
                <c:pt idx="1981">
                  <c:v>1.9810000000000001</c:v>
                </c:pt>
                <c:pt idx="1982">
                  <c:v>1.982</c:v>
                </c:pt>
                <c:pt idx="1983">
                  <c:v>1.9830000000000001</c:v>
                </c:pt>
                <c:pt idx="1984">
                  <c:v>1.984</c:v>
                </c:pt>
                <c:pt idx="1985">
                  <c:v>1.9850000000000001</c:v>
                </c:pt>
                <c:pt idx="1986">
                  <c:v>1.986</c:v>
                </c:pt>
                <c:pt idx="1987">
                  <c:v>1.9870000000000001</c:v>
                </c:pt>
                <c:pt idx="1988">
                  <c:v>1.988</c:v>
                </c:pt>
                <c:pt idx="1989">
                  <c:v>1.9890000000000001</c:v>
                </c:pt>
                <c:pt idx="1990">
                  <c:v>1.99</c:v>
                </c:pt>
                <c:pt idx="1991">
                  <c:v>1.9910000000000001</c:v>
                </c:pt>
                <c:pt idx="1992">
                  <c:v>1.992</c:v>
                </c:pt>
                <c:pt idx="1993">
                  <c:v>1.9930000000000001</c:v>
                </c:pt>
                <c:pt idx="1994">
                  <c:v>1.994</c:v>
                </c:pt>
                <c:pt idx="1995">
                  <c:v>1.9950000000000001</c:v>
                </c:pt>
                <c:pt idx="1996">
                  <c:v>1.996</c:v>
                </c:pt>
                <c:pt idx="1997">
                  <c:v>1.9970000000000001</c:v>
                </c:pt>
                <c:pt idx="1998">
                  <c:v>1.998</c:v>
                </c:pt>
                <c:pt idx="1999">
                  <c:v>1.9990000000000001</c:v>
                </c:pt>
                <c:pt idx="2000">
                  <c:v>2</c:v>
                </c:pt>
                <c:pt idx="2001">
                  <c:v>2.0009999999999999</c:v>
                </c:pt>
                <c:pt idx="2002">
                  <c:v>2.0019999999999998</c:v>
                </c:pt>
                <c:pt idx="2003">
                  <c:v>2.0030000000000001</c:v>
                </c:pt>
                <c:pt idx="2004">
                  <c:v>2.004</c:v>
                </c:pt>
                <c:pt idx="2005">
                  <c:v>2.0049999999999999</c:v>
                </c:pt>
                <c:pt idx="2006">
                  <c:v>2.0059999999999998</c:v>
                </c:pt>
                <c:pt idx="2007">
                  <c:v>2.0070000000000001</c:v>
                </c:pt>
                <c:pt idx="2008">
                  <c:v>2.008</c:v>
                </c:pt>
                <c:pt idx="2009">
                  <c:v>2.0089999999999999</c:v>
                </c:pt>
                <c:pt idx="2010">
                  <c:v>2.0099999999999998</c:v>
                </c:pt>
                <c:pt idx="2011">
                  <c:v>2.0110000000000001</c:v>
                </c:pt>
                <c:pt idx="2012">
                  <c:v>2.012</c:v>
                </c:pt>
                <c:pt idx="2013">
                  <c:v>2.0129999999999999</c:v>
                </c:pt>
                <c:pt idx="2014">
                  <c:v>2.0139999999999998</c:v>
                </c:pt>
                <c:pt idx="2015">
                  <c:v>2.0150000000000001</c:v>
                </c:pt>
                <c:pt idx="2016">
                  <c:v>2.016</c:v>
                </c:pt>
                <c:pt idx="2017">
                  <c:v>2.0169999999999999</c:v>
                </c:pt>
                <c:pt idx="2018">
                  <c:v>2.0179999999999998</c:v>
                </c:pt>
                <c:pt idx="2019">
                  <c:v>2.0190000000000001</c:v>
                </c:pt>
                <c:pt idx="2020">
                  <c:v>2.02</c:v>
                </c:pt>
                <c:pt idx="2021">
                  <c:v>2.0209999999999999</c:v>
                </c:pt>
                <c:pt idx="2022">
                  <c:v>2.0219999999999998</c:v>
                </c:pt>
                <c:pt idx="2023">
                  <c:v>2.0230000000000001</c:v>
                </c:pt>
                <c:pt idx="2024">
                  <c:v>2.024</c:v>
                </c:pt>
                <c:pt idx="2025">
                  <c:v>2.0249999999999999</c:v>
                </c:pt>
                <c:pt idx="2026">
                  <c:v>2.0259999999999998</c:v>
                </c:pt>
                <c:pt idx="2027">
                  <c:v>2.0270000000000001</c:v>
                </c:pt>
                <c:pt idx="2028">
                  <c:v>2.028</c:v>
                </c:pt>
                <c:pt idx="2029">
                  <c:v>2.0289999999999999</c:v>
                </c:pt>
                <c:pt idx="2030">
                  <c:v>2.0299999999999998</c:v>
                </c:pt>
                <c:pt idx="2031">
                  <c:v>2.0310000000000001</c:v>
                </c:pt>
                <c:pt idx="2032">
                  <c:v>2.032</c:v>
                </c:pt>
                <c:pt idx="2033">
                  <c:v>2.0329999999999999</c:v>
                </c:pt>
                <c:pt idx="2034">
                  <c:v>2.0339999999999998</c:v>
                </c:pt>
                <c:pt idx="2035">
                  <c:v>2.0350000000000001</c:v>
                </c:pt>
                <c:pt idx="2036">
                  <c:v>2.036</c:v>
                </c:pt>
                <c:pt idx="2037">
                  <c:v>2.0369999999999999</c:v>
                </c:pt>
                <c:pt idx="2038">
                  <c:v>2.0379999999999998</c:v>
                </c:pt>
                <c:pt idx="2039">
                  <c:v>2.0390000000000001</c:v>
                </c:pt>
                <c:pt idx="2040">
                  <c:v>2.04</c:v>
                </c:pt>
                <c:pt idx="2041">
                  <c:v>2.0409999999999999</c:v>
                </c:pt>
                <c:pt idx="2042">
                  <c:v>2.0419999999999998</c:v>
                </c:pt>
                <c:pt idx="2043">
                  <c:v>2.0430000000000001</c:v>
                </c:pt>
                <c:pt idx="2044">
                  <c:v>2.044</c:v>
                </c:pt>
                <c:pt idx="2045">
                  <c:v>2.0449999999999999</c:v>
                </c:pt>
                <c:pt idx="2046">
                  <c:v>2.0459999999999998</c:v>
                </c:pt>
                <c:pt idx="2047">
                  <c:v>2.0470000000000002</c:v>
                </c:pt>
                <c:pt idx="2048">
                  <c:v>2.048</c:v>
                </c:pt>
                <c:pt idx="2049">
                  <c:v>2.0489999999999999</c:v>
                </c:pt>
                <c:pt idx="2050">
                  <c:v>2.0499999999999998</c:v>
                </c:pt>
                <c:pt idx="2051">
                  <c:v>2.0510000000000002</c:v>
                </c:pt>
                <c:pt idx="2052">
                  <c:v>2.052</c:v>
                </c:pt>
                <c:pt idx="2053">
                  <c:v>2.0529999999999999</c:v>
                </c:pt>
                <c:pt idx="2054">
                  <c:v>2.0539999999999998</c:v>
                </c:pt>
                <c:pt idx="2055">
                  <c:v>2.0550000000000002</c:v>
                </c:pt>
                <c:pt idx="2056">
                  <c:v>2.056</c:v>
                </c:pt>
                <c:pt idx="2057">
                  <c:v>2.0569999999999999</c:v>
                </c:pt>
                <c:pt idx="2058">
                  <c:v>2.0579999999999998</c:v>
                </c:pt>
                <c:pt idx="2059">
                  <c:v>2.0590000000000002</c:v>
                </c:pt>
                <c:pt idx="2060">
                  <c:v>2.06</c:v>
                </c:pt>
                <c:pt idx="2061">
                  <c:v>2.0609999999999999</c:v>
                </c:pt>
                <c:pt idx="2062">
                  <c:v>2.0619999999999998</c:v>
                </c:pt>
                <c:pt idx="2063">
                  <c:v>2.0630000000000002</c:v>
                </c:pt>
                <c:pt idx="2064">
                  <c:v>2.0640000000000001</c:v>
                </c:pt>
                <c:pt idx="2065">
                  <c:v>2.0649999999999999</c:v>
                </c:pt>
                <c:pt idx="2066">
                  <c:v>2.0659999999999998</c:v>
                </c:pt>
                <c:pt idx="2067">
                  <c:v>2.0670000000000002</c:v>
                </c:pt>
                <c:pt idx="2068">
                  <c:v>2.0680000000000001</c:v>
                </c:pt>
                <c:pt idx="2069">
                  <c:v>2.069</c:v>
                </c:pt>
                <c:pt idx="2070">
                  <c:v>2.0699999999999998</c:v>
                </c:pt>
                <c:pt idx="2071">
                  <c:v>2.0710000000000002</c:v>
                </c:pt>
                <c:pt idx="2072">
                  <c:v>2.0720000000000001</c:v>
                </c:pt>
                <c:pt idx="2073">
                  <c:v>2.073</c:v>
                </c:pt>
                <c:pt idx="2074">
                  <c:v>2.0739999999999998</c:v>
                </c:pt>
                <c:pt idx="2075">
                  <c:v>2.0750000000000002</c:v>
                </c:pt>
                <c:pt idx="2076">
                  <c:v>2.0760000000000001</c:v>
                </c:pt>
                <c:pt idx="2077">
                  <c:v>2.077</c:v>
                </c:pt>
                <c:pt idx="2078">
                  <c:v>2.0779999999999998</c:v>
                </c:pt>
                <c:pt idx="2079">
                  <c:v>2.0790000000000002</c:v>
                </c:pt>
                <c:pt idx="2080">
                  <c:v>2.08</c:v>
                </c:pt>
                <c:pt idx="2081">
                  <c:v>2.081</c:v>
                </c:pt>
                <c:pt idx="2082">
                  <c:v>2.0819999999999999</c:v>
                </c:pt>
                <c:pt idx="2083">
                  <c:v>2.0830000000000002</c:v>
                </c:pt>
                <c:pt idx="2084">
                  <c:v>2.0840000000000001</c:v>
                </c:pt>
                <c:pt idx="2085">
                  <c:v>2.085</c:v>
                </c:pt>
                <c:pt idx="2086">
                  <c:v>2.0859999999999999</c:v>
                </c:pt>
                <c:pt idx="2087">
                  <c:v>2.0870000000000002</c:v>
                </c:pt>
                <c:pt idx="2088">
                  <c:v>2.0880000000000001</c:v>
                </c:pt>
                <c:pt idx="2089">
                  <c:v>2.089</c:v>
                </c:pt>
                <c:pt idx="2090">
                  <c:v>2.09</c:v>
                </c:pt>
                <c:pt idx="2091">
                  <c:v>2.0910000000000002</c:v>
                </c:pt>
                <c:pt idx="2092">
                  <c:v>2.0920000000000001</c:v>
                </c:pt>
                <c:pt idx="2093">
                  <c:v>2.093</c:v>
                </c:pt>
                <c:pt idx="2094">
                  <c:v>2.0939999999999999</c:v>
                </c:pt>
                <c:pt idx="2095">
                  <c:v>2.0950000000000002</c:v>
                </c:pt>
                <c:pt idx="2096">
                  <c:v>2.0960000000000001</c:v>
                </c:pt>
                <c:pt idx="2097">
                  <c:v>2.097</c:v>
                </c:pt>
                <c:pt idx="2098">
                  <c:v>2.0979999999999999</c:v>
                </c:pt>
                <c:pt idx="2099">
                  <c:v>2.0990000000000002</c:v>
                </c:pt>
                <c:pt idx="2100">
                  <c:v>2.1</c:v>
                </c:pt>
                <c:pt idx="2101">
                  <c:v>2.101</c:v>
                </c:pt>
                <c:pt idx="2102">
                  <c:v>2.1019999999999999</c:v>
                </c:pt>
                <c:pt idx="2103">
                  <c:v>2.1030000000000002</c:v>
                </c:pt>
                <c:pt idx="2104">
                  <c:v>2.1040000000000001</c:v>
                </c:pt>
                <c:pt idx="2105">
                  <c:v>2.105</c:v>
                </c:pt>
                <c:pt idx="2106">
                  <c:v>2.1059999999999999</c:v>
                </c:pt>
                <c:pt idx="2107">
                  <c:v>2.1070000000000002</c:v>
                </c:pt>
                <c:pt idx="2108">
                  <c:v>2.1080000000000001</c:v>
                </c:pt>
                <c:pt idx="2109">
                  <c:v>2.109</c:v>
                </c:pt>
                <c:pt idx="2110">
                  <c:v>2.11</c:v>
                </c:pt>
                <c:pt idx="2111">
                  <c:v>2.1110000000000002</c:v>
                </c:pt>
                <c:pt idx="2112">
                  <c:v>2.1120000000000001</c:v>
                </c:pt>
                <c:pt idx="2113">
                  <c:v>2.113</c:v>
                </c:pt>
                <c:pt idx="2114">
                  <c:v>2.1139999999999999</c:v>
                </c:pt>
                <c:pt idx="2115">
                  <c:v>2.1150000000000002</c:v>
                </c:pt>
                <c:pt idx="2116">
                  <c:v>2.1160000000000001</c:v>
                </c:pt>
                <c:pt idx="2117">
                  <c:v>2.117</c:v>
                </c:pt>
                <c:pt idx="2118">
                  <c:v>2.1179999999999999</c:v>
                </c:pt>
                <c:pt idx="2119">
                  <c:v>2.1190000000000002</c:v>
                </c:pt>
                <c:pt idx="2120">
                  <c:v>2.12</c:v>
                </c:pt>
                <c:pt idx="2121">
                  <c:v>2.121</c:v>
                </c:pt>
                <c:pt idx="2122">
                  <c:v>2.1219999999999999</c:v>
                </c:pt>
                <c:pt idx="2123">
                  <c:v>2.1230000000000002</c:v>
                </c:pt>
                <c:pt idx="2124">
                  <c:v>2.1240000000000001</c:v>
                </c:pt>
                <c:pt idx="2125">
                  <c:v>2.125</c:v>
                </c:pt>
                <c:pt idx="2126">
                  <c:v>2.1259999999999999</c:v>
                </c:pt>
                <c:pt idx="2127">
                  <c:v>2.1269999999999998</c:v>
                </c:pt>
                <c:pt idx="2128">
                  <c:v>2.1280000000000001</c:v>
                </c:pt>
                <c:pt idx="2129">
                  <c:v>2.129</c:v>
                </c:pt>
                <c:pt idx="2130">
                  <c:v>2.13</c:v>
                </c:pt>
                <c:pt idx="2131">
                  <c:v>2.1309999999999998</c:v>
                </c:pt>
                <c:pt idx="2132">
                  <c:v>2.1320000000000001</c:v>
                </c:pt>
                <c:pt idx="2133">
                  <c:v>2.133</c:v>
                </c:pt>
                <c:pt idx="2134">
                  <c:v>2.1339999999999999</c:v>
                </c:pt>
                <c:pt idx="2135">
                  <c:v>2.1349999999999998</c:v>
                </c:pt>
                <c:pt idx="2136">
                  <c:v>2.1360000000000001</c:v>
                </c:pt>
                <c:pt idx="2137">
                  <c:v>2.137</c:v>
                </c:pt>
                <c:pt idx="2138">
                  <c:v>2.1379999999999999</c:v>
                </c:pt>
                <c:pt idx="2139">
                  <c:v>2.1389999999999998</c:v>
                </c:pt>
                <c:pt idx="2140">
                  <c:v>2.14</c:v>
                </c:pt>
                <c:pt idx="2141">
                  <c:v>2.141</c:v>
                </c:pt>
                <c:pt idx="2142">
                  <c:v>2.1419999999999999</c:v>
                </c:pt>
                <c:pt idx="2143">
                  <c:v>2.1429999999999998</c:v>
                </c:pt>
                <c:pt idx="2144">
                  <c:v>2.1440000000000001</c:v>
                </c:pt>
                <c:pt idx="2145">
                  <c:v>2.145</c:v>
                </c:pt>
                <c:pt idx="2146">
                  <c:v>2.1459999999999999</c:v>
                </c:pt>
                <c:pt idx="2147">
                  <c:v>2.1469999999999998</c:v>
                </c:pt>
                <c:pt idx="2148">
                  <c:v>2.1480000000000001</c:v>
                </c:pt>
                <c:pt idx="2149">
                  <c:v>2.149</c:v>
                </c:pt>
                <c:pt idx="2150">
                  <c:v>2.15</c:v>
                </c:pt>
                <c:pt idx="2151">
                  <c:v>2.1509999999999998</c:v>
                </c:pt>
                <c:pt idx="2152">
                  <c:v>2.1520000000000001</c:v>
                </c:pt>
                <c:pt idx="2153">
                  <c:v>2.153</c:v>
                </c:pt>
                <c:pt idx="2154">
                  <c:v>2.1539999999999999</c:v>
                </c:pt>
                <c:pt idx="2155">
                  <c:v>2.1549999999999998</c:v>
                </c:pt>
                <c:pt idx="2156">
                  <c:v>2.1560000000000001</c:v>
                </c:pt>
                <c:pt idx="2157">
                  <c:v>2.157</c:v>
                </c:pt>
                <c:pt idx="2158">
                  <c:v>2.1579999999999999</c:v>
                </c:pt>
                <c:pt idx="2159">
                  <c:v>2.1589999999999998</c:v>
                </c:pt>
                <c:pt idx="2160">
                  <c:v>2.16</c:v>
                </c:pt>
                <c:pt idx="2161">
                  <c:v>2.161</c:v>
                </c:pt>
                <c:pt idx="2162">
                  <c:v>2.1619999999999999</c:v>
                </c:pt>
                <c:pt idx="2163">
                  <c:v>2.1629999999999998</c:v>
                </c:pt>
                <c:pt idx="2164">
                  <c:v>2.1640000000000001</c:v>
                </c:pt>
                <c:pt idx="2165">
                  <c:v>2.165</c:v>
                </c:pt>
                <c:pt idx="2166">
                  <c:v>2.1659999999999999</c:v>
                </c:pt>
                <c:pt idx="2167">
                  <c:v>2.1669999999999998</c:v>
                </c:pt>
                <c:pt idx="2168">
                  <c:v>2.1680000000000001</c:v>
                </c:pt>
                <c:pt idx="2169">
                  <c:v>2.169</c:v>
                </c:pt>
                <c:pt idx="2170">
                  <c:v>2.17</c:v>
                </c:pt>
                <c:pt idx="2171">
                  <c:v>2.1709999999999998</c:v>
                </c:pt>
                <c:pt idx="2172">
                  <c:v>2.1720000000000002</c:v>
                </c:pt>
                <c:pt idx="2173">
                  <c:v>2.173</c:v>
                </c:pt>
                <c:pt idx="2174">
                  <c:v>2.1739999999999999</c:v>
                </c:pt>
                <c:pt idx="2175">
                  <c:v>2.1749999999999998</c:v>
                </c:pt>
                <c:pt idx="2176">
                  <c:v>2.1760000000000002</c:v>
                </c:pt>
                <c:pt idx="2177">
                  <c:v>2.177</c:v>
                </c:pt>
                <c:pt idx="2178">
                  <c:v>2.1779999999999999</c:v>
                </c:pt>
                <c:pt idx="2179">
                  <c:v>2.1789999999999998</c:v>
                </c:pt>
                <c:pt idx="2180">
                  <c:v>2.1800000000000002</c:v>
                </c:pt>
                <c:pt idx="2181">
                  <c:v>2.181</c:v>
                </c:pt>
                <c:pt idx="2182">
                  <c:v>2.1819999999999999</c:v>
                </c:pt>
                <c:pt idx="2183">
                  <c:v>2.1829999999999998</c:v>
                </c:pt>
                <c:pt idx="2184">
                  <c:v>2.1840000000000002</c:v>
                </c:pt>
                <c:pt idx="2185">
                  <c:v>2.1850000000000001</c:v>
                </c:pt>
                <c:pt idx="2186">
                  <c:v>2.1859999999999999</c:v>
                </c:pt>
                <c:pt idx="2187">
                  <c:v>2.1869999999999998</c:v>
                </c:pt>
                <c:pt idx="2188">
                  <c:v>2.1880000000000002</c:v>
                </c:pt>
                <c:pt idx="2189">
                  <c:v>2.1890000000000001</c:v>
                </c:pt>
                <c:pt idx="2190">
                  <c:v>2.19</c:v>
                </c:pt>
                <c:pt idx="2191">
                  <c:v>2.1909999999999998</c:v>
                </c:pt>
                <c:pt idx="2192">
                  <c:v>2.1920000000000002</c:v>
                </c:pt>
                <c:pt idx="2193">
                  <c:v>2.1930000000000001</c:v>
                </c:pt>
                <c:pt idx="2194">
                  <c:v>2.194</c:v>
                </c:pt>
                <c:pt idx="2195">
                  <c:v>2.1949999999999998</c:v>
                </c:pt>
                <c:pt idx="2196">
                  <c:v>2.1960000000000002</c:v>
                </c:pt>
                <c:pt idx="2197">
                  <c:v>2.1970000000000001</c:v>
                </c:pt>
                <c:pt idx="2198">
                  <c:v>2.198</c:v>
                </c:pt>
                <c:pt idx="2199">
                  <c:v>2.1989999999999998</c:v>
                </c:pt>
                <c:pt idx="2200">
                  <c:v>2.2000000000000002</c:v>
                </c:pt>
                <c:pt idx="2201">
                  <c:v>2.2010000000000001</c:v>
                </c:pt>
                <c:pt idx="2202">
                  <c:v>2.202</c:v>
                </c:pt>
                <c:pt idx="2203">
                  <c:v>2.2029999999999998</c:v>
                </c:pt>
                <c:pt idx="2204">
                  <c:v>2.2040000000000002</c:v>
                </c:pt>
                <c:pt idx="2205">
                  <c:v>2.2050000000000001</c:v>
                </c:pt>
                <c:pt idx="2206">
                  <c:v>2.206</c:v>
                </c:pt>
                <c:pt idx="2207">
                  <c:v>2.2069999999999999</c:v>
                </c:pt>
                <c:pt idx="2208">
                  <c:v>2.2080000000000002</c:v>
                </c:pt>
                <c:pt idx="2209">
                  <c:v>2.2090000000000001</c:v>
                </c:pt>
                <c:pt idx="2210">
                  <c:v>2.21</c:v>
                </c:pt>
                <c:pt idx="2211">
                  <c:v>2.2109999999999999</c:v>
                </c:pt>
                <c:pt idx="2212">
                  <c:v>2.2120000000000002</c:v>
                </c:pt>
                <c:pt idx="2213">
                  <c:v>2.2130000000000001</c:v>
                </c:pt>
                <c:pt idx="2214">
                  <c:v>2.214</c:v>
                </c:pt>
                <c:pt idx="2215">
                  <c:v>2.2149999999999999</c:v>
                </c:pt>
                <c:pt idx="2216">
                  <c:v>2.2160000000000002</c:v>
                </c:pt>
                <c:pt idx="2217">
                  <c:v>2.2170000000000001</c:v>
                </c:pt>
                <c:pt idx="2218">
                  <c:v>2.218</c:v>
                </c:pt>
                <c:pt idx="2219">
                  <c:v>2.2189999999999999</c:v>
                </c:pt>
                <c:pt idx="2220">
                  <c:v>2.2200000000000002</c:v>
                </c:pt>
                <c:pt idx="2221">
                  <c:v>2.2210000000000001</c:v>
                </c:pt>
                <c:pt idx="2222">
                  <c:v>2.222</c:v>
                </c:pt>
                <c:pt idx="2223">
                  <c:v>2.2229999999999999</c:v>
                </c:pt>
                <c:pt idx="2224">
                  <c:v>2.2240000000000002</c:v>
                </c:pt>
                <c:pt idx="2225">
                  <c:v>2.2250000000000001</c:v>
                </c:pt>
                <c:pt idx="2226">
                  <c:v>2.226</c:v>
                </c:pt>
                <c:pt idx="2227">
                  <c:v>2.2269999999999999</c:v>
                </c:pt>
                <c:pt idx="2228">
                  <c:v>2.2280000000000002</c:v>
                </c:pt>
                <c:pt idx="2229">
                  <c:v>2.2290000000000001</c:v>
                </c:pt>
                <c:pt idx="2230">
                  <c:v>2.23</c:v>
                </c:pt>
                <c:pt idx="2231">
                  <c:v>2.2309999999999999</c:v>
                </c:pt>
                <c:pt idx="2232">
                  <c:v>2.2320000000000002</c:v>
                </c:pt>
                <c:pt idx="2233">
                  <c:v>2.2330000000000001</c:v>
                </c:pt>
                <c:pt idx="2234">
                  <c:v>2.234</c:v>
                </c:pt>
                <c:pt idx="2235">
                  <c:v>2.2349999999999999</c:v>
                </c:pt>
                <c:pt idx="2236">
                  <c:v>2.2360000000000002</c:v>
                </c:pt>
                <c:pt idx="2237">
                  <c:v>2.2370000000000001</c:v>
                </c:pt>
                <c:pt idx="2238">
                  <c:v>2.238</c:v>
                </c:pt>
                <c:pt idx="2239">
                  <c:v>2.2389999999999999</c:v>
                </c:pt>
                <c:pt idx="2240">
                  <c:v>2.2400000000000002</c:v>
                </c:pt>
                <c:pt idx="2241">
                  <c:v>2.2410000000000001</c:v>
                </c:pt>
                <c:pt idx="2242">
                  <c:v>2.242</c:v>
                </c:pt>
                <c:pt idx="2243">
                  <c:v>2.2429999999999999</c:v>
                </c:pt>
                <c:pt idx="2244">
                  <c:v>2.2440000000000002</c:v>
                </c:pt>
                <c:pt idx="2245">
                  <c:v>2.2450000000000001</c:v>
                </c:pt>
                <c:pt idx="2246">
                  <c:v>2.246</c:v>
                </c:pt>
                <c:pt idx="2247">
                  <c:v>2.2469999999999999</c:v>
                </c:pt>
                <c:pt idx="2248">
                  <c:v>2.2480000000000002</c:v>
                </c:pt>
                <c:pt idx="2249">
                  <c:v>2.2490000000000001</c:v>
                </c:pt>
                <c:pt idx="2250">
                  <c:v>2.25</c:v>
                </c:pt>
                <c:pt idx="2251">
                  <c:v>2.2509999999999999</c:v>
                </c:pt>
                <c:pt idx="2252">
                  <c:v>2.2519999999999998</c:v>
                </c:pt>
                <c:pt idx="2253">
                  <c:v>2.2530000000000001</c:v>
                </c:pt>
                <c:pt idx="2254">
                  <c:v>2.254</c:v>
                </c:pt>
                <c:pt idx="2255">
                  <c:v>2.2549999999999999</c:v>
                </c:pt>
                <c:pt idx="2256">
                  <c:v>2.2559999999999998</c:v>
                </c:pt>
                <c:pt idx="2257">
                  <c:v>2.2570000000000001</c:v>
                </c:pt>
                <c:pt idx="2258">
                  <c:v>2.258</c:v>
                </c:pt>
                <c:pt idx="2259">
                  <c:v>2.2589999999999999</c:v>
                </c:pt>
                <c:pt idx="2260">
                  <c:v>2.2599999999999998</c:v>
                </c:pt>
                <c:pt idx="2261">
                  <c:v>2.2610000000000001</c:v>
                </c:pt>
                <c:pt idx="2262">
                  <c:v>2.262</c:v>
                </c:pt>
                <c:pt idx="2263">
                  <c:v>2.2629999999999999</c:v>
                </c:pt>
                <c:pt idx="2264">
                  <c:v>2.2639999999999998</c:v>
                </c:pt>
                <c:pt idx="2265">
                  <c:v>2.2650000000000001</c:v>
                </c:pt>
                <c:pt idx="2266">
                  <c:v>2.266</c:v>
                </c:pt>
                <c:pt idx="2267">
                  <c:v>2.2669999999999999</c:v>
                </c:pt>
                <c:pt idx="2268">
                  <c:v>2.2679999999999998</c:v>
                </c:pt>
                <c:pt idx="2269">
                  <c:v>2.2690000000000001</c:v>
                </c:pt>
                <c:pt idx="2270">
                  <c:v>2.27</c:v>
                </c:pt>
                <c:pt idx="2271">
                  <c:v>2.2709999999999999</c:v>
                </c:pt>
                <c:pt idx="2272">
                  <c:v>2.2719999999999998</c:v>
                </c:pt>
                <c:pt idx="2273">
                  <c:v>2.2730000000000001</c:v>
                </c:pt>
                <c:pt idx="2274">
                  <c:v>2.274</c:v>
                </c:pt>
                <c:pt idx="2275">
                  <c:v>2.2749999999999999</c:v>
                </c:pt>
                <c:pt idx="2276">
                  <c:v>2.2759999999999998</c:v>
                </c:pt>
                <c:pt idx="2277">
                  <c:v>2.2770000000000001</c:v>
                </c:pt>
                <c:pt idx="2278">
                  <c:v>2.278</c:v>
                </c:pt>
                <c:pt idx="2279">
                  <c:v>2.2789999999999999</c:v>
                </c:pt>
                <c:pt idx="2280">
                  <c:v>2.2799999999999998</c:v>
                </c:pt>
                <c:pt idx="2281">
                  <c:v>2.2810000000000001</c:v>
                </c:pt>
                <c:pt idx="2282">
                  <c:v>2.282</c:v>
                </c:pt>
                <c:pt idx="2283">
                  <c:v>2.2829999999999999</c:v>
                </c:pt>
                <c:pt idx="2284">
                  <c:v>2.2839999999999998</c:v>
                </c:pt>
                <c:pt idx="2285">
                  <c:v>2.2850000000000001</c:v>
                </c:pt>
                <c:pt idx="2286">
                  <c:v>2.286</c:v>
                </c:pt>
                <c:pt idx="2287">
                  <c:v>2.2869999999999999</c:v>
                </c:pt>
                <c:pt idx="2288">
                  <c:v>2.2879999999999998</c:v>
                </c:pt>
                <c:pt idx="2289">
                  <c:v>2.2890000000000001</c:v>
                </c:pt>
                <c:pt idx="2290">
                  <c:v>2.29</c:v>
                </c:pt>
                <c:pt idx="2291">
                  <c:v>2.2909999999999999</c:v>
                </c:pt>
                <c:pt idx="2292">
                  <c:v>2.2919999999999998</c:v>
                </c:pt>
                <c:pt idx="2293">
                  <c:v>2.2930000000000001</c:v>
                </c:pt>
                <c:pt idx="2294">
                  <c:v>2.294</c:v>
                </c:pt>
                <c:pt idx="2295">
                  <c:v>2.2949999999999999</c:v>
                </c:pt>
                <c:pt idx="2296">
                  <c:v>2.2959999999999998</c:v>
                </c:pt>
                <c:pt idx="2297">
                  <c:v>2.2970000000000002</c:v>
                </c:pt>
                <c:pt idx="2298">
                  <c:v>2.298</c:v>
                </c:pt>
                <c:pt idx="2299">
                  <c:v>2.2989999999999999</c:v>
                </c:pt>
                <c:pt idx="2300">
                  <c:v>2.2999999999999998</c:v>
                </c:pt>
                <c:pt idx="2301">
                  <c:v>2.3010000000000002</c:v>
                </c:pt>
                <c:pt idx="2302">
                  <c:v>2.302</c:v>
                </c:pt>
                <c:pt idx="2303">
                  <c:v>2.3029999999999999</c:v>
                </c:pt>
                <c:pt idx="2304">
                  <c:v>2.3039999999999998</c:v>
                </c:pt>
                <c:pt idx="2305">
                  <c:v>2.3050000000000002</c:v>
                </c:pt>
                <c:pt idx="2306">
                  <c:v>2.306</c:v>
                </c:pt>
                <c:pt idx="2307">
                  <c:v>2.3069999999999999</c:v>
                </c:pt>
                <c:pt idx="2308">
                  <c:v>2.3079999999999998</c:v>
                </c:pt>
                <c:pt idx="2309">
                  <c:v>2.3090000000000002</c:v>
                </c:pt>
                <c:pt idx="2310">
                  <c:v>2.31</c:v>
                </c:pt>
                <c:pt idx="2311">
                  <c:v>2.3109999999999999</c:v>
                </c:pt>
                <c:pt idx="2312">
                  <c:v>2.3119999999999998</c:v>
                </c:pt>
                <c:pt idx="2313">
                  <c:v>2.3130000000000002</c:v>
                </c:pt>
                <c:pt idx="2314">
                  <c:v>2.3140000000000001</c:v>
                </c:pt>
                <c:pt idx="2315">
                  <c:v>2.3149999999999999</c:v>
                </c:pt>
                <c:pt idx="2316">
                  <c:v>2.3159999999999998</c:v>
                </c:pt>
                <c:pt idx="2317">
                  <c:v>2.3170000000000002</c:v>
                </c:pt>
                <c:pt idx="2318">
                  <c:v>2.3180000000000001</c:v>
                </c:pt>
                <c:pt idx="2319">
                  <c:v>2.319</c:v>
                </c:pt>
                <c:pt idx="2320">
                  <c:v>2.3199999999999998</c:v>
                </c:pt>
                <c:pt idx="2321">
                  <c:v>2.3210000000000002</c:v>
                </c:pt>
                <c:pt idx="2322">
                  <c:v>2.3220000000000001</c:v>
                </c:pt>
                <c:pt idx="2323">
                  <c:v>2.323</c:v>
                </c:pt>
                <c:pt idx="2324">
                  <c:v>2.3239999999999998</c:v>
                </c:pt>
                <c:pt idx="2325">
                  <c:v>2.3250000000000002</c:v>
                </c:pt>
                <c:pt idx="2326">
                  <c:v>2.3260000000000001</c:v>
                </c:pt>
                <c:pt idx="2327">
                  <c:v>2.327</c:v>
                </c:pt>
                <c:pt idx="2328">
                  <c:v>2.3279999999999998</c:v>
                </c:pt>
                <c:pt idx="2329">
                  <c:v>2.3290000000000002</c:v>
                </c:pt>
                <c:pt idx="2330">
                  <c:v>2.33</c:v>
                </c:pt>
                <c:pt idx="2331">
                  <c:v>2.331</c:v>
                </c:pt>
                <c:pt idx="2332">
                  <c:v>2.3319999999999999</c:v>
                </c:pt>
                <c:pt idx="2333">
                  <c:v>2.3330000000000002</c:v>
                </c:pt>
                <c:pt idx="2334">
                  <c:v>2.3340000000000001</c:v>
                </c:pt>
                <c:pt idx="2335">
                  <c:v>2.335</c:v>
                </c:pt>
                <c:pt idx="2336">
                  <c:v>2.3359999999999999</c:v>
                </c:pt>
                <c:pt idx="2337">
                  <c:v>2.3370000000000002</c:v>
                </c:pt>
                <c:pt idx="2338">
                  <c:v>2.3380000000000001</c:v>
                </c:pt>
                <c:pt idx="2339">
                  <c:v>2.339</c:v>
                </c:pt>
                <c:pt idx="2340">
                  <c:v>2.34</c:v>
                </c:pt>
                <c:pt idx="2341">
                  <c:v>2.3410000000000002</c:v>
                </c:pt>
                <c:pt idx="2342">
                  <c:v>2.3420000000000001</c:v>
                </c:pt>
                <c:pt idx="2343">
                  <c:v>2.343</c:v>
                </c:pt>
                <c:pt idx="2344">
                  <c:v>2.3439999999999999</c:v>
                </c:pt>
                <c:pt idx="2345">
                  <c:v>2.3450000000000002</c:v>
                </c:pt>
                <c:pt idx="2346">
                  <c:v>2.3460000000000001</c:v>
                </c:pt>
                <c:pt idx="2347">
                  <c:v>2.347</c:v>
                </c:pt>
                <c:pt idx="2348">
                  <c:v>2.3479999999999999</c:v>
                </c:pt>
                <c:pt idx="2349">
                  <c:v>2.3490000000000002</c:v>
                </c:pt>
                <c:pt idx="2350">
                  <c:v>2.35</c:v>
                </c:pt>
                <c:pt idx="2351">
                  <c:v>2.351</c:v>
                </c:pt>
                <c:pt idx="2352">
                  <c:v>2.3519999999999999</c:v>
                </c:pt>
                <c:pt idx="2353">
                  <c:v>2.3530000000000002</c:v>
                </c:pt>
                <c:pt idx="2354">
                  <c:v>2.3540000000000001</c:v>
                </c:pt>
                <c:pt idx="2355">
                  <c:v>2.355</c:v>
                </c:pt>
                <c:pt idx="2356">
                  <c:v>2.3559999999999999</c:v>
                </c:pt>
                <c:pt idx="2357">
                  <c:v>2.3570000000000002</c:v>
                </c:pt>
                <c:pt idx="2358">
                  <c:v>2.3580000000000001</c:v>
                </c:pt>
                <c:pt idx="2359">
                  <c:v>2.359</c:v>
                </c:pt>
                <c:pt idx="2360">
                  <c:v>2.36</c:v>
                </c:pt>
                <c:pt idx="2361">
                  <c:v>2.3610000000000002</c:v>
                </c:pt>
                <c:pt idx="2362">
                  <c:v>2.3620000000000001</c:v>
                </c:pt>
                <c:pt idx="2363">
                  <c:v>2.363</c:v>
                </c:pt>
                <c:pt idx="2364">
                  <c:v>2.3639999999999999</c:v>
                </c:pt>
                <c:pt idx="2365">
                  <c:v>2.3650000000000002</c:v>
                </c:pt>
                <c:pt idx="2366">
                  <c:v>2.3660000000000001</c:v>
                </c:pt>
                <c:pt idx="2367">
                  <c:v>2.367</c:v>
                </c:pt>
                <c:pt idx="2368">
                  <c:v>2.3679999999999999</c:v>
                </c:pt>
                <c:pt idx="2369">
                  <c:v>2.3690000000000002</c:v>
                </c:pt>
                <c:pt idx="2370">
                  <c:v>2.37</c:v>
                </c:pt>
                <c:pt idx="2371">
                  <c:v>2.371</c:v>
                </c:pt>
                <c:pt idx="2372">
                  <c:v>2.3719999999999999</c:v>
                </c:pt>
                <c:pt idx="2373">
                  <c:v>2.3730000000000002</c:v>
                </c:pt>
                <c:pt idx="2374">
                  <c:v>2.3740000000000001</c:v>
                </c:pt>
                <c:pt idx="2375">
                  <c:v>2.375</c:v>
                </c:pt>
                <c:pt idx="2376">
                  <c:v>2.3759999999999999</c:v>
                </c:pt>
                <c:pt idx="2377">
                  <c:v>2.3769999999999998</c:v>
                </c:pt>
                <c:pt idx="2378">
                  <c:v>2.3780000000000001</c:v>
                </c:pt>
                <c:pt idx="2379">
                  <c:v>2.379</c:v>
                </c:pt>
                <c:pt idx="2380">
                  <c:v>2.38</c:v>
                </c:pt>
                <c:pt idx="2381">
                  <c:v>2.3809999999999998</c:v>
                </c:pt>
                <c:pt idx="2382">
                  <c:v>2.3820000000000001</c:v>
                </c:pt>
                <c:pt idx="2383">
                  <c:v>2.383</c:v>
                </c:pt>
                <c:pt idx="2384">
                  <c:v>2.3839999999999999</c:v>
                </c:pt>
                <c:pt idx="2385">
                  <c:v>2.3849999999999998</c:v>
                </c:pt>
                <c:pt idx="2386">
                  <c:v>2.3860000000000001</c:v>
                </c:pt>
                <c:pt idx="2387">
                  <c:v>2.387</c:v>
                </c:pt>
                <c:pt idx="2388">
                  <c:v>2.3879999999999999</c:v>
                </c:pt>
                <c:pt idx="2389">
                  <c:v>2.3889999999999998</c:v>
                </c:pt>
                <c:pt idx="2390">
                  <c:v>2.39</c:v>
                </c:pt>
                <c:pt idx="2391">
                  <c:v>2.391</c:v>
                </c:pt>
                <c:pt idx="2392">
                  <c:v>2.3919999999999999</c:v>
                </c:pt>
                <c:pt idx="2393">
                  <c:v>2.3929999999999998</c:v>
                </c:pt>
                <c:pt idx="2394">
                  <c:v>2.3940000000000001</c:v>
                </c:pt>
                <c:pt idx="2395">
                  <c:v>2.395</c:v>
                </c:pt>
                <c:pt idx="2396">
                  <c:v>2.3959999999999999</c:v>
                </c:pt>
                <c:pt idx="2397">
                  <c:v>2.3969999999999998</c:v>
                </c:pt>
                <c:pt idx="2398">
                  <c:v>2.3980000000000001</c:v>
                </c:pt>
                <c:pt idx="2399">
                  <c:v>2.399</c:v>
                </c:pt>
                <c:pt idx="2400">
                  <c:v>2.4</c:v>
                </c:pt>
                <c:pt idx="2401">
                  <c:v>2.4009999999999998</c:v>
                </c:pt>
                <c:pt idx="2402">
                  <c:v>2.4020000000000001</c:v>
                </c:pt>
                <c:pt idx="2403">
                  <c:v>2.403</c:v>
                </c:pt>
                <c:pt idx="2404">
                  <c:v>2.4039999999999999</c:v>
                </c:pt>
                <c:pt idx="2405">
                  <c:v>2.4049999999999998</c:v>
                </c:pt>
                <c:pt idx="2406">
                  <c:v>2.4060000000000001</c:v>
                </c:pt>
                <c:pt idx="2407">
                  <c:v>2.407</c:v>
                </c:pt>
                <c:pt idx="2408">
                  <c:v>2.4079999999999999</c:v>
                </c:pt>
                <c:pt idx="2409">
                  <c:v>2.4089999999999998</c:v>
                </c:pt>
                <c:pt idx="2410">
                  <c:v>2.41</c:v>
                </c:pt>
                <c:pt idx="2411">
                  <c:v>2.411</c:v>
                </c:pt>
                <c:pt idx="2412">
                  <c:v>2.4119999999999999</c:v>
                </c:pt>
                <c:pt idx="2413">
                  <c:v>2.4129999999999998</c:v>
                </c:pt>
                <c:pt idx="2414">
                  <c:v>2.4140000000000001</c:v>
                </c:pt>
                <c:pt idx="2415">
                  <c:v>2.415</c:v>
                </c:pt>
                <c:pt idx="2416">
                  <c:v>2.4159999999999999</c:v>
                </c:pt>
                <c:pt idx="2417">
                  <c:v>2.4169999999999998</c:v>
                </c:pt>
                <c:pt idx="2418">
                  <c:v>2.4180000000000001</c:v>
                </c:pt>
                <c:pt idx="2419">
                  <c:v>2.419</c:v>
                </c:pt>
                <c:pt idx="2420">
                  <c:v>2.42</c:v>
                </c:pt>
                <c:pt idx="2421">
                  <c:v>2.4209999999999998</c:v>
                </c:pt>
                <c:pt idx="2422">
                  <c:v>2.4220000000000002</c:v>
                </c:pt>
                <c:pt idx="2423">
                  <c:v>2.423</c:v>
                </c:pt>
                <c:pt idx="2424">
                  <c:v>2.4239999999999999</c:v>
                </c:pt>
                <c:pt idx="2425">
                  <c:v>2.4249999999999998</c:v>
                </c:pt>
                <c:pt idx="2426">
                  <c:v>2.4260000000000002</c:v>
                </c:pt>
                <c:pt idx="2427">
                  <c:v>2.427</c:v>
                </c:pt>
                <c:pt idx="2428">
                  <c:v>2.4279999999999999</c:v>
                </c:pt>
                <c:pt idx="2429">
                  <c:v>2.4289999999999998</c:v>
                </c:pt>
                <c:pt idx="2430">
                  <c:v>2.4300000000000002</c:v>
                </c:pt>
                <c:pt idx="2431">
                  <c:v>2.431</c:v>
                </c:pt>
                <c:pt idx="2432">
                  <c:v>2.4319999999999999</c:v>
                </c:pt>
                <c:pt idx="2433">
                  <c:v>2.4329999999999998</c:v>
                </c:pt>
                <c:pt idx="2434">
                  <c:v>2.4340000000000002</c:v>
                </c:pt>
                <c:pt idx="2435">
                  <c:v>2.4350000000000001</c:v>
                </c:pt>
                <c:pt idx="2436">
                  <c:v>2.4359999999999999</c:v>
                </c:pt>
                <c:pt idx="2437">
                  <c:v>2.4369999999999998</c:v>
                </c:pt>
                <c:pt idx="2438">
                  <c:v>2.4380000000000002</c:v>
                </c:pt>
                <c:pt idx="2439">
                  <c:v>2.4390000000000001</c:v>
                </c:pt>
                <c:pt idx="2440">
                  <c:v>2.44</c:v>
                </c:pt>
                <c:pt idx="2441">
                  <c:v>2.4409999999999998</c:v>
                </c:pt>
                <c:pt idx="2442">
                  <c:v>2.4420000000000002</c:v>
                </c:pt>
                <c:pt idx="2443">
                  <c:v>2.4430000000000001</c:v>
                </c:pt>
                <c:pt idx="2444">
                  <c:v>2.444</c:v>
                </c:pt>
                <c:pt idx="2445">
                  <c:v>2.4449999999999998</c:v>
                </c:pt>
                <c:pt idx="2446">
                  <c:v>2.4460000000000002</c:v>
                </c:pt>
                <c:pt idx="2447">
                  <c:v>2.4470000000000001</c:v>
                </c:pt>
                <c:pt idx="2448">
                  <c:v>2.448</c:v>
                </c:pt>
                <c:pt idx="2449">
                  <c:v>2.4489999999999998</c:v>
                </c:pt>
                <c:pt idx="2450">
                  <c:v>2.4500000000000002</c:v>
                </c:pt>
                <c:pt idx="2451">
                  <c:v>2.4510000000000001</c:v>
                </c:pt>
                <c:pt idx="2452">
                  <c:v>2.452</c:v>
                </c:pt>
                <c:pt idx="2453">
                  <c:v>2.4529999999999998</c:v>
                </c:pt>
                <c:pt idx="2454">
                  <c:v>2.4540000000000002</c:v>
                </c:pt>
                <c:pt idx="2455">
                  <c:v>2.4550000000000001</c:v>
                </c:pt>
                <c:pt idx="2456">
                  <c:v>2.456</c:v>
                </c:pt>
                <c:pt idx="2457">
                  <c:v>2.4569999999999999</c:v>
                </c:pt>
                <c:pt idx="2458">
                  <c:v>2.4580000000000002</c:v>
                </c:pt>
                <c:pt idx="2459">
                  <c:v>2.4590000000000001</c:v>
                </c:pt>
                <c:pt idx="2460">
                  <c:v>2.46</c:v>
                </c:pt>
                <c:pt idx="2461">
                  <c:v>2.4609999999999999</c:v>
                </c:pt>
                <c:pt idx="2462">
                  <c:v>2.4620000000000002</c:v>
                </c:pt>
                <c:pt idx="2463">
                  <c:v>2.4630000000000001</c:v>
                </c:pt>
                <c:pt idx="2464">
                  <c:v>2.464</c:v>
                </c:pt>
                <c:pt idx="2465">
                  <c:v>2.4649999999999999</c:v>
                </c:pt>
                <c:pt idx="2466">
                  <c:v>2.4660000000000002</c:v>
                </c:pt>
                <c:pt idx="2467">
                  <c:v>2.4670000000000001</c:v>
                </c:pt>
                <c:pt idx="2468">
                  <c:v>2.468</c:v>
                </c:pt>
                <c:pt idx="2469">
                  <c:v>2.4689999999999999</c:v>
                </c:pt>
                <c:pt idx="2470">
                  <c:v>2.4700000000000002</c:v>
                </c:pt>
                <c:pt idx="2471">
                  <c:v>2.4710000000000001</c:v>
                </c:pt>
                <c:pt idx="2472">
                  <c:v>2.472</c:v>
                </c:pt>
                <c:pt idx="2473">
                  <c:v>2.4729999999999999</c:v>
                </c:pt>
                <c:pt idx="2474">
                  <c:v>2.4740000000000002</c:v>
                </c:pt>
                <c:pt idx="2475">
                  <c:v>2.4750000000000001</c:v>
                </c:pt>
                <c:pt idx="2476">
                  <c:v>2.476</c:v>
                </c:pt>
                <c:pt idx="2477">
                  <c:v>2.4769999999999999</c:v>
                </c:pt>
                <c:pt idx="2478">
                  <c:v>2.4780000000000002</c:v>
                </c:pt>
                <c:pt idx="2479">
                  <c:v>2.4790000000000001</c:v>
                </c:pt>
                <c:pt idx="2480">
                  <c:v>2.48</c:v>
                </c:pt>
                <c:pt idx="2481">
                  <c:v>2.4809999999999999</c:v>
                </c:pt>
                <c:pt idx="2482">
                  <c:v>2.4820000000000002</c:v>
                </c:pt>
                <c:pt idx="2483">
                  <c:v>2.4830000000000001</c:v>
                </c:pt>
                <c:pt idx="2484">
                  <c:v>2.484</c:v>
                </c:pt>
                <c:pt idx="2485">
                  <c:v>2.4849999999999999</c:v>
                </c:pt>
                <c:pt idx="2486">
                  <c:v>2.4860000000000002</c:v>
                </c:pt>
                <c:pt idx="2487">
                  <c:v>2.4870000000000001</c:v>
                </c:pt>
                <c:pt idx="2488">
                  <c:v>2.488</c:v>
                </c:pt>
                <c:pt idx="2489">
                  <c:v>2.4889999999999999</c:v>
                </c:pt>
                <c:pt idx="2490">
                  <c:v>2.4900000000000002</c:v>
                </c:pt>
                <c:pt idx="2491">
                  <c:v>2.4910000000000001</c:v>
                </c:pt>
                <c:pt idx="2492">
                  <c:v>2.492</c:v>
                </c:pt>
                <c:pt idx="2493">
                  <c:v>2.4929999999999999</c:v>
                </c:pt>
                <c:pt idx="2494">
                  <c:v>2.4940000000000002</c:v>
                </c:pt>
                <c:pt idx="2495">
                  <c:v>2.4950000000000001</c:v>
                </c:pt>
                <c:pt idx="2496">
                  <c:v>2.496</c:v>
                </c:pt>
                <c:pt idx="2497">
                  <c:v>2.4969999999999999</c:v>
                </c:pt>
                <c:pt idx="2498">
                  <c:v>2.4980000000000002</c:v>
                </c:pt>
                <c:pt idx="2499">
                  <c:v>2.4990000000000001</c:v>
                </c:pt>
                <c:pt idx="2500">
                  <c:v>2.5</c:v>
                </c:pt>
                <c:pt idx="2501">
                  <c:v>2.5009999999999999</c:v>
                </c:pt>
                <c:pt idx="2502">
                  <c:v>2.5019999999999998</c:v>
                </c:pt>
                <c:pt idx="2503">
                  <c:v>2.5030000000000001</c:v>
                </c:pt>
                <c:pt idx="2504">
                  <c:v>2.504</c:v>
                </c:pt>
                <c:pt idx="2505">
                  <c:v>2.5049999999999999</c:v>
                </c:pt>
                <c:pt idx="2506">
                  <c:v>2.5059999999999998</c:v>
                </c:pt>
                <c:pt idx="2507">
                  <c:v>2.5070000000000001</c:v>
                </c:pt>
                <c:pt idx="2508">
                  <c:v>2.508</c:v>
                </c:pt>
                <c:pt idx="2509">
                  <c:v>2.5089999999999999</c:v>
                </c:pt>
                <c:pt idx="2510">
                  <c:v>2.5099999999999998</c:v>
                </c:pt>
                <c:pt idx="2511">
                  <c:v>2.5110000000000001</c:v>
                </c:pt>
                <c:pt idx="2512">
                  <c:v>2.512</c:v>
                </c:pt>
                <c:pt idx="2513">
                  <c:v>2.5129999999999999</c:v>
                </c:pt>
                <c:pt idx="2514">
                  <c:v>2.5139999999999998</c:v>
                </c:pt>
                <c:pt idx="2515">
                  <c:v>2.5150000000000001</c:v>
                </c:pt>
                <c:pt idx="2516">
                  <c:v>2.516</c:v>
                </c:pt>
                <c:pt idx="2517">
                  <c:v>2.5169999999999999</c:v>
                </c:pt>
                <c:pt idx="2518">
                  <c:v>2.5179999999999998</c:v>
                </c:pt>
                <c:pt idx="2519">
                  <c:v>2.5190000000000001</c:v>
                </c:pt>
                <c:pt idx="2520">
                  <c:v>2.52</c:v>
                </c:pt>
                <c:pt idx="2521">
                  <c:v>2.5209999999999999</c:v>
                </c:pt>
                <c:pt idx="2522">
                  <c:v>2.5219999999999998</c:v>
                </c:pt>
                <c:pt idx="2523">
                  <c:v>2.5230000000000001</c:v>
                </c:pt>
                <c:pt idx="2524">
                  <c:v>2.524</c:v>
                </c:pt>
                <c:pt idx="2525">
                  <c:v>2.5249999999999999</c:v>
                </c:pt>
                <c:pt idx="2526">
                  <c:v>2.5259999999999998</c:v>
                </c:pt>
                <c:pt idx="2527">
                  <c:v>2.5270000000000001</c:v>
                </c:pt>
                <c:pt idx="2528">
                  <c:v>2.528</c:v>
                </c:pt>
                <c:pt idx="2529">
                  <c:v>2.5289999999999999</c:v>
                </c:pt>
                <c:pt idx="2530">
                  <c:v>2.5299999999999998</c:v>
                </c:pt>
                <c:pt idx="2531">
                  <c:v>2.5310000000000001</c:v>
                </c:pt>
                <c:pt idx="2532">
                  <c:v>2.532</c:v>
                </c:pt>
                <c:pt idx="2533">
                  <c:v>2.5329999999999999</c:v>
                </c:pt>
                <c:pt idx="2534">
                  <c:v>2.5339999999999998</c:v>
                </c:pt>
                <c:pt idx="2535">
                  <c:v>2.5350000000000001</c:v>
                </c:pt>
                <c:pt idx="2536">
                  <c:v>2.536</c:v>
                </c:pt>
                <c:pt idx="2537">
                  <c:v>2.5369999999999999</c:v>
                </c:pt>
                <c:pt idx="2538">
                  <c:v>2.5379999999999998</c:v>
                </c:pt>
                <c:pt idx="2539">
                  <c:v>2.5390000000000001</c:v>
                </c:pt>
                <c:pt idx="2540">
                  <c:v>2.54</c:v>
                </c:pt>
                <c:pt idx="2541">
                  <c:v>2.5409999999999999</c:v>
                </c:pt>
                <c:pt idx="2542">
                  <c:v>2.5419999999999998</c:v>
                </c:pt>
                <c:pt idx="2543">
                  <c:v>2.5430000000000001</c:v>
                </c:pt>
                <c:pt idx="2544">
                  <c:v>2.544</c:v>
                </c:pt>
                <c:pt idx="2545">
                  <c:v>2.5449999999999999</c:v>
                </c:pt>
                <c:pt idx="2546">
                  <c:v>2.5459999999999998</c:v>
                </c:pt>
                <c:pt idx="2547">
                  <c:v>2.5470000000000002</c:v>
                </c:pt>
                <c:pt idx="2548">
                  <c:v>2.548</c:v>
                </c:pt>
                <c:pt idx="2549">
                  <c:v>2.5489999999999999</c:v>
                </c:pt>
                <c:pt idx="2550">
                  <c:v>2.5499999999999998</c:v>
                </c:pt>
                <c:pt idx="2551">
                  <c:v>2.5510000000000002</c:v>
                </c:pt>
                <c:pt idx="2552">
                  <c:v>2.552</c:v>
                </c:pt>
                <c:pt idx="2553">
                  <c:v>2.5529999999999999</c:v>
                </c:pt>
                <c:pt idx="2554">
                  <c:v>2.5539999999999998</c:v>
                </c:pt>
                <c:pt idx="2555">
                  <c:v>2.5550000000000002</c:v>
                </c:pt>
                <c:pt idx="2556">
                  <c:v>2.556</c:v>
                </c:pt>
                <c:pt idx="2557">
                  <c:v>2.5569999999999999</c:v>
                </c:pt>
                <c:pt idx="2558">
                  <c:v>2.5579999999999998</c:v>
                </c:pt>
                <c:pt idx="2559">
                  <c:v>2.5590000000000002</c:v>
                </c:pt>
                <c:pt idx="2560">
                  <c:v>2.56</c:v>
                </c:pt>
                <c:pt idx="2561">
                  <c:v>2.5609999999999999</c:v>
                </c:pt>
                <c:pt idx="2562">
                  <c:v>2.5619999999999998</c:v>
                </c:pt>
                <c:pt idx="2563">
                  <c:v>2.5630000000000002</c:v>
                </c:pt>
                <c:pt idx="2564">
                  <c:v>2.5640000000000001</c:v>
                </c:pt>
                <c:pt idx="2565">
                  <c:v>2.5649999999999999</c:v>
                </c:pt>
                <c:pt idx="2566">
                  <c:v>2.5659999999999998</c:v>
                </c:pt>
                <c:pt idx="2567">
                  <c:v>2.5670000000000002</c:v>
                </c:pt>
                <c:pt idx="2568">
                  <c:v>2.5680000000000001</c:v>
                </c:pt>
                <c:pt idx="2569">
                  <c:v>2.569</c:v>
                </c:pt>
                <c:pt idx="2570">
                  <c:v>2.57</c:v>
                </c:pt>
                <c:pt idx="2571">
                  <c:v>2.5710000000000002</c:v>
                </c:pt>
                <c:pt idx="2572">
                  <c:v>2.5720000000000001</c:v>
                </c:pt>
                <c:pt idx="2573">
                  <c:v>2.573</c:v>
                </c:pt>
                <c:pt idx="2574">
                  <c:v>2.5739999999999998</c:v>
                </c:pt>
                <c:pt idx="2575">
                  <c:v>2.5750000000000002</c:v>
                </c:pt>
                <c:pt idx="2576">
                  <c:v>2.5760000000000001</c:v>
                </c:pt>
                <c:pt idx="2577">
                  <c:v>2.577</c:v>
                </c:pt>
                <c:pt idx="2578">
                  <c:v>2.5779999999999998</c:v>
                </c:pt>
                <c:pt idx="2579">
                  <c:v>2.5790000000000002</c:v>
                </c:pt>
                <c:pt idx="2580">
                  <c:v>2.58</c:v>
                </c:pt>
                <c:pt idx="2581">
                  <c:v>2.581</c:v>
                </c:pt>
                <c:pt idx="2582">
                  <c:v>2.5819999999999999</c:v>
                </c:pt>
                <c:pt idx="2583">
                  <c:v>2.5830000000000002</c:v>
                </c:pt>
                <c:pt idx="2584">
                  <c:v>2.5840000000000001</c:v>
                </c:pt>
                <c:pt idx="2585">
                  <c:v>2.585</c:v>
                </c:pt>
                <c:pt idx="2586">
                  <c:v>2.5859999999999999</c:v>
                </c:pt>
                <c:pt idx="2587">
                  <c:v>2.5870000000000002</c:v>
                </c:pt>
                <c:pt idx="2588">
                  <c:v>2.5880000000000001</c:v>
                </c:pt>
                <c:pt idx="2589">
                  <c:v>2.589</c:v>
                </c:pt>
                <c:pt idx="2590">
                  <c:v>2.59</c:v>
                </c:pt>
                <c:pt idx="2591">
                  <c:v>2.5910000000000002</c:v>
                </c:pt>
                <c:pt idx="2592">
                  <c:v>2.5920000000000001</c:v>
                </c:pt>
                <c:pt idx="2593">
                  <c:v>2.593</c:v>
                </c:pt>
                <c:pt idx="2594">
                  <c:v>2.5939999999999999</c:v>
                </c:pt>
                <c:pt idx="2595">
                  <c:v>2.5950000000000002</c:v>
                </c:pt>
                <c:pt idx="2596">
                  <c:v>2.5960000000000001</c:v>
                </c:pt>
                <c:pt idx="2597">
                  <c:v>2.597</c:v>
                </c:pt>
                <c:pt idx="2598">
                  <c:v>2.5979999999999999</c:v>
                </c:pt>
                <c:pt idx="2599">
                  <c:v>2.5990000000000002</c:v>
                </c:pt>
                <c:pt idx="2600">
                  <c:v>2.6</c:v>
                </c:pt>
                <c:pt idx="2601">
                  <c:v>2.601</c:v>
                </c:pt>
                <c:pt idx="2602">
                  <c:v>2.6019999999999999</c:v>
                </c:pt>
                <c:pt idx="2603">
                  <c:v>2.6030000000000002</c:v>
                </c:pt>
                <c:pt idx="2604">
                  <c:v>2.6040000000000001</c:v>
                </c:pt>
                <c:pt idx="2605">
                  <c:v>2.605</c:v>
                </c:pt>
                <c:pt idx="2606">
                  <c:v>2.6059999999999999</c:v>
                </c:pt>
                <c:pt idx="2607">
                  <c:v>2.6070000000000002</c:v>
                </c:pt>
                <c:pt idx="2608">
                  <c:v>2.6080000000000001</c:v>
                </c:pt>
                <c:pt idx="2609">
                  <c:v>2.609</c:v>
                </c:pt>
                <c:pt idx="2610">
                  <c:v>2.61</c:v>
                </c:pt>
                <c:pt idx="2611">
                  <c:v>2.6110000000000002</c:v>
                </c:pt>
                <c:pt idx="2612">
                  <c:v>2.6120000000000001</c:v>
                </c:pt>
                <c:pt idx="2613">
                  <c:v>2.613</c:v>
                </c:pt>
                <c:pt idx="2614">
                  <c:v>2.6139999999999999</c:v>
                </c:pt>
                <c:pt idx="2615">
                  <c:v>2.6150000000000002</c:v>
                </c:pt>
                <c:pt idx="2616">
                  <c:v>2.6160000000000001</c:v>
                </c:pt>
                <c:pt idx="2617">
                  <c:v>2.617</c:v>
                </c:pt>
                <c:pt idx="2618">
                  <c:v>2.6179999999999999</c:v>
                </c:pt>
                <c:pt idx="2619">
                  <c:v>2.6190000000000002</c:v>
                </c:pt>
                <c:pt idx="2620">
                  <c:v>2.62</c:v>
                </c:pt>
                <c:pt idx="2621">
                  <c:v>2.621</c:v>
                </c:pt>
                <c:pt idx="2622">
                  <c:v>2.6219999999999999</c:v>
                </c:pt>
                <c:pt idx="2623">
                  <c:v>2.6230000000000002</c:v>
                </c:pt>
                <c:pt idx="2624">
                  <c:v>2.6240000000000001</c:v>
                </c:pt>
                <c:pt idx="2625">
                  <c:v>2.625</c:v>
                </c:pt>
                <c:pt idx="2626">
                  <c:v>2.6259999999999999</c:v>
                </c:pt>
                <c:pt idx="2627">
                  <c:v>2.6269999999999998</c:v>
                </c:pt>
                <c:pt idx="2628">
                  <c:v>2.6280000000000001</c:v>
                </c:pt>
                <c:pt idx="2629">
                  <c:v>2.629</c:v>
                </c:pt>
                <c:pt idx="2630">
                  <c:v>2.63</c:v>
                </c:pt>
                <c:pt idx="2631">
                  <c:v>2.6309999999999998</c:v>
                </c:pt>
                <c:pt idx="2632">
                  <c:v>2.6320000000000001</c:v>
                </c:pt>
                <c:pt idx="2633">
                  <c:v>2.633</c:v>
                </c:pt>
                <c:pt idx="2634">
                  <c:v>2.6339999999999999</c:v>
                </c:pt>
                <c:pt idx="2635">
                  <c:v>2.6349999999999998</c:v>
                </c:pt>
                <c:pt idx="2636">
                  <c:v>2.6360000000000001</c:v>
                </c:pt>
                <c:pt idx="2637">
                  <c:v>2.637</c:v>
                </c:pt>
                <c:pt idx="2638">
                  <c:v>2.6379999999999999</c:v>
                </c:pt>
                <c:pt idx="2639">
                  <c:v>2.6389999999999998</c:v>
                </c:pt>
                <c:pt idx="2640">
                  <c:v>2.64</c:v>
                </c:pt>
                <c:pt idx="2641">
                  <c:v>2.641</c:v>
                </c:pt>
                <c:pt idx="2642">
                  <c:v>2.6419999999999999</c:v>
                </c:pt>
                <c:pt idx="2643">
                  <c:v>2.6429999999999998</c:v>
                </c:pt>
                <c:pt idx="2644">
                  <c:v>2.6440000000000001</c:v>
                </c:pt>
                <c:pt idx="2645">
                  <c:v>2.645</c:v>
                </c:pt>
                <c:pt idx="2646">
                  <c:v>2.6459999999999999</c:v>
                </c:pt>
                <c:pt idx="2647">
                  <c:v>2.6469999999999998</c:v>
                </c:pt>
                <c:pt idx="2648">
                  <c:v>2.6480000000000001</c:v>
                </c:pt>
                <c:pt idx="2649">
                  <c:v>2.649</c:v>
                </c:pt>
                <c:pt idx="2650">
                  <c:v>2.65</c:v>
                </c:pt>
                <c:pt idx="2651">
                  <c:v>2.6509999999999998</c:v>
                </c:pt>
                <c:pt idx="2652">
                  <c:v>2.6520000000000001</c:v>
                </c:pt>
                <c:pt idx="2653">
                  <c:v>2.653</c:v>
                </c:pt>
                <c:pt idx="2654">
                  <c:v>2.6539999999999999</c:v>
                </c:pt>
                <c:pt idx="2655">
                  <c:v>2.6549999999999998</c:v>
                </c:pt>
                <c:pt idx="2656">
                  <c:v>2.6560000000000001</c:v>
                </c:pt>
                <c:pt idx="2657">
                  <c:v>2.657</c:v>
                </c:pt>
                <c:pt idx="2658">
                  <c:v>2.6579999999999999</c:v>
                </c:pt>
                <c:pt idx="2659">
                  <c:v>2.6589999999999998</c:v>
                </c:pt>
                <c:pt idx="2660">
                  <c:v>2.66</c:v>
                </c:pt>
                <c:pt idx="2661">
                  <c:v>2.661</c:v>
                </c:pt>
                <c:pt idx="2662">
                  <c:v>2.6619999999999999</c:v>
                </c:pt>
                <c:pt idx="2663">
                  <c:v>2.6629999999999998</c:v>
                </c:pt>
                <c:pt idx="2664">
                  <c:v>2.6640000000000001</c:v>
                </c:pt>
                <c:pt idx="2665">
                  <c:v>2.665</c:v>
                </c:pt>
                <c:pt idx="2666">
                  <c:v>2.6659999999999999</c:v>
                </c:pt>
                <c:pt idx="2667">
                  <c:v>2.6669999999999998</c:v>
                </c:pt>
                <c:pt idx="2668">
                  <c:v>2.6680000000000001</c:v>
                </c:pt>
                <c:pt idx="2669">
                  <c:v>2.669</c:v>
                </c:pt>
                <c:pt idx="2670">
                  <c:v>2.67</c:v>
                </c:pt>
                <c:pt idx="2671">
                  <c:v>2.6709999999999998</c:v>
                </c:pt>
                <c:pt idx="2672">
                  <c:v>2.6720000000000002</c:v>
                </c:pt>
                <c:pt idx="2673">
                  <c:v>2.673</c:v>
                </c:pt>
                <c:pt idx="2674">
                  <c:v>2.6739999999999999</c:v>
                </c:pt>
                <c:pt idx="2675">
                  <c:v>2.6749999999999998</c:v>
                </c:pt>
                <c:pt idx="2676">
                  <c:v>2.6760000000000002</c:v>
                </c:pt>
                <c:pt idx="2677">
                  <c:v>2.677</c:v>
                </c:pt>
                <c:pt idx="2678">
                  <c:v>2.6779999999999999</c:v>
                </c:pt>
                <c:pt idx="2679">
                  <c:v>2.6789999999999998</c:v>
                </c:pt>
                <c:pt idx="2680">
                  <c:v>2.68</c:v>
                </c:pt>
                <c:pt idx="2681">
                  <c:v>2.681</c:v>
                </c:pt>
                <c:pt idx="2682">
                  <c:v>2.6819999999999999</c:v>
                </c:pt>
                <c:pt idx="2683">
                  <c:v>2.6829999999999998</c:v>
                </c:pt>
                <c:pt idx="2684">
                  <c:v>2.6840000000000002</c:v>
                </c:pt>
                <c:pt idx="2685">
                  <c:v>2.6850000000000001</c:v>
                </c:pt>
                <c:pt idx="2686">
                  <c:v>2.6859999999999999</c:v>
                </c:pt>
                <c:pt idx="2687">
                  <c:v>2.6869999999999998</c:v>
                </c:pt>
                <c:pt idx="2688">
                  <c:v>2.6880000000000002</c:v>
                </c:pt>
                <c:pt idx="2689">
                  <c:v>2.6890000000000001</c:v>
                </c:pt>
                <c:pt idx="2690">
                  <c:v>2.69</c:v>
                </c:pt>
                <c:pt idx="2691">
                  <c:v>2.6909999999999998</c:v>
                </c:pt>
                <c:pt idx="2692">
                  <c:v>2.6920000000000002</c:v>
                </c:pt>
                <c:pt idx="2693">
                  <c:v>2.6930000000000001</c:v>
                </c:pt>
                <c:pt idx="2694">
                  <c:v>2.694</c:v>
                </c:pt>
                <c:pt idx="2695">
                  <c:v>2.6949999999999998</c:v>
                </c:pt>
                <c:pt idx="2696">
                  <c:v>2.6960000000000002</c:v>
                </c:pt>
                <c:pt idx="2697">
                  <c:v>2.6970000000000001</c:v>
                </c:pt>
                <c:pt idx="2698">
                  <c:v>2.698</c:v>
                </c:pt>
                <c:pt idx="2699">
                  <c:v>2.6989999999999998</c:v>
                </c:pt>
                <c:pt idx="2700">
                  <c:v>2.7</c:v>
                </c:pt>
                <c:pt idx="2701">
                  <c:v>2.7010000000000001</c:v>
                </c:pt>
                <c:pt idx="2702">
                  <c:v>2.702</c:v>
                </c:pt>
                <c:pt idx="2703">
                  <c:v>2.7029999999999998</c:v>
                </c:pt>
                <c:pt idx="2704">
                  <c:v>2.7040000000000002</c:v>
                </c:pt>
                <c:pt idx="2705">
                  <c:v>2.7050000000000001</c:v>
                </c:pt>
                <c:pt idx="2706">
                  <c:v>2.706</c:v>
                </c:pt>
                <c:pt idx="2707">
                  <c:v>2.7069999999999999</c:v>
                </c:pt>
                <c:pt idx="2708">
                  <c:v>2.7080000000000002</c:v>
                </c:pt>
                <c:pt idx="2709">
                  <c:v>2.7090000000000001</c:v>
                </c:pt>
                <c:pt idx="2710">
                  <c:v>2.71</c:v>
                </c:pt>
                <c:pt idx="2711">
                  <c:v>2.7109999999999999</c:v>
                </c:pt>
                <c:pt idx="2712">
                  <c:v>2.7120000000000002</c:v>
                </c:pt>
                <c:pt idx="2713">
                  <c:v>2.7130000000000001</c:v>
                </c:pt>
                <c:pt idx="2714">
                  <c:v>2.714</c:v>
                </c:pt>
                <c:pt idx="2715">
                  <c:v>2.7149999999999999</c:v>
                </c:pt>
                <c:pt idx="2716">
                  <c:v>2.7160000000000002</c:v>
                </c:pt>
                <c:pt idx="2717">
                  <c:v>2.7170000000000001</c:v>
                </c:pt>
                <c:pt idx="2718">
                  <c:v>2.718</c:v>
                </c:pt>
                <c:pt idx="2719">
                  <c:v>2.7189999999999999</c:v>
                </c:pt>
                <c:pt idx="2720">
                  <c:v>2.72</c:v>
                </c:pt>
                <c:pt idx="2721">
                  <c:v>2.7210000000000001</c:v>
                </c:pt>
                <c:pt idx="2722">
                  <c:v>2.722</c:v>
                </c:pt>
                <c:pt idx="2723">
                  <c:v>2.7229999999999999</c:v>
                </c:pt>
                <c:pt idx="2724">
                  <c:v>2.7240000000000002</c:v>
                </c:pt>
                <c:pt idx="2725">
                  <c:v>2.7250000000000001</c:v>
                </c:pt>
                <c:pt idx="2726">
                  <c:v>2.726</c:v>
                </c:pt>
                <c:pt idx="2727">
                  <c:v>2.7269999999999999</c:v>
                </c:pt>
                <c:pt idx="2728">
                  <c:v>2.7280000000000002</c:v>
                </c:pt>
                <c:pt idx="2729">
                  <c:v>2.7290000000000001</c:v>
                </c:pt>
                <c:pt idx="2730">
                  <c:v>2.73</c:v>
                </c:pt>
                <c:pt idx="2731">
                  <c:v>2.7309999999999999</c:v>
                </c:pt>
                <c:pt idx="2732">
                  <c:v>2.7320000000000002</c:v>
                </c:pt>
                <c:pt idx="2733">
                  <c:v>2.7330000000000001</c:v>
                </c:pt>
                <c:pt idx="2734">
                  <c:v>2.734</c:v>
                </c:pt>
                <c:pt idx="2735">
                  <c:v>2.7349999999999999</c:v>
                </c:pt>
                <c:pt idx="2736">
                  <c:v>2.7360000000000002</c:v>
                </c:pt>
                <c:pt idx="2737">
                  <c:v>2.7370000000000001</c:v>
                </c:pt>
                <c:pt idx="2738">
                  <c:v>2.738</c:v>
                </c:pt>
                <c:pt idx="2739">
                  <c:v>2.7389999999999999</c:v>
                </c:pt>
                <c:pt idx="2740">
                  <c:v>2.74</c:v>
                </c:pt>
                <c:pt idx="2741">
                  <c:v>2.7410000000000001</c:v>
                </c:pt>
                <c:pt idx="2742">
                  <c:v>2.742</c:v>
                </c:pt>
                <c:pt idx="2743">
                  <c:v>2.7429999999999999</c:v>
                </c:pt>
                <c:pt idx="2744">
                  <c:v>2.7440000000000002</c:v>
                </c:pt>
                <c:pt idx="2745">
                  <c:v>2.7450000000000001</c:v>
                </c:pt>
                <c:pt idx="2746">
                  <c:v>2.746</c:v>
                </c:pt>
                <c:pt idx="2747">
                  <c:v>2.7469999999999999</c:v>
                </c:pt>
                <c:pt idx="2748">
                  <c:v>2.7480000000000002</c:v>
                </c:pt>
                <c:pt idx="2749">
                  <c:v>2.7490000000000001</c:v>
                </c:pt>
                <c:pt idx="2750">
                  <c:v>2.75</c:v>
                </c:pt>
                <c:pt idx="2751">
                  <c:v>2.7509999999999999</c:v>
                </c:pt>
                <c:pt idx="2752">
                  <c:v>2.7519999999999998</c:v>
                </c:pt>
                <c:pt idx="2753">
                  <c:v>2.7530000000000001</c:v>
                </c:pt>
                <c:pt idx="2754">
                  <c:v>2.754</c:v>
                </c:pt>
                <c:pt idx="2755">
                  <c:v>2.7549999999999999</c:v>
                </c:pt>
                <c:pt idx="2756">
                  <c:v>2.7559999999999998</c:v>
                </c:pt>
                <c:pt idx="2757">
                  <c:v>2.7570000000000001</c:v>
                </c:pt>
                <c:pt idx="2758">
                  <c:v>2.758</c:v>
                </c:pt>
                <c:pt idx="2759">
                  <c:v>2.7589999999999999</c:v>
                </c:pt>
                <c:pt idx="2760">
                  <c:v>2.76</c:v>
                </c:pt>
                <c:pt idx="2761">
                  <c:v>2.7610000000000001</c:v>
                </c:pt>
                <c:pt idx="2762">
                  <c:v>2.762</c:v>
                </c:pt>
                <c:pt idx="2763">
                  <c:v>2.7629999999999999</c:v>
                </c:pt>
                <c:pt idx="2764">
                  <c:v>2.7639999999999998</c:v>
                </c:pt>
                <c:pt idx="2765">
                  <c:v>2.7650000000000001</c:v>
                </c:pt>
                <c:pt idx="2766">
                  <c:v>2.766</c:v>
                </c:pt>
                <c:pt idx="2767">
                  <c:v>2.7669999999999999</c:v>
                </c:pt>
                <c:pt idx="2768">
                  <c:v>2.7679999999999998</c:v>
                </c:pt>
                <c:pt idx="2769">
                  <c:v>2.7690000000000001</c:v>
                </c:pt>
                <c:pt idx="2770">
                  <c:v>2.77</c:v>
                </c:pt>
                <c:pt idx="2771">
                  <c:v>2.7709999999999999</c:v>
                </c:pt>
                <c:pt idx="2772">
                  <c:v>2.7719999999999998</c:v>
                </c:pt>
                <c:pt idx="2773">
                  <c:v>2.7730000000000001</c:v>
                </c:pt>
                <c:pt idx="2774">
                  <c:v>2.774</c:v>
                </c:pt>
                <c:pt idx="2775">
                  <c:v>2.7749999999999999</c:v>
                </c:pt>
                <c:pt idx="2776">
                  <c:v>2.7759999999999998</c:v>
                </c:pt>
                <c:pt idx="2777">
                  <c:v>2.7770000000000001</c:v>
                </c:pt>
                <c:pt idx="2778">
                  <c:v>2.778</c:v>
                </c:pt>
                <c:pt idx="2779">
                  <c:v>2.7789999999999999</c:v>
                </c:pt>
                <c:pt idx="2780">
                  <c:v>2.78</c:v>
                </c:pt>
                <c:pt idx="2781">
                  <c:v>2.7810000000000001</c:v>
                </c:pt>
                <c:pt idx="2782">
                  <c:v>2.782</c:v>
                </c:pt>
                <c:pt idx="2783">
                  <c:v>2.7829999999999999</c:v>
                </c:pt>
                <c:pt idx="2784">
                  <c:v>2.7839999999999998</c:v>
                </c:pt>
                <c:pt idx="2785">
                  <c:v>2.7850000000000001</c:v>
                </c:pt>
                <c:pt idx="2786">
                  <c:v>2.786</c:v>
                </c:pt>
                <c:pt idx="2787">
                  <c:v>2.7869999999999999</c:v>
                </c:pt>
                <c:pt idx="2788">
                  <c:v>2.7879999999999998</c:v>
                </c:pt>
                <c:pt idx="2789">
                  <c:v>2.7890000000000001</c:v>
                </c:pt>
                <c:pt idx="2790">
                  <c:v>2.79</c:v>
                </c:pt>
                <c:pt idx="2791">
                  <c:v>2.7909999999999999</c:v>
                </c:pt>
                <c:pt idx="2792">
                  <c:v>2.7919999999999998</c:v>
                </c:pt>
                <c:pt idx="2793">
                  <c:v>2.7930000000000001</c:v>
                </c:pt>
                <c:pt idx="2794">
                  <c:v>2.794</c:v>
                </c:pt>
                <c:pt idx="2795">
                  <c:v>2.7949999999999999</c:v>
                </c:pt>
                <c:pt idx="2796">
                  <c:v>2.7959999999999998</c:v>
                </c:pt>
                <c:pt idx="2797">
                  <c:v>2.7970000000000002</c:v>
                </c:pt>
                <c:pt idx="2798">
                  <c:v>2.798</c:v>
                </c:pt>
                <c:pt idx="2799">
                  <c:v>2.7989999999999999</c:v>
                </c:pt>
                <c:pt idx="2800">
                  <c:v>2.8</c:v>
                </c:pt>
                <c:pt idx="2801">
                  <c:v>2.8010000000000002</c:v>
                </c:pt>
                <c:pt idx="2802">
                  <c:v>2.802</c:v>
                </c:pt>
                <c:pt idx="2803">
                  <c:v>2.8029999999999999</c:v>
                </c:pt>
                <c:pt idx="2804">
                  <c:v>2.8039999999999998</c:v>
                </c:pt>
                <c:pt idx="2805">
                  <c:v>2.8050000000000002</c:v>
                </c:pt>
                <c:pt idx="2806">
                  <c:v>2.806</c:v>
                </c:pt>
                <c:pt idx="2807">
                  <c:v>2.8069999999999999</c:v>
                </c:pt>
                <c:pt idx="2808">
                  <c:v>2.8079999999999998</c:v>
                </c:pt>
                <c:pt idx="2809">
                  <c:v>2.8090000000000002</c:v>
                </c:pt>
                <c:pt idx="2810">
                  <c:v>2.81</c:v>
                </c:pt>
                <c:pt idx="2811">
                  <c:v>2.8109999999999999</c:v>
                </c:pt>
                <c:pt idx="2812">
                  <c:v>2.8119999999999998</c:v>
                </c:pt>
                <c:pt idx="2813">
                  <c:v>2.8130000000000002</c:v>
                </c:pt>
                <c:pt idx="2814">
                  <c:v>2.8140000000000001</c:v>
                </c:pt>
                <c:pt idx="2815">
                  <c:v>2.8149999999999999</c:v>
                </c:pt>
                <c:pt idx="2816">
                  <c:v>2.8159999999999998</c:v>
                </c:pt>
                <c:pt idx="2817">
                  <c:v>2.8170000000000002</c:v>
                </c:pt>
                <c:pt idx="2818">
                  <c:v>2.8180000000000001</c:v>
                </c:pt>
                <c:pt idx="2819">
                  <c:v>2.819</c:v>
                </c:pt>
                <c:pt idx="2820">
                  <c:v>2.82</c:v>
                </c:pt>
                <c:pt idx="2821">
                  <c:v>2.8210000000000002</c:v>
                </c:pt>
                <c:pt idx="2822">
                  <c:v>2.8220000000000001</c:v>
                </c:pt>
                <c:pt idx="2823">
                  <c:v>2.823</c:v>
                </c:pt>
                <c:pt idx="2824">
                  <c:v>2.8239999999999998</c:v>
                </c:pt>
                <c:pt idx="2825">
                  <c:v>2.8250000000000002</c:v>
                </c:pt>
                <c:pt idx="2826">
                  <c:v>2.8260000000000001</c:v>
                </c:pt>
                <c:pt idx="2827">
                  <c:v>2.827</c:v>
                </c:pt>
                <c:pt idx="2828">
                  <c:v>2.8279999999999998</c:v>
                </c:pt>
                <c:pt idx="2829">
                  <c:v>2.8290000000000002</c:v>
                </c:pt>
                <c:pt idx="2830">
                  <c:v>2.83</c:v>
                </c:pt>
                <c:pt idx="2831">
                  <c:v>2.831</c:v>
                </c:pt>
                <c:pt idx="2832">
                  <c:v>2.8319999999999999</c:v>
                </c:pt>
                <c:pt idx="2833">
                  <c:v>2.8330000000000002</c:v>
                </c:pt>
                <c:pt idx="2834">
                  <c:v>2.8340000000000001</c:v>
                </c:pt>
                <c:pt idx="2835">
                  <c:v>2.835</c:v>
                </c:pt>
                <c:pt idx="2836">
                  <c:v>2.8359999999999999</c:v>
                </c:pt>
                <c:pt idx="2837">
                  <c:v>2.8370000000000002</c:v>
                </c:pt>
                <c:pt idx="2838">
                  <c:v>2.8380000000000001</c:v>
                </c:pt>
                <c:pt idx="2839">
                  <c:v>2.839</c:v>
                </c:pt>
                <c:pt idx="2840">
                  <c:v>2.84</c:v>
                </c:pt>
                <c:pt idx="2841">
                  <c:v>2.8410000000000002</c:v>
                </c:pt>
                <c:pt idx="2842">
                  <c:v>2.8420000000000001</c:v>
                </c:pt>
                <c:pt idx="2843">
                  <c:v>2.843</c:v>
                </c:pt>
                <c:pt idx="2844">
                  <c:v>2.8439999999999999</c:v>
                </c:pt>
                <c:pt idx="2845">
                  <c:v>2.8450000000000002</c:v>
                </c:pt>
                <c:pt idx="2846">
                  <c:v>2.8460000000000001</c:v>
                </c:pt>
                <c:pt idx="2847">
                  <c:v>2.847</c:v>
                </c:pt>
                <c:pt idx="2848">
                  <c:v>2.8479999999999999</c:v>
                </c:pt>
                <c:pt idx="2849">
                  <c:v>2.8490000000000002</c:v>
                </c:pt>
                <c:pt idx="2850">
                  <c:v>2.85</c:v>
                </c:pt>
                <c:pt idx="2851">
                  <c:v>2.851</c:v>
                </c:pt>
                <c:pt idx="2852">
                  <c:v>2.8519999999999999</c:v>
                </c:pt>
                <c:pt idx="2853">
                  <c:v>2.8530000000000002</c:v>
                </c:pt>
                <c:pt idx="2854">
                  <c:v>2.8540000000000001</c:v>
                </c:pt>
                <c:pt idx="2855">
                  <c:v>2.855</c:v>
                </c:pt>
                <c:pt idx="2856">
                  <c:v>2.8559999999999999</c:v>
                </c:pt>
                <c:pt idx="2857">
                  <c:v>2.8570000000000002</c:v>
                </c:pt>
                <c:pt idx="2858">
                  <c:v>2.8580000000000001</c:v>
                </c:pt>
                <c:pt idx="2859">
                  <c:v>2.859</c:v>
                </c:pt>
                <c:pt idx="2860">
                  <c:v>2.86</c:v>
                </c:pt>
                <c:pt idx="2861">
                  <c:v>2.8610000000000002</c:v>
                </c:pt>
                <c:pt idx="2862">
                  <c:v>2.8620000000000001</c:v>
                </c:pt>
                <c:pt idx="2863">
                  <c:v>2.863</c:v>
                </c:pt>
                <c:pt idx="2864">
                  <c:v>2.8639999999999999</c:v>
                </c:pt>
                <c:pt idx="2865">
                  <c:v>2.8650000000000002</c:v>
                </c:pt>
                <c:pt idx="2866">
                  <c:v>2.8660000000000001</c:v>
                </c:pt>
                <c:pt idx="2867">
                  <c:v>2.867</c:v>
                </c:pt>
                <c:pt idx="2868">
                  <c:v>2.8679999999999999</c:v>
                </c:pt>
                <c:pt idx="2869">
                  <c:v>2.8690000000000002</c:v>
                </c:pt>
                <c:pt idx="2870">
                  <c:v>2.87</c:v>
                </c:pt>
                <c:pt idx="2871">
                  <c:v>2.871</c:v>
                </c:pt>
                <c:pt idx="2872">
                  <c:v>2.8719999999999999</c:v>
                </c:pt>
                <c:pt idx="2873">
                  <c:v>2.8730000000000002</c:v>
                </c:pt>
                <c:pt idx="2874">
                  <c:v>2.8740000000000001</c:v>
                </c:pt>
                <c:pt idx="2875">
                  <c:v>2.875</c:v>
                </c:pt>
                <c:pt idx="2876">
                  <c:v>2.8759999999999999</c:v>
                </c:pt>
                <c:pt idx="2877">
                  <c:v>2.8769999999999998</c:v>
                </c:pt>
                <c:pt idx="2878">
                  <c:v>2.8780000000000001</c:v>
                </c:pt>
                <c:pt idx="2879">
                  <c:v>2.879</c:v>
                </c:pt>
                <c:pt idx="2880">
                  <c:v>2.88</c:v>
                </c:pt>
                <c:pt idx="2881">
                  <c:v>2.8809999999999998</c:v>
                </c:pt>
                <c:pt idx="2882">
                  <c:v>2.8820000000000001</c:v>
                </c:pt>
                <c:pt idx="2883">
                  <c:v>2.883</c:v>
                </c:pt>
                <c:pt idx="2884">
                  <c:v>2.8839999999999999</c:v>
                </c:pt>
                <c:pt idx="2885">
                  <c:v>2.8849999999999998</c:v>
                </c:pt>
                <c:pt idx="2886">
                  <c:v>2.8860000000000001</c:v>
                </c:pt>
                <c:pt idx="2887">
                  <c:v>2.887</c:v>
                </c:pt>
                <c:pt idx="2888">
                  <c:v>2.8879999999999999</c:v>
                </c:pt>
                <c:pt idx="2889">
                  <c:v>2.8889999999999998</c:v>
                </c:pt>
                <c:pt idx="2890">
                  <c:v>2.89</c:v>
                </c:pt>
                <c:pt idx="2891">
                  <c:v>2.891</c:v>
                </c:pt>
                <c:pt idx="2892">
                  <c:v>2.8919999999999999</c:v>
                </c:pt>
                <c:pt idx="2893">
                  <c:v>2.8929999999999998</c:v>
                </c:pt>
                <c:pt idx="2894">
                  <c:v>2.8940000000000001</c:v>
                </c:pt>
                <c:pt idx="2895">
                  <c:v>2.895</c:v>
                </c:pt>
                <c:pt idx="2896">
                  <c:v>2.8959999999999999</c:v>
                </c:pt>
                <c:pt idx="2897">
                  <c:v>2.8969999999999998</c:v>
                </c:pt>
                <c:pt idx="2898">
                  <c:v>2.8980000000000001</c:v>
                </c:pt>
                <c:pt idx="2899">
                  <c:v>2.899</c:v>
                </c:pt>
                <c:pt idx="2900">
                  <c:v>2.9</c:v>
                </c:pt>
                <c:pt idx="2901">
                  <c:v>2.9009999999999998</c:v>
                </c:pt>
                <c:pt idx="2902">
                  <c:v>2.9020000000000001</c:v>
                </c:pt>
                <c:pt idx="2903">
                  <c:v>2.903</c:v>
                </c:pt>
                <c:pt idx="2904">
                  <c:v>2.9039999999999999</c:v>
                </c:pt>
                <c:pt idx="2905">
                  <c:v>2.9049999999999998</c:v>
                </c:pt>
                <c:pt idx="2906">
                  <c:v>2.9060000000000001</c:v>
                </c:pt>
                <c:pt idx="2907">
                  <c:v>2.907</c:v>
                </c:pt>
                <c:pt idx="2908">
                  <c:v>2.9079999999999999</c:v>
                </c:pt>
                <c:pt idx="2909">
                  <c:v>2.9089999999999998</c:v>
                </c:pt>
                <c:pt idx="2910">
                  <c:v>2.91</c:v>
                </c:pt>
                <c:pt idx="2911">
                  <c:v>2.911</c:v>
                </c:pt>
                <c:pt idx="2912">
                  <c:v>2.9119999999999999</c:v>
                </c:pt>
                <c:pt idx="2913">
                  <c:v>2.9129999999999998</c:v>
                </c:pt>
                <c:pt idx="2914">
                  <c:v>2.9140000000000001</c:v>
                </c:pt>
                <c:pt idx="2915">
                  <c:v>2.915</c:v>
                </c:pt>
                <c:pt idx="2916">
                  <c:v>2.9159999999999999</c:v>
                </c:pt>
                <c:pt idx="2917">
                  <c:v>2.9169999999999998</c:v>
                </c:pt>
                <c:pt idx="2918">
                  <c:v>2.9180000000000001</c:v>
                </c:pt>
                <c:pt idx="2919">
                  <c:v>2.919</c:v>
                </c:pt>
                <c:pt idx="2920">
                  <c:v>2.92</c:v>
                </c:pt>
                <c:pt idx="2921">
                  <c:v>2.9209999999999998</c:v>
                </c:pt>
                <c:pt idx="2922">
                  <c:v>2.9220000000000002</c:v>
                </c:pt>
                <c:pt idx="2923">
                  <c:v>2.923</c:v>
                </c:pt>
                <c:pt idx="2924">
                  <c:v>2.9239999999999999</c:v>
                </c:pt>
                <c:pt idx="2925">
                  <c:v>2.9249999999999998</c:v>
                </c:pt>
                <c:pt idx="2926">
                  <c:v>2.9260000000000002</c:v>
                </c:pt>
                <c:pt idx="2927">
                  <c:v>2.927</c:v>
                </c:pt>
                <c:pt idx="2928">
                  <c:v>2.9279999999999999</c:v>
                </c:pt>
                <c:pt idx="2929">
                  <c:v>2.9289999999999998</c:v>
                </c:pt>
                <c:pt idx="2930">
                  <c:v>2.93</c:v>
                </c:pt>
                <c:pt idx="2931">
                  <c:v>2.931</c:v>
                </c:pt>
                <c:pt idx="2932">
                  <c:v>2.9319999999999999</c:v>
                </c:pt>
                <c:pt idx="2933">
                  <c:v>2.9329999999999998</c:v>
                </c:pt>
                <c:pt idx="2934">
                  <c:v>2.9340000000000002</c:v>
                </c:pt>
                <c:pt idx="2935">
                  <c:v>2.9350000000000001</c:v>
                </c:pt>
                <c:pt idx="2936">
                  <c:v>2.9359999999999999</c:v>
                </c:pt>
                <c:pt idx="2937">
                  <c:v>2.9369999999999998</c:v>
                </c:pt>
                <c:pt idx="2938">
                  <c:v>2.9380000000000002</c:v>
                </c:pt>
                <c:pt idx="2939">
                  <c:v>2.9390000000000001</c:v>
                </c:pt>
                <c:pt idx="2940">
                  <c:v>2.94</c:v>
                </c:pt>
                <c:pt idx="2941">
                  <c:v>2.9409999999999998</c:v>
                </c:pt>
                <c:pt idx="2942">
                  <c:v>2.9420000000000002</c:v>
                </c:pt>
                <c:pt idx="2943">
                  <c:v>2.9430000000000001</c:v>
                </c:pt>
                <c:pt idx="2944">
                  <c:v>2.944</c:v>
                </c:pt>
                <c:pt idx="2945">
                  <c:v>2.9449999999999998</c:v>
                </c:pt>
                <c:pt idx="2946">
                  <c:v>2.9460000000000002</c:v>
                </c:pt>
                <c:pt idx="2947">
                  <c:v>2.9470000000000001</c:v>
                </c:pt>
                <c:pt idx="2948">
                  <c:v>2.948</c:v>
                </c:pt>
                <c:pt idx="2949">
                  <c:v>2.9489999999999998</c:v>
                </c:pt>
                <c:pt idx="2950">
                  <c:v>2.95</c:v>
                </c:pt>
                <c:pt idx="2951">
                  <c:v>2.9510000000000001</c:v>
                </c:pt>
                <c:pt idx="2952">
                  <c:v>2.952</c:v>
                </c:pt>
                <c:pt idx="2953">
                  <c:v>2.9529999999999998</c:v>
                </c:pt>
                <c:pt idx="2954">
                  <c:v>2.9540000000000002</c:v>
                </c:pt>
                <c:pt idx="2955">
                  <c:v>2.9550000000000001</c:v>
                </c:pt>
                <c:pt idx="2956">
                  <c:v>2.956</c:v>
                </c:pt>
                <c:pt idx="2957">
                  <c:v>2.9569999999999999</c:v>
                </c:pt>
                <c:pt idx="2958">
                  <c:v>2.9580000000000002</c:v>
                </c:pt>
                <c:pt idx="2959">
                  <c:v>2.9590000000000001</c:v>
                </c:pt>
                <c:pt idx="2960">
                  <c:v>2.96</c:v>
                </c:pt>
                <c:pt idx="2961">
                  <c:v>2.9609999999999999</c:v>
                </c:pt>
                <c:pt idx="2962">
                  <c:v>2.9620000000000002</c:v>
                </c:pt>
                <c:pt idx="2963">
                  <c:v>2.9630000000000001</c:v>
                </c:pt>
                <c:pt idx="2964">
                  <c:v>2.964</c:v>
                </c:pt>
                <c:pt idx="2965">
                  <c:v>2.9649999999999999</c:v>
                </c:pt>
                <c:pt idx="2966">
                  <c:v>2.9660000000000002</c:v>
                </c:pt>
                <c:pt idx="2967">
                  <c:v>2.9670000000000001</c:v>
                </c:pt>
                <c:pt idx="2968">
                  <c:v>2.968</c:v>
                </c:pt>
                <c:pt idx="2969">
                  <c:v>2.9689999999999999</c:v>
                </c:pt>
                <c:pt idx="2970">
                  <c:v>2.97</c:v>
                </c:pt>
                <c:pt idx="2971">
                  <c:v>2.9710000000000001</c:v>
                </c:pt>
                <c:pt idx="2972">
                  <c:v>2.972</c:v>
                </c:pt>
                <c:pt idx="2973">
                  <c:v>2.9729999999999999</c:v>
                </c:pt>
                <c:pt idx="2974">
                  <c:v>2.9740000000000002</c:v>
                </c:pt>
                <c:pt idx="2975">
                  <c:v>2.9750000000000001</c:v>
                </c:pt>
                <c:pt idx="2976">
                  <c:v>2.976</c:v>
                </c:pt>
                <c:pt idx="2977">
                  <c:v>2.9769999999999999</c:v>
                </c:pt>
                <c:pt idx="2978">
                  <c:v>2.9780000000000002</c:v>
                </c:pt>
                <c:pt idx="2979">
                  <c:v>2.9790000000000001</c:v>
                </c:pt>
                <c:pt idx="2980">
                  <c:v>2.98</c:v>
                </c:pt>
                <c:pt idx="2981">
                  <c:v>2.9809999999999999</c:v>
                </c:pt>
                <c:pt idx="2982">
                  <c:v>2.9820000000000002</c:v>
                </c:pt>
                <c:pt idx="2983">
                  <c:v>2.9830000000000001</c:v>
                </c:pt>
                <c:pt idx="2984">
                  <c:v>2.984</c:v>
                </c:pt>
                <c:pt idx="2985">
                  <c:v>2.9849999999999999</c:v>
                </c:pt>
                <c:pt idx="2986">
                  <c:v>2.9860000000000002</c:v>
                </c:pt>
                <c:pt idx="2987">
                  <c:v>2.9870000000000001</c:v>
                </c:pt>
                <c:pt idx="2988">
                  <c:v>2.988</c:v>
                </c:pt>
                <c:pt idx="2989">
                  <c:v>2.9889999999999999</c:v>
                </c:pt>
                <c:pt idx="2990">
                  <c:v>2.99</c:v>
                </c:pt>
                <c:pt idx="2991">
                  <c:v>2.9910000000000001</c:v>
                </c:pt>
                <c:pt idx="2992">
                  <c:v>2.992</c:v>
                </c:pt>
                <c:pt idx="2993">
                  <c:v>2.9929999999999999</c:v>
                </c:pt>
                <c:pt idx="2994">
                  <c:v>2.9940000000000002</c:v>
                </c:pt>
                <c:pt idx="2995">
                  <c:v>2.9950000000000001</c:v>
                </c:pt>
                <c:pt idx="2996">
                  <c:v>2.996</c:v>
                </c:pt>
                <c:pt idx="2997">
                  <c:v>2.9969999999999999</c:v>
                </c:pt>
                <c:pt idx="2998">
                  <c:v>2.9980000000000002</c:v>
                </c:pt>
                <c:pt idx="2999">
                  <c:v>2.9990000000000001</c:v>
                </c:pt>
                <c:pt idx="3000">
                  <c:v>3</c:v>
                </c:pt>
                <c:pt idx="3001">
                  <c:v>3.0009999999999999</c:v>
                </c:pt>
                <c:pt idx="3002">
                  <c:v>3.0019999999999998</c:v>
                </c:pt>
                <c:pt idx="3003">
                  <c:v>3.0030000000000001</c:v>
                </c:pt>
                <c:pt idx="3004">
                  <c:v>3.004</c:v>
                </c:pt>
                <c:pt idx="3005">
                  <c:v>3.0049999999999999</c:v>
                </c:pt>
                <c:pt idx="3006">
                  <c:v>3.0059999999999998</c:v>
                </c:pt>
                <c:pt idx="3007">
                  <c:v>3.0070000000000001</c:v>
                </c:pt>
                <c:pt idx="3008">
                  <c:v>3.008</c:v>
                </c:pt>
                <c:pt idx="3009">
                  <c:v>3.0089999999999999</c:v>
                </c:pt>
                <c:pt idx="3010">
                  <c:v>3.01</c:v>
                </c:pt>
                <c:pt idx="3011">
                  <c:v>3.0110000000000001</c:v>
                </c:pt>
                <c:pt idx="3012">
                  <c:v>3.012</c:v>
                </c:pt>
                <c:pt idx="3013">
                  <c:v>3.0129999999999999</c:v>
                </c:pt>
                <c:pt idx="3014">
                  <c:v>3.0139999999999998</c:v>
                </c:pt>
                <c:pt idx="3015">
                  <c:v>3.0150000000000001</c:v>
                </c:pt>
                <c:pt idx="3016">
                  <c:v>3.016</c:v>
                </c:pt>
                <c:pt idx="3017">
                  <c:v>3.0169999999999999</c:v>
                </c:pt>
                <c:pt idx="3018">
                  <c:v>3.0179999999999998</c:v>
                </c:pt>
                <c:pt idx="3019">
                  <c:v>3.0190000000000001</c:v>
                </c:pt>
                <c:pt idx="3020">
                  <c:v>3.02</c:v>
                </c:pt>
                <c:pt idx="3021">
                  <c:v>3.0209999999999999</c:v>
                </c:pt>
                <c:pt idx="3022">
                  <c:v>3.0219999999999998</c:v>
                </c:pt>
                <c:pt idx="3023">
                  <c:v>3.0230000000000001</c:v>
                </c:pt>
                <c:pt idx="3024">
                  <c:v>3.024</c:v>
                </c:pt>
                <c:pt idx="3025">
                  <c:v>3.0249999999999999</c:v>
                </c:pt>
                <c:pt idx="3026">
                  <c:v>3.0259999999999998</c:v>
                </c:pt>
                <c:pt idx="3027">
                  <c:v>3.0270000000000001</c:v>
                </c:pt>
                <c:pt idx="3028">
                  <c:v>3.028</c:v>
                </c:pt>
                <c:pt idx="3029">
                  <c:v>3.0289999999999999</c:v>
                </c:pt>
                <c:pt idx="3030">
                  <c:v>3.03</c:v>
                </c:pt>
                <c:pt idx="3031">
                  <c:v>3.0310000000000001</c:v>
                </c:pt>
                <c:pt idx="3032">
                  <c:v>3.032</c:v>
                </c:pt>
                <c:pt idx="3033">
                  <c:v>3.0329999999999999</c:v>
                </c:pt>
                <c:pt idx="3034">
                  <c:v>3.0339999999999998</c:v>
                </c:pt>
                <c:pt idx="3035">
                  <c:v>3.0350000000000001</c:v>
                </c:pt>
                <c:pt idx="3036">
                  <c:v>3.036</c:v>
                </c:pt>
                <c:pt idx="3037">
                  <c:v>3.0369999999999999</c:v>
                </c:pt>
                <c:pt idx="3038">
                  <c:v>3.0379999999999998</c:v>
                </c:pt>
                <c:pt idx="3039">
                  <c:v>3.0390000000000001</c:v>
                </c:pt>
                <c:pt idx="3040">
                  <c:v>3.04</c:v>
                </c:pt>
                <c:pt idx="3041">
                  <c:v>3.0409999999999999</c:v>
                </c:pt>
                <c:pt idx="3042">
                  <c:v>3.0419999999999998</c:v>
                </c:pt>
                <c:pt idx="3043">
                  <c:v>3.0430000000000001</c:v>
                </c:pt>
                <c:pt idx="3044">
                  <c:v>3.044</c:v>
                </c:pt>
                <c:pt idx="3045">
                  <c:v>3.0449999999999999</c:v>
                </c:pt>
                <c:pt idx="3046">
                  <c:v>3.0459999999999998</c:v>
                </c:pt>
                <c:pt idx="3047">
                  <c:v>3.0470000000000002</c:v>
                </c:pt>
                <c:pt idx="3048">
                  <c:v>3.048</c:v>
                </c:pt>
                <c:pt idx="3049">
                  <c:v>3.0489999999999999</c:v>
                </c:pt>
                <c:pt idx="3050">
                  <c:v>3.05</c:v>
                </c:pt>
                <c:pt idx="3051">
                  <c:v>3.0510000000000002</c:v>
                </c:pt>
                <c:pt idx="3052">
                  <c:v>3.052</c:v>
                </c:pt>
                <c:pt idx="3053">
                  <c:v>3.0529999999999999</c:v>
                </c:pt>
                <c:pt idx="3054">
                  <c:v>3.0539999999999998</c:v>
                </c:pt>
                <c:pt idx="3055">
                  <c:v>3.0550000000000002</c:v>
                </c:pt>
                <c:pt idx="3056">
                  <c:v>3.056</c:v>
                </c:pt>
                <c:pt idx="3057">
                  <c:v>3.0569999999999999</c:v>
                </c:pt>
                <c:pt idx="3058">
                  <c:v>3.0579999999999998</c:v>
                </c:pt>
                <c:pt idx="3059">
                  <c:v>3.0590000000000002</c:v>
                </c:pt>
                <c:pt idx="3060">
                  <c:v>3.06</c:v>
                </c:pt>
                <c:pt idx="3061">
                  <c:v>3.0609999999999999</c:v>
                </c:pt>
                <c:pt idx="3062">
                  <c:v>3.0619999999999998</c:v>
                </c:pt>
                <c:pt idx="3063">
                  <c:v>3.0630000000000002</c:v>
                </c:pt>
                <c:pt idx="3064">
                  <c:v>3.0640000000000001</c:v>
                </c:pt>
                <c:pt idx="3065">
                  <c:v>3.0649999999999999</c:v>
                </c:pt>
                <c:pt idx="3066">
                  <c:v>3.0659999999999998</c:v>
                </c:pt>
                <c:pt idx="3067">
                  <c:v>3.0670000000000002</c:v>
                </c:pt>
                <c:pt idx="3068">
                  <c:v>3.0680000000000001</c:v>
                </c:pt>
                <c:pt idx="3069">
                  <c:v>3.069</c:v>
                </c:pt>
                <c:pt idx="3070">
                  <c:v>3.07</c:v>
                </c:pt>
                <c:pt idx="3071">
                  <c:v>3.0710000000000002</c:v>
                </c:pt>
                <c:pt idx="3072">
                  <c:v>3.0720000000000001</c:v>
                </c:pt>
                <c:pt idx="3073">
                  <c:v>3.073</c:v>
                </c:pt>
                <c:pt idx="3074">
                  <c:v>3.0739999999999998</c:v>
                </c:pt>
                <c:pt idx="3075">
                  <c:v>3.0750000000000002</c:v>
                </c:pt>
                <c:pt idx="3076">
                  <c:v>3.0760000000000001</c:v>
                </c:pt>
                <c:pt idx="3077">
                  <c:v>3.077</c:v>
                </c:pt>
                <c:pt idx="3078">
                  <c:v>3.0779999999999998</c:v>
                </c:pt>
                <c:pt idx="3079">
                  <c:v>3.0790000000000002</c:v>
                </c:pt>
                <c:pt idx="3080">
                  <c:v>3.08</c:v>
                </c:pt>
                <c:pt idx="3081">
                  <c:v>3.081</c:v>
                </c:pt>
                <c:pt idx="3082">
                  <c:v>3.0819999999999999</c:v>
                </c:pt>
                <c:pt idx="3083">
                  <c:v>3.0830000000000002</c:v>
                </c:pt>
                <c:pt idx="3084">
                  <c:v>3.0840000000000001</c:v>
                </c:pt>
                <c:pt idx="3085">
                  <c:v>3.085</c:v>
                </c:pt>
                <c:pt idx="3086">
                  <c:v>3.0859999999999999</c:v>
                </c:pt>
                <c:pt idx="3087">
                  <c:v>3.0870000000000002</c:v>
                </c:pt>
                <c:pt idx="3088">
                  <c:v>3.0880000000000001</c:v>
                </c:pt>
                <c:pt idx="3089">
                  <c:v>3.089</c:v>
                </c:pt>
                <c:pt idx="3090">
                  <c:v>3.09</c:v>
                </c:pt>
                <c:pt idx="3091">
                  <c:v>3.0910000000000002</c:v>
                </c:pt>
                <c:pt idx="3092">
                  <c:v>3.0920000000000001</c:v>
                </c:pt>
                <c:pt idx="3093">
                  <c:v>3.093</c:v>
                </c:pt>
                <c:pt idx="3094">
                  <c:v>3.0939999999999999</c:v>
                </c:pt>
                <c:pt idx="3095">
                  <c:v>3.0950000000000002</c:v>
                </c:pt>
                <c:pt idx="3096">
                  <c:v>3.0960000000000001</c:v>
                </c:pt>
                <c:pt idx="3097">
                  <c:v>3.097</c:v>
                </c:pt>
                <c:pt idx="3098">
                  <c:v>3.0979999999999999</c:v>
                </c:pt>
                <c:pt idx="3099">
                  <c:v>3.0990000000000002</c:v>
                </c:pt>
                <c:pt idx="3100">
                  <c:v>3.1</c:v>
                </c:pt>
                <c:pt idx="3101">
                  <c:v>3.101</c:v>
                </c:pt>
                <c:pt idx="3102">
                  <c:v>3.1019999999999999</c:v>
                </c:pt>
                <c:pt idx="3103">
                  <c:v>3.1030000000000002</c:v>
                </c:pt>
                <c:pt idx="3104">
                  <c:v>3.1040000000000001</c:v>
                </c:pt>
                <c:pt idx="3105">
                  <c:v>3.105</c:v>
                </c:pt>
                <c:pt idx="3106">
                  <c:v>3.1059999999999999</c:v>
                </c:pt>
                <c:pt idx="3107">
                  <c:v>3.1070000000000002</c:v>
                </c:pt>
                <c:pt idx="3108">
                  <c:v>3.1080000000000001</c:v>
                </c:pt>
                <c:pt idx="3109">
                  <c:v>3.109</c:v>
                </c:pt>
                <c:pt idx="3110">
                  <c:v>3.11</c:v>
                </c:pt>
                <c:pt idx="3111">
                  <c:v>3.1110000000000002</c:v>
                </c:pt>
                <c:pt idx="3112">
                  <c:v>3.1120000000000001</c:v>
                </c:pt>
                <c:pt idx="3113">
                  <c:v>3.113</c:v>
                </c:pt>
                <c:pt idx="3114">
                  <c:v>3.1139999999999999</c:v>
                </c:pt>
                <c:pt idx="3115">
                  <c:v>3.1150000000000002</c:v>
                </c:pt>
                <c:pt idx="3116">
                  <c:v>3.1160000000000001</c:v>
                </c:pt>
                <c:pt idx="3117">
                  <c:v>3.117</c:v>
                </c:pt>
                <c:pt idx="3118">
                  <c:v>3.1179999999999999</c:v>
                </c:pt>
                <c:pt idx="3119">
                  <c:v>3.1190000000000002</c:v>
                </c:pt>
                <c:pt idx="3120">
                  <c:v>3.12</c:v>
                </c:pt>
                <c:pt idx="3121">
                  <c:v>3.121</c:v>
                </c:pt>
                <c:pt idx="3122">
                  <c:v>3.1219999999999999</c:v>
                </c:pt>
                <c:pt idx="3123">
                  <c:v>3.1230000000000002</c:v>
                </c:pt>
                <c:pt idx="3124">
                  <c:v>3.1240000000000001</c:v>
                </c:pt>
                <c:pt idx="3125">
                  <c:v>3.125</c:v>
                </c:pt>
                <c:pt idx="3126">
                  <c:v>3.1259999999999999</c:v>
                </c:pt>
                <c:pt idx="3127">
                  <c:v>3.1269999999999998</c:v>
                </c:pt>
                <c:pt idx="3128">
                  <c:v>3.1280000000000001</c:v>
                </c:pt>
                <c:pt idx="3129">
                  <c:v>3.129</c:v>
                </c:pt>
                <c:pt idx="3130">
                  <c:v>3.13</c:v>
                </c:pt>
                <c:pt idx="3131">
                  <c:v>3.1309999999999998</c:v>
                </c:pt>
                <c:pt idx="3132">
                  <c:v>3.1320000000000001</c:v>
                </c:pt>
                <c:pt idx="3133">
                  <c:v>3.133</c:v>
                </c:pt>
                <c:pt idx="3134">
                  <c:v>3.1339999999999999</c:v>
                </c:pt>
                <c:pt idx="3135">
                  <c:v>3.1349999999999998</c:v>
                </c:pt>
                <c:pt idx="3136">
                  <c:v>3.1360000000000001</c:v>
                </c:pt>
                <c:pt idx="3137">
                  <c:v>3.137</c:v>
                </c:pt>
                <c:pt idx="3138">
                  <c:v>3.1379999999999999</c:v>
                </c:pt>
                <c:pt idx="3139">
                  <c:v>3.1389999999999998</c:v>
                </c:pt>
                <c:pt idx="3140">
                  <c:v>3.14</c:v>
                </c:pt>
                <c:pt idx="3141">
                  <c:v>3.141</c:v>
                </c:pt>
                <c:pt idx="3142">
                  <c:v>3.1419999999999999</c:v>
                </c:pt>
                <c:pt idx="3143">
                  <c:v>3.1429999999999998</c:v>
                </c:pt>
                <c:pt idx="3144">
                  <c:v>3.1440000000000001</c:v>
                </c:pt>
                <c:pt idx="3145">
                  <c:v>3.145</c:v>
                </c:pt>
                <c:pt idx="3146">
                  <c:v>3.1459999999999999</c:v>
                </c:pt>
                <c:pt idx="3147">
                  <c:v>3.1469999999999998</c:v>
                </c:pt>
                <c:pt idx="3148">
                  <c:v>3.1480000000000001</c:v>
                </c:pt>
                <c:pt idx="3149">
                  <c:v>3.149</c:v>
                </c:pt>
                <c:pt idx="3150">
                  <c:v>3.15</c:v>
                </c:pt>
                <c:pt idx="3151">
                  <c:v>3.1509999999999998</c:v>
                </c:pt>
                <c:pt idx="3152">
                  <c:v>3.1520000000000001</c:v>
                </c:pt>
                <c:pt idx="3153">
                  <c:v>3.153</c:v>
                </c:pt>
                <c:pt idx="3154">
                  <c:v>3.1539999999999999</c:v>
                </c:pt>
                <c:pt idx="3155">
                  <c:v>3.1549999999999998</c:v>
                </c:pt>
                <c:pt idx="3156">
                  <c:v>3.1560000000000001</c:v>
                </c:pt>
                <c:pt idx="3157">
                  <c:v>3.157</c:v>
                </c:pt>
                <c:pt idx="3158">
                  <c:v>3.1579999999999999</c:v>
                </c:pt>
                <c:pt idx="3159">
                  <c:v>3.1589999999999998</c:v>
                </c:pt>
                <c:pt idx="3160">
                  <c:v>3.16</c:v>
                </c:pt>
                <c:pt idx="3161">
                  <c:v>3.161</c:v>
                </c:pt>
                <c:pt idx="3162">
                  <c:v>3.1619999999999999</c:v>
                </c:pt>
                <c:pt idx="3163">
                  <c:v>3.1629999999999998</c:v>
                </c:pt>
                <c:pt idx="3164">
                  <c:v>3.1640000000000001</c:v>
                </c:pt>
                <c:pt idx="3165">
                  <c:v>3.165</c:v>
                </c:pt>
                <c:pt idx="3166">
                  <c:v>3.1659999999999999</c:v>
                </c:pt>
                <c:pt idx="3167">
                  <c:v>3.1669999999999998</c:v>
                </c:pt>
                <c:pt idx="3168">
                  <c:v>3.1680000000000001</c:v>
                </c:pt>
                <c:pt idx="3169">
                  <c:v>3.169</c:v>
                </c:pt>
                <c:pt idx="3170">
                  <c:v>3.17</c:v>
                </c:pt>
                <c:pt idx="3171">
                  <c:v>3.1709999999999998</c:v>
                </c:pt>
                <c:pt idx="3172">
                  <c:v>3.1720000000000002</c:v>
                </c:pt>
                <c:pt idx="3173">
                  <c:v>3.173</c:v>
                </c:pt>
                <c:pt idx="3174">
                  <c:v>3.1739999999999999</c:v>
                </c:pt>
                <c:pt idx="3175">
                  <c:v>3.1749999999999998</c:v>
                </c:pt>
                <c:pt idx="3176">
                  <c:v>3.1760000000000002</c:v>
                </c:pt>
                <c:pt idx="3177">
                  <c:v>3.177</c:v>
                </c:pt>
                <c:pt idx="3178">
                  <c:v>3.1779999999999999</c:v>
                </c:pt>
                <c:pt idx="3179">
                  <c:v>3.1789999999999998</c:v>
                </c:pt>
                <c:pt idx="3180">
                  <c:v>3.18</c:v>
                </c:pt>
                <c:pt idx="3181">
                  <c:v>3.181</c:v>
                </c:pt>
                <c:pt idx="3182">
                  <c:v>3.1819999999999999</c:v>
                </c:pt>
                <c:pt idx="3183">
                  <c:v>3.1829999999999998</c:v>
                </c:pt>
                <c:pt idx="3184">
                  <c:v>3.1840000000000002</c:v>
                </c:pt>
                <c:pt idx="3185">
                  <c:v>3.1850000000000001</c:v>
                </c:pt>
                <c:pt idx="3186">
                  <c:v>3.1859999999999999</c:v>
                </c:pt>
                <c:pt idx="3187">
                  <c:v>3.1869999999999998</c:v>
                </c:pt>
                <c:pt idx="3188">
                  <c:v>3.1880000000000002</c:v>
                </c:pt>
                <c:pt idx="3189">
                  <c:v>3.1890000000000001</c:v>
                </c:pt>
                <c:pt idx="3190">
                  <c:v>3.19</c:v>
                </c:pt>
                <c:pt idx="3191">
                  <c:v>3.1909999999999998</c:v>
                </c:pt>
                <c:pt idx="3192">
                  <c:v>3.1920000000000002</c:v>
                </c:pt>
                <c:pt idx="3193">
                  <c:v>3.1930000000000001</c:v>
                </c:pt>
                <c:pt idx="3194">
                  <c:v>3.194</c:v>
                </c:pt>
                <c:pt idx="3195">
                  <c:v>3.1949999999999998</c:v>
                </c:pt>
                <c:pt idx="3196">
                  <c:v>3.1960000000000002</c:v>
                </c:pt>
                <c:pt idx="3197">
                  <c:v>3.1970000000000001</c:v>
                </c:pt>
                <c:pt idx="3198">
                  <c:v>3.198</c:v>
                </c:pt>
                <c:pt idx="3199">
                  <c:v>3.1989999999999998</c:v>
                </c:pt>
                <c:pt idx="3200">
                  <c:v>3.2</c:v>
                </c:pt>
                <c:pt idx="3201">
                  <c:v>3.2010000000000001</c:v>
                </c:pt>
                <c:pt idx="3202">
                  <c:v>3.202</c:v>
                </c:pt>
                <c:pt idx="3203">
                  <c:v>3.2029999999999998</c:v>
                </c:pt>
                <c:pt idx="3204">
                  <c:v>3.2040000000000002</c:v>
                </c:pt>
                <c:pt idx="3205">
                  <c:v>3.2050000000000001</c:v>
                </c:pt>
                <c:pt idx="3206">
                  <c:v>3.206</c:v>
                </c:pt>
                <c:pt idx="3207">
                  <c:v>3.2069999999999999</c:v>
                </c:pt>
                <c:pt idx="3208">
                  <c:v>3.2080000000000002</c:v>
                </c:pt>
                <c:pt idx="3209">
                  <c:v>3.2090000000000001</c:v>
                </c:pt>
                <c:pt idx="3210">
                  <c:v>3.21</c:v>
                </c:pt>
                <c:pt idx="3211">
                  <c:v>3.2109999999999999</c:v>
                </c:pt>
                <c:pt idx="3212">
                  <c:v>3.2120000000000002</c:v>
                </c:pt>
                <c:pt idx="3213">
                  <c:v>3.2130000000000001</c:v>
                </c:pt>
                <c:pt idx="3214">
                  <c:v>3.214</c:v>
                </c:pt>
                <c:pt idx="3215">
                  <c:v>3.2149999999999999</c:v>
                </c:pt>
                <c:pt idx="3216">
                  <c:v>3.2160000000000002</c:v>
                </c:pt>
                <c:pt idx="3217">
                  <c:v>3.2170000000000001</c:v>
                </c:pt>
                <c:pt idx="3218">
                  <c:v>3.218</c:v>
                </c:pt>
                <c:pt idx="3219">
                  <c:v>3.2189999999999999</c:v>
                </c:pt>
                <c:pt idx="3220">
                  <c:v>3.22</c:v>
                </c:pt>
                <c:pt idx="3221">
                  <c:v>3.2210000000000001</c:v>
                </c:pt>
                <c:pt idx="3222">
                  <c:v>3.222</c:v>
                </c:pt>
                <c:pt idx="3223">
                  <c:v>3.2229999999999999</c:v>
                </c:pt>
                <c:pt idx="3224">
                  <c:v>3.2240000000000002</c:v>
                </c:pt>
                <c:pt idx="3225">
                  <c:v>3.2250000000000001</c:v>
                </c:pt>
                <c:pt idx="3226">
                  <c:v>3.226</c:v>
                </c:pt>
                <c:pt idx="3227">
                  <c:v>3.2269999999999999</c:v>
                </c:pt>
                <c:pt idx="3228">
                  <c:v>3.2280000000000002</c:v>
                </c:pt>
                <c:pt idx="3229">
                  <c:v>3.2290000000000001</c:v>
                </c:pt>
                <c:pt idx="3230">
                  <c:v>3.23</c:v>
                </c:pt>
                <c:pt idx="3231">
                  <c:v>3.2309999999999999</c:v>
                </c:pt>
                <c:pt idx="3232">
                  <c:v>3.2320000000000002</c:v>
                </c:pt>
                <c:pt idx="3233">
                  <c:v>3.2330000000000001</c:v>
                </c:pt>
                <c:pt idx="3234">
                  <c:v>3.234</c:v>
                </c:pt>
                <c:pt idx="3235">
                  <c:v>3.2349999999999999</c:v>
                </c:pt>
                <c:pt idx="3236">
                  <c:v>3.2360000000000002</c:v>
                </c:pt>
                <c:pt idx="3237">
                  <c:v>3.2370000000000001</c:v>
                </c:pt>
                <c:pt idx="3238">
                  <c:v>3.238</c:v>
                </c:pt>
                <c:pt idx="3239">
                  <c:v>3.2389999999999999</c:v>
                </c:pt>
                <c:pt idx="3240">
                  <c:v>3.24</c:v>
                </c:pt>
                <c:pt idx="3241">
                  <c:v>3.2410000000000001</c:v>
                </c:pt>
                <c:pt idx="3242">
                  <c:v>3.242</c:v>
                </c:pt>
                <c:pt idx="3243">
                  <c:v>3.2429999999999999</c:v>
                </c:pt>
                <c:pt idx="3244">
                  <c:v>3.2440000000000002</c:v>
                </c:pt>
                <c:pt idx="3245">
                  <c:v>3.2450000000000001</c:v>
                </c:pt>
                <c:pt idx="3246">
                  <c:v>3.246</c:v>
                </c:pt>
                <c:pt idx="3247">
                  <c:v>3.2469999999999999</c:v>
                </c:pt>
                <c:pt idx="3248">
                  <c:v>3.2480000000000002</c:v>
                </c:pt>
                <c:pt idx="3249">
                  <c:v>3.2490000000000001</c:v>
                </c:pt>
                <c:pt idx="3250">
                  <c:v>3.25</c:v>
                </c:pt>
                <c:pt idx="3251">
                  <c:v>3.2509999999999999</c:v>
                </c:pt>
                <c:pt idx="3252">
                  <c:v>3.2519999999999998</c:v>
                </c:pt>
                <c:pt idx="3253">
                  <c:v>3.2530000000000001</c:v>
                </c:pt>
                <c:pt idx="3254">
                  <c:v>3.254</c:v>
                </c:pt>
                <c:pt idx="3255">
                  <c:v>3.2549999999999999</c:v>
                </c:pt>
                <c:pt idx="3256">
                  <c:v>3.2559999999999998</c:v>
                </c:pt>
                <c:pt idx="3257">
                  <c:v>3.2570000000000001</c:v>
                </c:pt>
                <c:pt idx="3258">
                  <c:v>3.258</c:v>
                </c:pt>
                <c:pt idx="3259">
                  <c:v>3.2589999999999999</c:v>
                </c:pt>
                <c:pt idx="3260">
                  <c:v>3.26</c:v>
                </c:pt>
                <c:pt idx="3261">
                  <c:v>3.2610000000000001</c:v>
                </c:pt>
                <c:pt idx="3262">
                  <c:v>3.262</c:v>
                </c:pt>
                <c:pt idx="3263">
                  <c:v>3.2629999999999999</c:v>
                </c:pt>
                <c:pt idx="3264">
                  <c:v>3.2639999999999998</c:v>
                </c:pt>
                <c:pt idx="3265">
                  <c:v>3.2650000000000001</c:v>
                </c:pt>
                <c:pt idx="3266">
                  <c:v>3.266</c:v>
                </c:pt>
                <c:pt idx="3267">
                  <c:v>3.2669999999999999</c:v>
                </c:pt>
                <c:pt idx="3268">
                  <c:v>3.2679999999999998</c:v>
                </c:pt>
                <c:pt idx="3269">
                  <c:v>3.2690000000000001</c:v>
                </c:pt>
                <c:pt idx="3270">
                  <c:v>3.27</c:v>
                </c:pt>
                <c:pt idx="3271">
                  <c:v>3.2709999999999999</c:v>
                </c:pt>
                <c:pt idx="3272">
                  <c:v>3.2719999999999998</c:v>
                </c:pt>
                <c:pt idx="3273">
                  <c:v>3.2730000000000001</c:v>
                </c:pt>
                <c:pt idx="3274">
                  <c:v>3.274</c:v>
                </c:pt>
                <c:pt idx="3275">
                  <c:v>3.2749999999999999</c:v>
                </c:pt>
                <c:pt idx="3276">
                  <c:v>3.2759999999999998</c:v>
                </c:pt>
                <c:pt idx="3277">
                  <c:v>3.2770000000000001</c:v>
                </c:pt>
                <c:pt idx="3278">
                  <c:v>3.278</c:v>
                </c:pt>
                <c:pt idx="3279">
                  <c:v>3.2789999999999999</c:v>
                </c:pt>
                <c:pt idx="3280">
                  <c:v>3.28</c:v>
                </c:pt>
                <c:pt idx="3281">
                  <c:v>3.2810000000000001</c:v>
                </c:pt>
                <c:pt idx="3282">
                  <c:v>3.282</c:v>
                </c:pt>
                <c:pt idx="3283">
                  <c:v>3.2829999999999999</c:v>
                </c:pt>
                <c:pt idx="3284">
                  <c:v>3.2839999999999998</c:v>
                </c:pt>
                <c:pt idx="3285">
                  <c:v>3.2850000000000001</c:v>
                </c:pt>
                <c:pt idx="3286">
                  <c:v>3.286</c:v>
                </c:pt>
                <c:pt idx="3287">
                  <c:v>3.2869999999999999</c:v>
                </c:pt>
                <c:pt idx="3288">
                  <c:v>3.2879999999999998</c:v>
                </c:pt>
                <c:pt idx="3289">
                  <c:v>3.2890000000000001</c:v>
                </c:pt>
                <c:pt idx="3290">
                  <c:v>3.29</c:v>
                </c:pt>
                <c:pt idx="3291">
                  <c:v>3.2909999999999999</c:v>
                </c:pt>
                <c:pt idx="3292">
                  <c:v>3.2919999999999998</c:v>
                </c:pt>
                <c:pt idx="3293">
                  <c:v>3.2930000000000001</c:v>
                </c:pt>
                <c:pt idx="3294">
                  <c:v>3.294</c:v>
                </c:pt>
                <c:pt idx="3295">
                  <c:v>3.2949999999999999</c:v>
                </c:pt>
                <c:pt idx="3296">
                  <c:v>3.2959999999999998</c:v>
                </c:pt>
                <c:pt idx="3297">
                  <c:v>3.2970000000000002</c:v>
                </c:pt>
                <c:pt idx="3298">
                  <c:v>3.298</c:v>
                </c:pt>
                <c:pt idx="3299">
                  <c:v>3.2989999999999999</c:v>
                </c:pt>
                <c:pt idx="3300">
                  <c:v>3.3</c:v>
                </c:pt>
                <c:pt idx="3301">
                  <c:v>3.3010000000000002</c:v>
                </c:pt>
                <c:pt idx="3302">
                  <c:v>3.302</c:v>
                </c:pt>
                <c:pt idx="3303">
                  <c:v>3.3029999999999999</c:v>
                </c:pt>
                <c:pt idx="3304">
                  <c:v>3.3039999999999998</c:v>
                </c:pt>
                <c:pt idx="3305">
                  <c:v>3.3050000000000002</c:v>
                </c:pt>
                <c:pt idx="3306">
                  <c:v>3.306</c:v>
                </c:pt>
                <c:pt idx="3307">
                  <c:v>3.3069999999999999</c:v>
                </c:pt>
                <c:pt idx="3308">
                  <c:v>3.3079999999999998</c:v>
                </c:pt>
                <c:pt idx="3309">
                  <c:v>3.3090000000000002</c:v>
                </c:pt>
                <c:pt idx="3310">
                  <c:v>3.31</c:v>
                </c:pt>
                <c:pt idx="3311">
                  <c:v>3.3109999999999999</c:v>
                </c:pt>
                <c:pt idx="3312">
                  <c:v>3.3119999999999998</c:v>
                </c:pt>
                <c:pt idx="3313">
                  <c:v>3.3130000000000002</c:v>
                </c:pt>
                <c:pt idx="3314">
                  <c:v>3.3140000000000001</c:v>
                </c:pt>
                <c:pt idx="3315">
                  <c:v>3.3149999999999999</c:v>
                </c:pt>
                <c:pt idx="3316">
                  <c:v>3.3159999999999998</c:v>
                </c:pt>
                <c:pt idx="3317">
                  <c:v>3.3170000000000002</c:v>
                </c:pt>
                <c:pt idx="3318">
                  <c:v>3.3180000000000001</c:v>
                </c:pt>
                <c:pt idx="3319">
                  <c:v>3.319</c:v>
                </c:pt>
                <c:pt idx="3320">
                  <c:v>3.32</c:v>
                </c:pt>
                <c:pt idx="3321">
                  <c:v>3.3210000000000002</c:v>
                </c:pt>
                <c:pt idx="3322">
                  <c:v>3.3220000000000001</c:v>
                </c:pt>
                <c:pt idx="3323">
                  <c:v>3.323</c:v>
                </c:pt>
                <c:pt idx="3324">
                  <c:v>3.3239999999999998</c:v>
                </c:pt>
                <c:pt idx="3325">
                  <c:v>3.3250000000000002</c:v>
                </c:pt>
                <c:pt idx="3326">
                  <c:v>3.3260000000000001</c:v>
                </c:pt>
                <c:pt idx="3327">
                  <c:v>3.327</c:v>
                </c:pt>
                <c:pt idx="3328">
                  <c:v>3.3279999999999998</c:v>
                </c:pt>
                <c:pt idx="3329">
                  <c:v>3.3290000000000002</c:v>
                </c:pt>
                <c:pt idx="3330">
                  <c:v>3.33</c:v>
                </c:pt>
                <c:pt idx="3331">
                  <c:v>3.331</c:v>
                </c:pt>
                <c:pt idx="3332">
                  <c:v>3.3319999999999999</c:v>
                </c:pt>
                <c:pt idx="3333">
                  <c:v>3.3330000000000002</c:v>
                </c:pt>
                <c:pt idx="3334">
                  <c:v>3.3340000000000001</c:v>
                </c:pt>
                <c:pt idx="3335">
                  <c:v>3.335</c:v>
                </c:pt>
                <c:pt idx="3336">
                  <c:v>3.3359999999999999</c:v>
                </c:pt>
                <c:pt idx="3337">
                  <c:v>3.3370000000000002</c:v>
                </c:pt>
                <c:pt idx="3338">
                  <c:v>3.3380000000000001</c:v>
                </c:pt>
                <c:pt idx="3339">
                  <c:v>3.339</c:v>
                </c:pt>
                <c:pt idx="3340">
                  <c:v>3.34</c:v>
                </c:pt>
                <c:pt idx="3341">
                  <c:v>3.3410000000000002</c:v>
                </c:pt>
                <c:pt idx="3342">
                  <c:v>3.3420000000000001</c:v>
                </c:pt>
                <c:pt idx="3343">
                  <c:v>3.343</c:v>
                </c:pt>
                <c:pt idx="3344">
                  <c:v>3.3439999999999999</c:v>
                </c:pt>
                <c:pt idx="3345">
                  <c:v>3.3450000000000002</c:v>
                </c:pt>
                <c:pt idx="3346">
                  <c:v>3.3460000000000001</c:v>
                </c:pt>
                <c:pt idx="3347">
                  <c:v>3.347</c:v>
                </c:pt>
                <c:pt idx="3348">
                  <c:v>3.3479999999999999</c:v>
                </c:pt>
                <c:pt idx="3349">
                  <c:v>3.3490000000000002</c:v>
                </c:pt>
                <c:pt idx="3350">
                  <c:v>3.35</c:v>
                </c:pt>
                <c:pt idx="3351">
                  <c:v>3.351</c:v>
                </c:pt>
                <c:pt idx="3352">
                  <c:v>3.3519999999999999</c:v>
                </c:pt>
                <c:pt idx="3353">
                  <c:v>3.3530000000000002</c:v>
                </c:pt>
                <c:pt idx="3354">
                  <c:v>3.3540000000000001</c:v>
                </c:pt>
                <c:pt idx="3355">
                  <c:v>3.355</c:v>
                </c:pt>
                <c:pt idx="3356">
                  <c:v>3.3559999999999999</c:v>
                </c:pt>
                <c:pt idx="3357">
                  <c:v>3.3570000000000002</c:v>
                </c:pt>
                <c:pt idx="3358">
                  <c:v>3.3580000000000001</c:v>
                </c:pt>
                <c:pt idx="3359">
                  <c:v>3.359</c:v>
                </c:pt>
                <c:pt idx="3360">
                  <c:v>3.36</c:v>
                </c:pt>
                <c:pt idx="3361">
                  <c:v>3.3610000000000002</c:v>
                </c:pt>
                <c:pt idx="3362">
                  <c:v>3.3620000000000001</c:v>
                </c:pt>
                <c:pt idx="3363">
                  <c:v>3.363</c:v>
                </c:pt>
                <c:pt idx="3364">
                  <c:v>3.3639999999999999</c:v>
                </c:pt>
                <c:pt idx="3365">
                  <c:v>3.3650000000000002</c:v>
                </c:pt>
                <c:pt idx="3366">
                  <c:v>3.3660000000000001</c:v>
                </c:pt>
                <c:pt idx="3367">
                  <c:v>3.367</c:v>
                </c:pt>
                <c:pt idx="3368">
                  <c:v>3.3679999999999999</c:v>
                </c:pt>
                <c:pt idx="3369">
                  <c:v>3.3690000000000002</c:v>
                </c:pt>
                <c:pt idx="3370">
                  <c:v>3.37</c:v>
                </c:pt>
                <c:pt idx="3371">
                  <c:v>3.371</c:v>
                </c:pt>
                <c:pt idx="3372">
                  <c:v>3.3719999999999999</c:v>
                </c:pt>
                <c:pt idx="3373">
                  <c:v>3.3730000000000002</c:v>
                </c:pt>
                <c:pt idx="3374">
                  <c:v>3.3740000000000001</c:v>
                </c:pt>
                <c:pt idx="3375">
                  <c:v>3.375</c:v>
                </c:pt>
                <c:pt idx="3376">
                  <c:v>3.3759999999999999</c:v>
                </c:pt>
                <c:pt idx="3377">
                  <c:v>3.3769999999999998</c:v>
                </c:pt>
                <c:pt idx="3378">
                  <c:v>3.3780000000000001</c:v>
                </c:pt>
                <c:pt idx="3379">
                  <c:v>3.379</c:v>
                </c:pt>
                <c:pt idx="3380">
                  <c:v>3.38</c:v>
                </c:pt>
                <c:pt idx="3381">
                  <c:v>3.3809999999999998</c:v>
                </c:pt>
                <c:pt idx="3382">
                  <c:v>3.3820000000000001</c:v>
                </c:pt>
                <c:pt idx="3383">
                  <c:v>3.383</c:v>
                </c:pt>
                <c:pt idx="3384">
                  <c:v>3.3839999999999999</c:v>
                </c:pt>
                <c:pt idx="3385">
                  <c:v>3.3849999999999998</c:v>
                </c:pt>
                <c:pt idx="3386">
                  <c:v>3.3860000000000001</c:v>
                </c:pt>
                <c:pt idx="3387">
                  <c:v>3.387</c:v>
                </c:pt>
                <c:pt idx="3388">
                  <c:v>3.3879999999999999</c:v>
                </c:pt>
                <c:pt idx="3389">
                  <c:v>3.3889999999999998</c:v>
                </c:pt>
                <c:pt idx="3390">
                  <c:v>3.39</c:v>
                </c:pt>
                <c:pt idx="3391">
                  <c:v>3.391</c:v>
                </c:pt>
                <c:pt idx="3392">
                  <c:v>3.3919999999999999</c:v>
                </c:pt>
                <c:pt idx="3393">
                  <c:v>3.3929999999999998</c:v>
                </c:pt>
                <c:pt idx="3394">
                  <c:v>3.3940000000000001</c:v>
                </c:pt>
                <c:pt idx="3395">
                  <c:v>3.395</c:v>
                </c:pt>
                <c:pt idx="3396">
                  <c:v>3.3959999999999999</c:v>
                </c:pt>
                <c:pt idx="3397">
                  <c:v>3.3969999999999998</c:v>
                </c:pt>
                <c:pt idx="3398">
                  <c:v>3.3980000000000001</c:v>
                </c:pt>
                <c:pt idx="3399">
                  <c:v>3.399</c:v>
                </c:pt>
                <c:pt idx="3400">
                  <c:v>3.4</c:v>
                </c:pt>
                <c:pt idx="3401">
                  <c:v>3.4009999999999998</c:v>
                </c:pt>
                <c:pt idx="3402">
                  <c:v>3.4020000000000001</c:v>
                </c:pt>
                <c:pt idx="3403">
                  <c:v>3.403</c:v>
                </c:pt>
                <c:pt idx="3404">
                  <c:v>3.4039999999999999</c:v>
                </c:pt>
                <c:pt idx="3405">
                  <c:v>3.4049999999999998</c:v>
                </c:pt>
                <c:pt idx="3406">
                  <c:v>3.4060000000000001</c:v>
                </c:pt>
                <c:pt idx="3407">
                  <c:v>3.407</c:v>
                </c:pt>
                <c:pt idx="3408">
                  <c:v>3.4079999999999999</c:v>
                </c:pt>
                <c:pt idx="3409">
                  <c:v>3.4089999999999998</c:v>
                </c:pt>
                <c:pt idx="3410">
                  <c:v>3.41</c:v>
                </c:pt>
                <c:pt idx="3411">
                  <c:v>3.411</c:v>
                </c:pt>
                <c:pt idx="3412">
                  <c:v>3.4119999999999999</c:v>
                </c:pt>
                <c:pt idx="3413">
                  <c:v>3.4129999999999998</c:v>
                </c:pt>
                <c:pt idx="3414">
                  <c:v>3.4140000000000001</c:v>
                </c:pt>
                <c:pt idx="3415">
                  <c:v>3.415</c:v>
                </c:pt>
                <c:pt idx="3416">
                  <c:v>3.4159999999999999</c:v>
                </c:pt>
                <c:pt idx="3417">
                  <c:v>3.4169999999999998</c:v>
                </c:pt>
                <c:pt idx="3418">
                  <c:v>3.4180000000000001</c:v>
                </c:pt>
                <c:pt idx="3419">
                  <c:v>3.419</c:v>
                </c:pt>
                <c:pt idx="3420">
                  <c:v>3.42</c:v>
                </c:pt>
                <c:pt idx="3421">
                  <c:v>3.4209999999999998</c:v>
                </c:pt>
                <c:pt idx="3422">
                  <c:v>3.4220000000000002</c:v>
                </c:pt>
                <c:pt idx="3423">
                  <c:v>3.423</c:v>
                </c:pt>
                <c:pt idx="3424">
                  <c:v>3.4239999999999999</c:v>
                </c:pt>
                <c:pt idx="3425">
                  <c:v>3.4249999999999998</c:v>
                </c:pt>
                <c:pt idx="3426">
                  <c:v>3.4260000000000002</c:v>
                </c:pt>
                <c:pt idx="3427">
                  <c:v>3.427</c:v>
                </c:pt>
                <c:pt idx="3428">
                  <c:v>3.4279999999999999</c:v>
                </c:pt>
                <c:pt idx="3429">
                  <c:v>3.4289999999999998</c:v>
                </c:pt>
                <c:pt idx="3430">
                  <c:v>3.43</c:v>
                </c:pt>
                <c:pt idx="3431">
                  <c:v>3.431</c:v>
                </c:pt>
                <c:pt idx="3432">
                  <c:v>3.4319999999999999</c:v>
                </c:pt>
                <c:pt idx="3433">
                  <c:v>3.4329999999999998</c:v>
                </c:pt>
                <c:pt idx="3434">
                  <c:v>3.4340000000000002</c:v>
                </c:pt>
                <c:pt idx="3435">
                  <c:v>3.4350000000000001</c:v>
                </c:pt>
                <c:pt idx="3436">
                  <c:v>3.4359999999999999</c:v>
                </c:pt>
                <c:pt idx="3437">
                  <c:v>3.4369999999999998</c:v>
                </c:pt>
                <c:pt idx="3438">
                  <c:v>3.4380000000000002</c:v>
                </c:pt>
                <c:pt idx="3439">
                  <c:v>3.4390000000000001</c:v>
                </c:pt>
                <c:pt idx="3440">
                  <c:v>3.44</c:v>
                </c:pt>
                <c:pt idx="3441">
                  <c:v>3.4409999999999998</c:v>
                </c:pt>
                <c:pt idx="3442">
                  <c:v>3.4420000000000002</c:v>
                </c:pt>
                <c:pt idx="3443">
                  <c:v>3.4430000000000001</c:v>
                </c:pt>
                <c:pt idx="3444">
                  <c:v>3.444</c:v>
                </c:pt>
                <c:pt idx="3445">
                  <c:v>3.4449999999999998</c:v>
                </c:pt>
                <c:pt idx="3446">
                  <c:v>3.4460000000000002</c:v>
                </c:pt>
                <c:pt idx="3447">
                  <c:v>3.4470000000000001</c:v>
                </c:pt>
                <c:pt idx="3448">
                  <c:v>3.448</c:v>
                </c:pt>
                <c:pt idx="3449">
                  <c:v>3.4489999999999998</c:v>
                </c:pt>
                <c:pt idx="3450">
                  <c:v>3.45</c:v>
                </c:pt>
                <c:pt idx="3451">
                  <c:v>3.4510000000000001</c:v>
                </c:pt>
                <c:pt idx="3452">
                  <c:v>3.452</c:v>
                </c:pt>
                <c:pt idx="3453">
                  <c:v>3.4529999999999998</c:v>
                </c:pt>
                <c:pt idx="3454">
                  <c:v>3.4540000000000002</c:v>
                </c:pt>
                <c:pt idx="3455">
                  <c:v>3.4550000000000001</c:v>
                </c:pt>
                <c:pt idx="3456">
                  <c:v>3.456</c:v>
                </c:pt>
                <c:pt idx="3457">
                  <c:v>3.4569999999999999</c:v>
                </c:pt>
                <c:pt idx="3458">
                  <c:v>3.4580000000000002</c:v>
                </c:pt>
                <c:pt idx="3459">
                  <c:v>3.4590000000000001</c:v>
                </c:pt>
                <c:pt idx="3460">
                  <c:v>3.46</c:v>
                </c:pt>
                <c:pt idx="3461">
                  <c:v>3.4609999999999999</c:v>
                </c:pt>
                <c:pt idx="3462">
                  <c:v>3.4620000000000002</c:v>
                </c:pt>
                <c:pt idx="3463">
                  <c:v>3.4630000000000001</c:v>
                </c:pt>
                <c:pt idx="3464">
                  <c:v>3.464</c:v>
                </c:pt>
                <c:pt idx="3465">
                  <c:v>3.4649999999999999</c:v>
                </c:pt>
                <c:pt idx="3466">
                  <c:v>3.4660000000000002</c:v>
                </c:pt>
                <c:pt idx="3467">
                  <c:v>3.4670000000000001</c:v>
                </c:pt>
                <c:pt idx="3468">
                  <c:v>3.468</c:v>
                </c:pt>
                <c:pt idx="3469">
                  <c:v>3.4689999999999999</c:v>
                </c:pt>
                <c:pt idx="3470">
                  <c:v>3.47</c:v>
                </c:pt>
                <c:pt idx="3471">
                  <c:v>3.4710000000000001</c:v>
                </c:pt>
                <c:pt idx="3472">
                  <c:v>3.472</c:v>
                </c:pt>
                <c:pt idx="3473">
                  <c:v>3.4729999999999999</c:v>
                </c:pt>
                <c:pt idx="3474">
                  <c:v>3.4740000000000002</c:v>
                </c:pt>
                <c:pt idx="3475">
                  <c:v>3.4750000000000001</c:v>
                </c:pt>
                <c:pt idx="3476">
                  <c:v>3.476</c:v>
                </c:pt>
                <c:pt idx="3477">
                  <c:v>3.4769999999999999</c:v>
                </c:pt>
                <c:pt idx="3478">
                  <c:v>3.4780000000000002</c:v>
                </c:pt>
                <c:pt idx="3479">
                  <c:v>3.4790000000000001</c:v>
                </c:pt>
                <c:pt idx="3480">
                  <c:v>3.48</c:v>
                </c:pt>
                <c:pt idx="3481">
                  <c:v>3.4809999999999999</c:v>
                </c:pt>
                <c:pt idx="3482">
                  <c:v>3.4820000000000002</c:v>
                </c:pt>
                <c:pt idx="3483">
                  <c:v>3.4830000000000001</c:v>
                </c:pt>
                <c:pt idx="3484">
                  <c:v>3.484</c:v>
                </c:pt>
                <c:pt idx="3485">
                  <c:v>3.4849999999999999</c:v>
                </c:pt>
                <c:pt idx="3486">
                  <c:v>3.4860000000000002</c:v>
                </c:pt>
                <c:pt idx="3487">
                  <c:v>3.4870000000000001</c:v>
                </c:pt>
                <c:pt idx="3488">
                  <c:v>3.488</c:v>
                </c:pt>
                <c:pt idx="3489">
                  <c:v>3.4889999999999999</c:v>
                </c:pt>
                <c:pt idx="3490">
                  <c:v>3.49</c:v>
                </c:pt>
                <c:pt idx="3491">
                  <c:v>3.4910000000000001</c:v>
                </c:pt>
                <c:pt idx="3492">
                  <c:v>3.492</c:v>
                </c:pt>
                <c:pt idx="3493">
                  <c:v>3.4929999999999999</c:v>
                </c:pt>
                <c:pt idx="3494">
                  <c:v>3.4940000000000002</c:v>
                </c:pt>
                <c:pt idx="3495">
                  <c:v>3.4950000000000001</c:v>
                </c:pt>
                <c:pt idx="3496">
                  <c:v>3.496</c:v>
                </c:pt>
                <c:pt idx="3497">
                  <c:v>3.4969999999999999</c:v>
                </c:pt>
                <c:pt idx="3498">
                  <c:v>3.4980000000000002</c:v>
                </c:pt>
                <c:pt idx="3499">
                  <c:v>3.4990000000000001</c:v>
                </c:pt>
                <c:pt idx="3500">
                  <c:v>3.5</c:v>
                </c:pt>
                <c:pt idx="3501">
                  <c:v>3.5009999999999999</c:v>
                </c:pt>
                <c:pt idx="3502">
                  <c:v>3.5019999999999998</c:v>
                </c:pt>
                <c:pt idx="3503">
                  <c:v>3.5030000000000001</c:v>
                </c:pt>
                <c:pt idx="3504">
                  <c:v>3.504</c:v>
                </c:pt>
                <c:pt idx="3505">
                  <c:v>3.5049999999999999</c:v>
                </c:pt>
                <c:pt idx="3506">
                  <c:v>3.5059999999999998</c:v>
                </c:pt>
                <c:pt idx="3507">
                  <c:v>3.5070000000000001</c:v>
                </c:pt>
                <c:pt idx="3508">
                  <c:v>3.508</c:v>
                </c:pt>
                <c:pt idx="3509">
                  <c:v>3.5089999999999999</c:v>
                </c:pt>
                <c:pt idx="3510">
                  <c:v>3.51</c:v>
                </c:pt>
                <c:pt idx="3511">
                  <c:v>3.5110000000000001</c:v>
                </c:pt>
                <c:pt idx="3512">
                  <c:v>3.512</c:v>
                </c:pt>
                <c:pt idx="3513">
                  <c:v>3.5129999999999999</c:v>
                </c:pt>
                <c:pt idx="3514">
                  <c:v>3.5139999999999998</c:v>
                </c:pt>
                <c:pt idx="3515">
                  <c:v>3.5150000000000001</c:v>
                </c:pt>
                <c:pt idx="3516">
                  <c:v>3.516</c:v>
                </c:pt>
                <c:pt idx="3517">
                  <c:v>3.5169999999999999</c:v>
                </c:pt>
                <c:pt idx="3518">
                  <c:v>3.5179999999999998</c:v>
                </c:pt>
                <c:pt idx="3519">
                  <c:v>3.5190000000000001</c:v>
                </c:pt>
                <c:pt idx="3520">
                  <c:v>3.52</c:v>
                </c:pt>
                <c:pt idx="3521">
                  <c:v>3.5209999999999999</c:v>
                </c:pt>
                <c:pt idx="3522">
                  <c:v>3.5219999999999998</c:v>
                </c:pt>
                <c:pt idx="3523">
                  <c:v>3.5230000000000001</c:v>
                </c:pt>
                <c:pt idx="3524">
                  <c:v>3.524</c:v>
                </c:pt>
                <c:pt idx="3525">
                  <c:v>3.5249999999999999</c:v>
                </c:pt>
                <c:pt idx="3526">
                  <c:v>3.5259999999999998</c:v>
                </c:pt>
                <c:pt idx="3527">
                  <c:v>3.5270000000000001</c:v>
                </c:pt>
                <c:pt idx="3528">
                  <c:v>3.528</c:v>
                </c:pt>
                <c:pt idx="3529">
                  <c:v>3.5289999999999999</c:v>
                </c:pt>
                <c:pt idx="3530">
                  <c:v>3.53</c:v>
                </c:pt>
                <c:pt idx="3531">
                  <c:v>3.5310000000000001</c:v>
                </c:pt>
                <c:pt idx="3532">
                  <c:v>3.532</c:v>
                </c:pt>
                <c:pt idx="3533">
                  <c:v>3.5329999999999999</c:v>
                </c:pt>
                <c:pt idx="3534">
                  <c:v>3.5339999999999998</c:v>
                </c:pt>
                <c:pt idx="3535">
                  <c:v>3.5350000000000001</c:v>
                </c:pt>
                <c:pt idx="3536">
                  <c:v>3.536</c:v>
                </c:pt>
                <c:pt idx="3537">
                  <c:v>3.5369999999999999</c:v>
                </c:pt>
                <c:pt idx="3538">
                  <c:v>3.5379999999999998</c:v>
                </c:pt>
                <c:pt idx="3539">
                  <c:v>3.5390000000000001</c:v>
                </c:pt>
                <c:pt idx="3540">
                  <c:v>3.54</c:v>
                </c:pt>
                <c:pt idx="3541">
                  <c:v>3.5409999999999999</c:v>
                </c:pt>
                <c:pt idx="3542">
                  <c:v>3.5419999999999998</c:v>
                </c:pt>
                <c:pt idx="3543">
                  <c:v>3.5430000000000001</c:v>
                </c:pt>
                <c:pt idx="3544">
                  <c:v>3.544</c:v>
                </c:pt>
                <c:pt idx="3545">
                  <c:v>3.5449999999999999</c:v>
                </c:pt>
                <c:pt idx="3546">
                  <c:v>3.5459999999999998</c:v>
                </c:pt>
                <c:pt idx="3547">
                  <c:v>3.5470000000000002</c:v>
                </c:pt>
                <c:pt idx="3548">
                  <c:v>3.548</c:v>
                </c:pt>
                <c:pt idx="3549">
                  <c:v>3.5489999999999999</c:v>
                </c:pt>
                <c:pt idx="3550">
                  <c:v>3.55</c:v>
                </c:pt>
                <c:pt idx="3551">
                  <c:v>3.5510000000000002</c:v>
                </c:pt>
                <c:pt idx="3552">
                  <c:v>3.552</c:v>
                </c:pt>
                <c:pt idx="3553">
                  <c:v>3.5529999999999999</c:v>
                </c:pt>
                <c:pt idx="3554">
                  <c:v>3.5539999999999998</c:v>
                </c:pt>
                <c:pt idx="3555">
                  <c:v>3.5550000000000002</c:v>
                </c:pt>
                <c:pt idx="3556">
                  <c:v>3.556</c:v>
                </c:pt>
                <c:pt idx="3557">
                  <c:v>3.5569999999999999</c:v>
                </c:pt>
                <c:pt idx="3558">
                  <c:v>3.5579999999999998</c:v>
                </c:pt>
                <c:pt idx="3559">
                  <c:v>3.5590000000000002</c:v>
                </c:pt>
                <c:pt idx="3560">
                  <c:v>3.56</c:v>
                </c:pt>
                <c:pt idx="3561">
                  <c:v>3.5609999999999999</c:v>
                </c:pt>
                <c:pt idx="3562">
                  <c:v>3.5619999999999998</c:v>
                </c:pt>
                <c:pt idx="3563">
                  <c:v>3.5630000000000002</c:v>
                </c:pt>
                <c:pt idx="3564">
                  <c:v>3.5640000000000001</c:v>
                </c:pt>
                <c:pt idx="3565">
                  <c:v>3.5649999999999999</c:v>
                </c:pt>
                <c:pt idx="3566">
                  <c:v>3.5659999999999998</c:v>
                </c:pt>
                <c:pt idx="3567">
                  <c:v>3.5670000000000002</c:v>
                </c:pt>
                <c:pt idx="3568">
                  <c:v>3.5680000000000001</c:v>
                </c:pt>
                <c:pt idx="3569">
                  <c:v>3.569</c:v>
                </c:pt>
                <c:pt idx="3570">
                  <c:v>3.57</c:v>
                </c:pt>
                <c:pt idx="3571">
                  <c:v>3.5710000000000002</c:v>
                </c:pt>
                <c:pt idx="3572">
                  <c:v>3.5720000000000001</c:v>
                </c:pt>
                <c:pt idx="3573">
                  <c:v>3.573</c:v>
                </c:pt>
                <c:pt idx="3574">
                  <c:v>3.5739999999999998</c:v>
                </c:pt>
                <c:pt idx="3575">
                  <c:v>3.5750000000000002</c:v>
                </c:pt>
                <c:pt idx="3576">
                  <c:v>3.5760000000000001</c:v>
                </c:pt>
                <c:pt idx="3577">
                  <c:v>3.577</c:v>
                </c:pt>
                <c:pt idx="3578">
                  <c:v>3.5779999999999998</c:v>
                </c:pt>
                <c:pt idx="3579">
                  <c:v>3.5790000000000002</c:v>
                </c:pt>
                <c:pt idx="3580">
                  <c:v>3.58</c:v>
                </c:pt>
                <c:pt idx="3581">
                  <c:v>3.581</c:v>
                </c:pt>
                <c:pt idx="3582">
                  <c:v>3.5819999999999999</c:v>
                </c:pt>
                <c:pt idx="3583">
                  <c:v>3.5830000000000002</c:v>
                </c:pt>
                <c:pt idx="3584">
                  <c:v>3.5840000000000001</c:v>
                </c:pt>
                <c:pt idx="3585">
                  <c:v>3.585</c:v>
                </c:pt>
                <c:pt idx="3586">
                  <c:v>3.5859999999999999</c:v>
                </c:pt>
                <c:pt idx="3587">
                  <c:v>3.5870000000000002</c:v>
                </c:pt>
                <c:pt idx="3588">
                  <c:v>3.5880000000000001</c:v>
                </c:pt>
                <c:pt idx="3589">
                  <c:v>3.589</c:v>
                </c:pt>
                <c:pt idx="3590">
                  <c:v>3.59</c:v>
                </c:pt>
                <c:pt idx="3591">
                  <c:v>3.5910000000000002</c:v>
                </c:pt>
                <c:pt idx="3592">
                  <c:v>3.5920000000000001</c:v>
                </c:pt>
                <c:pt idx="3593">
                  <c:v>3.593</c:v>
                </c:pt>
                <c:pt idx="3594">
                  <c:v>3.5939999999999999</c:v>
                </c:pt>
                <c:pt idx="3595">
                  <c:v>3.5950000000000002</c:v>
                </c:pt>
                <c:pt idx="3596">
                  <c:v>3.5960000000000001</c:v>
                </c:pt>
                <c:pt idx="3597">
                  <c:v>3.597</c:v>
                </c:pt>
                <c:pt idx="3598">
                  <c:v>3.5979999999999999</c:v>
                </c:pt>
                <c:pt idx="3599">
                  <c:v>3.5990000000000002</c:v>
                </c:pt>
                <c:pt idx="3600">
                  <c:v>3.6</c:v>
                </c:pt>
                <c:pt idx="3601">
                  <c:v>3.601</c:v>
                </c:pt>
                <c:pt idx="3602">
                  <c:v>3.6019999999999999</c:v>
                </c:pt>
                <c:pt idx="3603">
                  <c:v>3.6030000000000002</c:v>
                </c:pt>
                <c:pt idx="3604">
                  <c:v>3.6040000000000001</c:v>
                </c:pt>
                <c:pt idx="3605">
                  <c:v>3.605</c:v>
                </c:pt>
                <c:pt idx="3606">
                  <c:v>3.6059999999999999</c:v>
                </c:pt>
                <c:pt idx="3607">
                  <c:v>3.6070000000000002</c:v>
                </c:pt>
                <c:pt idx="3608">
                  <c:v>3.6080000000000001</c:v>
                </c:pt>
                <c:pt idx="3609">
                  <c:v>3.609</c:v>
                </c:pt>
                <c:pt idx="3610">
                  <c:v>3.61</c:v>
                </c:pt>
                <c:pt idx="3611">
                  <c:v>3.6110000000000002</c:v>
                </c:pt>
                <c:pt idx="3612">
                  <c:v>3.6120000000000001</c:v>
                </c:pt>
                <c:pt idx="3613">
                  <c:v>3.613</c:v>
                </c:pt>
                <c:pt idx="3614">
                  <c:v>3.6139999999999999</c:v>
                </c:pt>
                <c:pt idx="3615">
                  <c:v>3.6150000000000002</c:v>
                </c:pt>
                <c:pt idx="3616">
                  <c:v>3.6160000000000001</c:v>
                </c:pt>
                <c:pt idx="3617">
                  <c:v>3.617</c:v>
                </c:pt>
                <c:pt idx="3618">
                  <c:v>3.6179999999999999</c:v>
                </c:pt>
                <c:pt idx="3619">
                  <c:v>3.6190000000000002</c:v>
                </c:pt>
                <c:pt idx="3620">
                  <c:v>3.62</c:v>
                </c:pt>
                <c:pt idx="3621">
                  <c:v>3.621</c:v>
                </c:pt>
                <c:pt idx="3622">
                  <c:v>3.6219999999999999</c:v>
                </c:pt>
                <c:pt idx="3623">
                  <c:v>3.6230000000000002</c:v>
                </c:pt>
                <c:pt idx="3624">
                  <c:v>3.6240000000000001</c:v>
                </c:pt>
                <c:pt idx="3625">
                  <c:v>3.625</c:v>
                </c:pt>
                <c:pt idx="3626">
                  <c:v>3.6259999999999999</c:v>
                </c:pt>
                <c:pt idx="3627">
                  <c:v>3.6269999999999998</c:v>
                </c:pt>
                <c:pt idx="3628">
                  <c:v>3.6280000000000001</c:v>
                </c:pt>
                <c:pt idx="3629">
                  <c:v>3.629</c:v>
                </c:pt>
                <c:pt idx="3630">
                  <c:v>3.63</c:v>
                </c:pt>
                <c:pt idx="3631">
                  <c:v>3.6309999999999998</c:v>
                </c:pt>
                <c:pt idx="3632">
                  <c:v>3.6320000000000001</c:v>
                </c:pt>
                <c:pt idx="3633">
                  <c:v>3.633</c:v>
                </c:pt>
                <c:pt idx="3634">
                  <c:v>3.6339999999999999</c:v>
                </c:pt>
                <c:pt idx="3635">
                  <c:v>3.6349999999999998</c:v>
                </c:pt>
                <c:pt idx="3636">
                  <c:v>3.6360000000000001</c:v>
                </c:pt>
                <c:pt idx="3637">
                  <c:v>3.637</c:v>
                </c:pt>
                <c:pt idx="3638">
                  <c:v>3.6379999999999999</c:v>
                </c:pt>
                <c:pt idx="3639">
                  <c:v>3.6389999999999998</c:v>
                </c:pt>
                <c:pt idx="3640">
                  <c:v>3.64</c:v>
                </c:pt>
                <c:pt idx="3641">
                  <c:v>3.641</c:v>
                </c:pt>
                <c:pt idx="3642">
                  <c:v>3.6419999999999999</c:v>
                </c:pt>
                <c:pt idx="3643">
                  <c:v>3.6429999999999998</c:v>
                </c:pt>
                <c:pt idx="3644">
                  <c:v>3.6440000000000001</c:v>
                </c:pt>
                <c:pt idx="3645">
                  <c:v>3.645</c:v>
                </c:pt>
                <c:pt idx="3646">
                  <c:v>3.6459999999999999</c:v>
                </c:pt>
                <c:pt idx="3647">
                  <c:v>3.6469999999999998</c:v>
                </c:pt>
                <c:pt idx="3648">
                  <c:v>3.6480000000000001</c:v>
                </c:pt>
                <c:pt idx="3649">
                  <c:v>3.649</c:v>
                </c:pt>
                <c:pt idx="3650">
                  <c:v>3.65</c:v>
                </c:pt>
                <c:pt idx="3651">
                  <c:v>3.6509999999999998</c:v>
                </c:pt>
                <c:pt idx="3652">
                  <c:v>3.6520000000000001</c:v>
                </c:pt>
                <c:pt idx="3653">
                  <c:v>3.653</c:v>
                </c:pt>
                <c:pt idx="3654">
                  <c:v>3.6539999999999999</c:v>
                </c:pt>
                <c:pt idx="3655">
                  <c:v>3.6549999999999998</c:v>
                </c:pt>
                <c:pt idx="3656">
                  <c:v>3.6560000000000001</c:v>
                </c:pt>
                <c:pt idx="3657">
                  <c:v>3.657</c:v>
                </c:pt>
                <c:pt idx="3658">
                  <c:v>3.6579999999999999</c:v>
                </c:pt>
                <c:pt idx="3659">
                  <c:v>3.6589999999999998</c:v>
                </c:pt>
                <c:pt idx="3660">
                  <c:v>3.66</c:v>
                </c:pt>
                <c:pt idx="3661">
                  <c:v>3.661</c:v>
                </c:pt>
                <c:pt idx="3662">
                  <c:v>3.6619999999999999</c:v>
                </c:pt>
                <c:pt idx="3663">
                  <c:v>3.6629999999999998</c:v>
                </c:pt>
                <c:pt idx="3664">
                  <c:v>3.6640000000000001</c:v>
                </c:pt>
                <c:pt idx="3665">
                  <c:v>3.665</c:v>
                </c:pt>
                <c:pt idx="3666">
                  <c:v>3.6659999999999999</c:v>
                </c:pt>
                <c:pt idx="3667">
                  <c:v>3.6669999999999998</c:v>
                </c:pt>
                <c:pt idx="3668">
                  <c:v>3.6680000000000001</c:v>
                </c:pt>
                <c:pt idx="3669">
                  <c:v>3.669</c:v>
                </c:pt>
                <c:pt idx="3670">
                  <c:v>3.67</c:v>
                </c:pt>
                <c:pt idx="3671">
                  <c:v>3.6709999999999998</c:v>
                </c:pt>
                <c:pt idx="3672">
                  <c:v>3.6720000000000002</c:v>
                </c:pt>
                <c:pt idx="3673">
                  <c:v>3.673</c:v>
                </c:pt>
                <c:pt idx="3674">
                  <c:v>3.6739999999999999</c:v>
                </c:pt>
                <c:pt idx="3675">
                  <c:v>3.6749999999999998</c:v>
                </c:pt>
                <c:pt idx="3676">
                  <c:v>3.6760000000000002</c:v>
                </c:pt>
                <c:pt idx="3677">
                  <c:v>3.677</c:v>
                </c:pt>
                <c:pt idx="3678">
                  <c:v>3.6779999999999999</c:v>
                </c:pt>
                <c:pt idx="3679">
                  <c:v>3.6789999999999998</c:v>
                </c:pt>
                <c:pt idx="3680">
                  <c:v>3.68</c:v>
                </c:pt>
                <c:pt idx="3681">
                  <c:v>3.681</c:v>
                </c:pt>
                <c:pt idx="3682">
                  <c:v>3.6819999999999999</c:v>
                </c:pt>
                <c:pt idx="3683">
                  <c:v>3.6829999999999998</c:v>
                </c:pt>
                <c:pt idx="3684">
                  <c:v>3.6840000000000002</c:v>
                </c:pt>
                <c:pt idx="3685">
                  <c:v>3.6850000000000001</c:v>
                </c:pt>
                <c:pt idx="3686">
                  <c:v>3.6859999999999999</c:v>
                </c:pt>
                <c:pt idx="3687">
                  <c:v>3.6869999999999998</c:v>
                </c:pt>
                <c:pt idx="3688">
                  <c:v>3.6880000000000002</c:v>
                </c:pt>
                <c:pt idx="3689">
                  <c:v>3.6890000000000001</c:v>
                </c:pt>
                <c:pt idx="3690">
                  <c:v>3.69</c:v>
                </c:pt>
                <c:pt idx="3691">
                  <c:v>3.6909999999999998</c:v>
                </c:pt>
                <c:pt idx="3692">
                  <c:v>3.6920000000000002</c:v>
                </c:pt>
                <c:pt idx="3693">
                  <c:v>3.6930000000000001</c:v>
                </c:pt>
                <c:pt idx="3694">
                  <c:v>3.694</c:v>
                </c:pt>
                <c:pt idx="3695">
                  <c:v>3.6949999999999998</c:v>
                </c:pt>
                <c:pt idx="3696">
                  <c:v>3.6960000000000002</c:v>
                </c:pt>
                <c:pt idx="3697">
                  <c:v>3.6970000000000001</c:v>
                </c:pt>
                <c:pt idx="3698">
                  <c:v>3.698</c:v>
                </c:pt>
                <c:pt idx="3699">
                  <c:v>3.6989999999999998</c:v>
                </c:pt>
                <c:pt idx="3700">
                  <c:v>3.7</c:v>
                </c:pt>
                <c:pt idx="3701">
                  <c:v>3.7010000000000001</c:v>
                </c:pt>
                <c:pt idx="3702">
                  <c:v>3.702</c:v>
                </c:pt>
                <c:pt idx="3703">
                  <c:v>3.7029999999999998</c:v>
                </c:pt>
                <c:pt idx="3704">
                  <c:v>3.7040000000000002</c:v>
                </c:pt>
                <c:pt idx="3705">
                  <c:v>3.7050000000000001</c:v>
                </c:pt>
                <c:pt idx="3706">
                  <c:v>3.706</c:v>
                </c:pt>
                <c:pt idx="3707">
                  <c:v>3.7069999999999999</c:v>
                </c:pt>
                <c:pt idx="3708">
                  <c:v>3.7080000000000002</c:v>
                </c:pt>
                <c:pt idx="3709">
                  <c:v>3.7090000000000001</c:v>
                </c:pt>
                <c:pt idx="3710">
                  <c:v>3.71</c:v>
                </c:pt>
                <c:pt idx="3711">
                  <c:v>3.7109999999999999</c:v>
                </c:pt>
                <c:pt idx="3712">
                  <c:v>3.7120000000000002</c:v>
                </c:pt>
                <c:pt idx="3713">
                  <c:v>3.7130000000000001</c:v>
                </c:pt>
                <c:pt idx="3714">
                  <c:v>3.714</c:v>
                </c:pt>
                <c:pt idx="3715">
                  <c:v>3.7149999999999999</c:v>
                </c:pt>
                <c:pt idx="3716">
                  <c:v>3.7160000000000002</c:v>
                </c:pt>
                <c:pt idx="3717">
                  <c:v>3.7170000000000001</c:v>
                </c:pt>
                <c:pt idx="3718">
                  <c:v>3.718</c:v>
                </c:pt>
                <c:pt idx="3719">
                  <c:v>3.7189999999999999</c:v>
                </c:pt>
                <c:pt idx="3720">
                  <c:v>3.72</c:v>
                </c:pt>
                <c:pt idx="3721">
                  <c:v>3.7210000000000001</c:v>
                </c:pt>
                <c:pt idx="3722">
                  <c:v>3.722</c:v>
                </c:pt>
                <c:pt idx="3723">
                  <c:v>3.7229999999999999</c:v>
                </c:pt>
                <c:pt idx="3724">
                  <c:v>3.7240000000000002</c:v>
                </c:pt>
                <c:pt idx="3725">
                  <c:v>3.7250000000000001</c:v>
                </c:pt>
                <c:pt idx="3726">
                  <c:v>3.726</c:v>
                </c:pt>
                <c:pt idx="3727">
                  <c:v>3.7269999999999999</c:v>
                </c:pt>
                <c:pt idx="3728">
                  <c:v>3.7280000000000002</c:v>
                </c:pt>
                <c:pt idx="3729">
                  <c:v>3.7290000000000001</c:v>
                </c:pt>
                <c:pt idx="3730">
                  <c:v>3.73</c:v>
                </c:pt>
                <c:pt idx="3731">
                  <c:v>3.7309999999999999</c:v>
                </c:pt>
                <c:pt idx="3732">
                  <c:v>3.7320000000000002</c:v>
                </c:pt>
                <c:pt idx="3733">
                  <c:v>3.7330000000000001</c:v>
                </c:pt>
                <c:pt idx="3734">
                  <c:v>3.734</c:v>
                </c:pt>
                <c:pt idx="3735">
                  <c:v>3.7349999999999999</c:v>
                </c:pt>
                <c:pt idx="3736">
                  <c:v>3.7360000000000002</c:v>
                </c:pt>
                <c:pt idx="3737">
                  <c:v>3.7370000000000001</c:v>
                </c:pt>
                <c:pt idx="3738">
                  <c:v>3.738</c:v>
                </c:pt>
                <c:pt idx="3739">
                  <c:v>3.7389999999999999</c:v>
                </c:pt>
                <c:pt idx="3740">
                  <c:v>3.74</c:v>
                </c:pt>
                <c:pt idx="3741">
                  <c:v>3.7410000000000001</c:v>
                </c:pt>
                <c:pt idx="3742">
                  <c:v>3.742</c:v>
                </c:pt>
                <c:pt idx="3743">
                  <c:v>3.7429999999999999</c:v>
                </c:pt>
                <c:pt idx="3744">
                  <c:v>3.7440000000000002</c:v>
                </c:pt>
                <c:pt idx="3745">
                  <c:v>3.7450000000000001</c:v>
                </c:pt>
                <c:pt idx="3746">
                  <c:v>3.746</c:v>
                </c:pt>
                <c:pt idx="3747">
                  <c:v>3.7469999999999999</c:v>
                </c:pt>
                <c:pt idx="3748">
                  <c:v>3.7480000000000002</c:v>
                </c:pt>
                <c:pt idx="3749">
                  <c:v>3.7490000000000001</c:v>
                </c:pt>
                <c:pt idx="3750">
                  <c:v>3.75</c:v>
                </c:pt>
                <c:pt idx="3751">
                  <c:v>3.7509999999999999</c:v>
                </c:pt>
                <c:pt idx="3752">
                  <c:v>3.7519999999999998</c:v>
                </c:pt>
                <c:pt idx="3753">
                  <c:v>3.7530000000000001</c:v>
                </c:pt>
                <c:pt idx="3754">
                  <c:v>3.754</c:v>
                </c:pt>
                <c:pt idx="3755">
                  <c:v>3.7549999999999999</c:v>
                </c:pt>
                <c:pt idx="3756">
                  <c:v>3.7559999999999998</c:v>
                </c:pt>
                <c:pt idx="3757">
                  <c:v>3.7570000000000001</c:v>
                </c:pt>
                <c:pt idx="3758">
                  <c:v>3.758</c:v>
                </c:pt>
                <c:pt idx="3759">
                  <c:v>3.7589999999999999</c:v>
                </c:pt>
                <c:pt idx="3760">
                  <c:v>3.76</c:v>
                </c:pt>
                <c:pt idx="3761">
                  <c:v>3.7610000000000001</c:v>
                </c:pt>
                <c:pt idx="3762">
                  <c:v>3.762</c:v>
                </c:pt>
                <c:pt idx="3763">
                  <c:v>3.7629999999999999</c:v>
                </c:pt>
                <c:pt idx="3764">
                  <c:v>3.7639999999999998</c:v>
                </c:pt>
                <c:pt idx="3765">
                  <c:v>3.7650000000000001</c:v>
                </c:pt>
                <c:pt idx="3766">
                  <c:v>3.766</c:v>
                </c:pt>
                <c:pt idx="3767">
                  <c:v>3.7669999999999999</c:v>
                </c:pt>
                <c:pt idx="3768">
                  <c:v>3.7679999999999998</c:v>
                </c:pt>
                <c:pt idx="3769">
                  <c:v>3.7690000000000001</c:v>
                </c:pt>
                <c:pt idx="3770">
                  <c:v>3.77</c:v>
                </c:pt>
                <c:pt idx="3771">
                  <c:v>3.7709999999999999</c:v>
                </c:pt>
                <c:pt idx="3772">
                  <c:v>3.7719999999999998</c:v>
                </c:pt>
                <c:pt idx="3773">
                  <c:v>3.7730000000000001</c:v>
                </c:pt>
                <c:pt idx="3774">
                  <c:v>3.774</c:v>
                </c:pt>
                <c:pt idx="3775">
                  <c:v>3.7749999999999999</c:v>
                </c:pt>
                <c:pt idx="3776">
                  <c:v>3.7759999999999998</c:v>
                </c:pt>
                <c:pt idx="3777">
                  <c:v>3.7770000000000001</c:v>
                </c:pt>
                <c:pt idx="3778">
                  <c:v>3.778</c:v>
                </c:pt>
                <c:pt idx="3779">
                  <c:v>3.7789999999999999</c:v>
                </c:pt>
                <c:pt idx="3780">
                  <c:v>3.78</c:v>
                </c:pt>
                <c:pt idx="3781">
                  <c:v>3.7810000000000001</c:v>
                </c:pt>
                <c:pt idx="3782">
                  <c:v>3.782</c:v>
                </c:pt>
                <c:pt idx="3783">
                  <c:v>3.7829999999999999</c:v>
                </c:pt>
                <c:pt idx="3784">
                  <c:v>3.7839999999999998</c:v>
                </c:pt>
                <c:pt idx="3785">
                  <c:v>3.7850000000000001</c:v>
                </c:pt>
                <c:pt idx="3786">
                  <c:v>3.786</c:v>
                </c:pt>
                <c:pt idx="3787">
                  <c:v>3.7869999999999999</c:v>
                </c:pt>
                <c:pt idx="3788">
                  <c:v>3.7879999999999998</c:v>
                </c:pt>
                <c:pt idx="3789">
                  <c:v>3.7890000000000001</c:v>
                </c:pt>
                <c:pt idx="3790">
                  <c:v>3.79</c:v>
                </c:pt>
                <c:pt idx="3791">
                  <c:v>3.7909999999999999</c:v>
                </c:pt>
                <c:pt idx="3792">
                  <c:v>3.7919999999999998</c:v>
                </c:pt>
                <c:pt idx="3793">
                  <c:v>3.7930000000000001</c:v>
                </c:pt>
                <c:pt idx="3794">
                  <c:v>3.794</c:v>
                </c:pt>
                <c:pt idx="3795">
                  <c:v>3.7949999999999999</c:v>
                </c:pt>
                <c:pt idx="3796">
                  <c:v>3.7959999999999998</c:v>
                </c:pt>
                <c:pt idx="3797">
                  <c:v>3.7970000000000002</c:v>
                </c:pt>
                <c:pt idx="3798">
                  <c:v>3.798</c:v>
                </c:pt>
                <c:pt idx="3799">
                  <c:v>3.7989999999999999</c:v>
                </c:pt>
                <c:pt idx="3800">
                  <c:v>3.8</c:v>
                </c:pt>
                <c:pt idx="3801">
                  <c:v>3.8010000000000002</c:v>
                </c:pt>
                <c:pt idx="3802">
                  <c:v>3.802</c:v>
                </c:pt>
                <c:pt idx="3803">
                  <c:v>3.8029999999999999</c:v>
                </c:pt>
                <c:pt idx="3804">
                  <c:v>3.8039999999999998</c:v>
                </c:pt>
                <c:pt idx="3805">
                  <c:v>3.8050000000000002</c:v>
                </c:pt>
                <c:pt idx="3806">
                  <c:v>3.806</c:v>
                </c:pt>
                <c:pt idx="3807">
                  <c:v>3.8069999999999999</c:v>
                </c:pt>
                <c:pt idx="3808">
                  <c:v>3.8079999999999998</c:v>
                </c:pt>
                <c:pt idx="3809">
                  <c:v>3.8090000000000002</c:v>
                </c:pt>
                <c:pt idx="3810">
                  <c:v>3.81</c:v>
                </c:pt>
                <c:pt idx="3811">
                  <c:v>3.8109999999999999</c:v>
                </c:pt>
                <c:pt idx="3812">
                  <c:v>3.8119999999999998</c:v>
                </c:pt>
                <c:pt idx="3813">
                  <c:v>3.8130000000000002</c:v>
                </c:pt>
                <c:pt idx="3814">
                  <c:v>3.8140000000000001</c:v>
                </c:pt>
                <c:pt idx="3815">
                  <c:v>3.8149999999999999</c:v>
                </c:pt>
                <c:pt idx="3816">
                  <c:v>3.8159999999999998</c:v>
                </c:pt>
                <c:pt idx="3817">
                  <c:v>3.8170000000000002</c:v>
                </c:pt>
                <c:pt idx="3818">
                  <c:v>3.8180000000000001</c:v>
                </c:pt>
                <c:pt idx="3819">
                  <c:v>3.819</c:v>
                </c:pt>
                <c:pt idx="3820">
                  <c:v>3.82</c:v>
                </c:pt>
                <c:pt idx="3821">
                  <c:v>3.8210000000000002</c:v>
                </c:pt>
                <c:pt idx="3822">
                  <c:v>3.8220000000000001</c:v>
                </c:pt>
                <c:pt idx="3823">
                  <c:v>3.823</c:v>
                </c:pt>
                <c:pt idx="3824">
                  <c:v>3.8239999999999998</c:v>
                </c:pt>
                <c:pt idx="3825">
                  <c:v>3.8250000000000002</c:v>
                </c:pt>
                <c:pt idx="3826">
                  <c:v>3.8260000000000001</c:v>
                </c:pt>
                <c:pt idx="3827">
                  <c:v>3.827</c:v>
                </c:pt>
                <c:pt idx="3828">
                  <c:v>3.8279999999999998</c:v>
                </c:pt>
                <c:pt idx="3829">
                  <c:v>3.8290000000000002</c:v>
                </c:pt>
                <c:pt idx="3830">
                  <c:v>3.83</c:v>
                </c:pt>
                <c:pt idx="3831">
                  <c:v>3.831</c:v>
                </c:pt>
                <c:pt idx="3832">
                  <c:v>3.8319999999999999</c:v>
                </c:pt>
                <c:pt idx="3833">
                  <c:v>3.8330000000000002</c:v>
                </c:pt>
                <c:pt idx="3834">
                  <c:v>3.8340000000000001</c:v>
                </c:pt>
                <c:pt idx="3835">
                  <c:v>3.835</c:v>
                </c:pt>
                <c:pt idx="3836">
                  <c:v>3.8359999999999999</c:v>
                </c:pt>
                <c:pt idx="3837">
                  <c:v>3.8370000000000002</c:v>
                </c:pt>
                <c:pt idx="3838">
                  <c:v>3.8380000000000001</c:v>
                </c:pt>
                <c:pt idx="3839">
                  <c:v>3.839</c:v>
                </c:pt>
                <c:pt idx="3840">
                  <c:v>3.84</c:v>
                </c:pt>
                <c:pt idx="3841">
                  <c:v>3.8410000000000002</c:v>
                </c:pt>
                <c:pt idx="3842">
                  <c:v>3.8420000000000001</c:v>
                </c:pt>
                <c:pt idx="3843">
                  <c:v>3.843</c:v>
                </c:pt>
                <c:pt idx="3844">
                  <c:v>3.8439999999999999</c:v>
                </c:pt>
                <c:pt idx="3845">
                  <c:v>3.8450000000000002</c:v>
                </c:pt>
                <c:pt idx="3846">
                  <c:v>3.8460000000000001</c:v>
                </c:pt>
                <c:pt idx="3847">
                  <c:v>3.847</c:v>
                </c:pt>
                <c:pt idx="3848">
                  <c:v>3.8479999999999999</c:v>
                </c:pt>
                <c:pt idx="3849">
                  <c:v>3.8490000000000002</c:v>
                </c:pt>
                <c:pt idx="3850">
                  <c:v>3.85</c:v>
                </c:pt>
                <c:pt idx="3851">
                  <c:v>3.851</c:v>
                </c:pt>
                <c:pt idx="3852">
                  <c:v>3.8519999999999999</c:v>
                </c:pt>
                <c:pt idx="3853">
                  <c:v>3.8530000000000002</c:v>
                </c:pt>
                <c:pt idx="3854">
                  <c:v>3.8540000000000001</c:v>
                </c:pt>
                <c:pt idx="3855">
                  <c:v>3.855</c:v>
                </c:pt>
                <c:pt idx="3856">
                  <c:v>3.8559999999999999</c:v>
                </c:pt>
                <c:pt idx="3857">
                  <c:v>3.8570000000000002</c:v>
                </c:pt>
                <c:pt idx="3858">
                  <c:v>3.8580000000000001</c:v>
                </c:pt>
                <c:pt idx="3859">
                  <c:v>3.859</c:v>
                </c:pt>
                <c:pt idx="3860">
                  <c:v>3.86</c:v>
                </c:pt>
                <c:pt idx="3861">
                  <c:v>3.8610000000000002</c:v>
                </c:pt>
                <c:pt idx="3862">
                  <c:v>3.8620000000000001</c:v>
                </c:pt>
                <c:pt idx="3863">
                  <c:v>3.863</c:v>
                </c:pt>
                <c:pt idx="3864">
                  <c:v>3.8639999999999999</c:v>
                </c:pt>
                <c:pt idx="3865">
                  <c:v>3.8650000000000002</c:v>
                </c:pt>
                <c:pt idx="3866">
                  <c:v>3.8660000000000001</c:v>
                </c:pt>
                <c:pt idx="3867">
                  <c:v>3.867</c:v>
                </c:pt>
                <c:pt idx="3868">
                  <c:v>3.8679999999999999</c:v>
                </c:pt>
                <c:pt idx="3869">
                  <c:v>3.8690000000000002</c:v>
                </c:pt>
                <c:pt idx="3870">
                  <c:v>3.87</c:v>
                </c:pt>
                <c:pt idx="3871">
                  <c:v>3.871</c:v>
                </c:pt>
                <c:pt idx="3872">
                  <c:v>3.8719999999999999</c:v>
                </c:pt>
                <c:pt idx="3873">
                  <c:v>3.8730000000000002</c:v>
                </c:pt>
                <c:pt idx="3874">
                  <c:v>3.8740000000000001</c:v>
                </c:pt>
                <c:pt idx="3875">
                  <c:v>3.875</c:v>
                </c:pt>
                <c:pt idx="3876">
                  <c:v>3.8759999999999999</c:v>
                </c:pt>
                <c:pt idx="3877">
                  <c:v>3.8769999999999998</c:v>
                </c:pt>
                <c:pt idx="3878">
                  <c:v>3.8780000000000001</c:v>
                </c:pt>
                <c:pt idx="3879">
                  <c:v>3.879</c:v>
                </c:pt>
                <c:pt idx="3880">
                  <c:v>3.88</c:v>
                </c:pt>
                <c:pt idx="3881">
                  <c:v>3.8809999999999998</c:v>
                </c:pt>
                <c:pt idx="3882">
                  <c:v>3.8820000000000001</c:v>
                </c:pt>
                <c:pt idx="3883">
                  <c:v>3.883</c:v>
                </c:pt>
                <c:pt idx="3884">
                  <c:v>3.8839999999999999</c:v>
                </c:pt>
                <c:pt idx="3885">
                  <c:v>3.8849999999999998</c:v>
                </c:pt>
                <c:pt idx="3886">
                  <c:v>3.8860000000000001</c:v>
                </c:pt>
                <c:pt idx="3887">
                  <c:v>3.887</c:v>
                </c:pt>
                <c:pt idx="3888">
                  <c:v>3.8879999999999999</c:v>
                </c:pt>
                <c:pt idx="3889">
                  <c:v>3.8889999999999998</c:v>
                </c:pt>
                <c:pt idx="3890">
                  <c:v>3.89</c:v>
                </c:pt>
                <c:pt idx="3891">
                  <c:v>3.891</c:v>
                </c:pt>
                <c:pt idx="3892">
                  <c:v>3.8919999999999999</c:v>
                </c:pt>
                <c:pt idx="3893">
                  <c:v>3.8929999999999998</c:v>
                </c:pt>
                <c:pt idx="3894">
                  <c:v>3.8940000000000001</c:v>
                </c:pt>
                <c:pt idx="3895">
                  <c:v>3.895</c:v>
                </c:pt>
                <c:pt idx="3896">
                  <c:v>3.8959999999999999</c:v>
                </c:pt>
                <c:pt idx="3897">
                  <c:v>3.8969999999999998</c:v>
                </c:pt>
                <c:pt idx="3898">
                  <c:v>3.8980000000000001</c:v>
                </c:pt>
                <c:pt idx="3899">
                  <c:v>3.899</c:v>
                </c:pt>
                <c:pt idx="3900">
                  <c:v>3.9</c:v>
                </c:pt>
                <c:pt idx="3901">
                  <c:v>3.9009999999999998</c:v>
                </c:pt>
                <c:pt idx="3902">
                  <c:v>3.9020000000000001</c:v>
                </c:pt>
                <c:pt idx="3903">
                  <c:v>3.903</c:v>
                </c:pt>
                <c:pt idx="3904">
                  <c:v>3.9039999999999999</c:v>
                </c:pt>
                <c:pt idx="3905">
                  <c:v>3.9049999999999998</c:v>
                </c:pt>
                <c:pt idx="3906">
                  <c:v>3.9060000000000001</c:v>
                </c:pt>
                <c:pt idx="3907">
                  <c:v>3.907</c:v>
                </c:pt>
                <c:pt idx="3908">
                  <c:v>3.9079999999999999</c:v>
                </c:pt>
                <c:pt idx="3909">
                  <c:v>3.9089999999999998</c:v>
                </c:pt>
                <c:pt idx="3910">
                  <c:v>3.91</c:v>
                </c:pt>
                <c:pt idx="3911">
                  <c:v>3.911</c:v>
                </c:pt>
                <c:pt idx="3912">
                  <c:v>3.9119999999999999</c:v>
                </c:pt>
                <c:pt idx="3913">
                  <c:v>3.9129999999999998</c:v>
                </c:pt>
                <c:pt idx="3914">
                  <c:v>3.9140000000000001</c:v>
                </c:pt>
                <c:pt idx="3915">
                  <c:v>3.915</c:v>
                </c:pt>
                <c:pt idx="3916">
                  <c:v>3.9159999999999999</c:v>
                </c:pt>
                <c:pt idx="3917">
                  <c:v>3.9169999999999998</c:v>
                </c:pt>
                <c:pt idx="3918">
                  <c:v>3.9180000000000001</c:v>
                </c:pt>
                <c:pt idx="3919">
                  <c:v>3.919</c:v>
                </c:pt>
                <c:pt idx="3920">
                  <c:v>3.92</c:v>
                </c:pt>
                <c:pt idx="3921">
                  <c:v>3.9209999999999998</c:v>
                </c:pt>
                <c:pt idx="3922">
                  <c:v>3.9220000000000002</c:v>
                </c:pt>
                <c:pt idx="3923">
                  <c:v>3.923</c:v>
                </c:pt>
                <c:pt idx="3924">
                  <c:v>3.9239999999999999</c:v>
                </c:pt>
                <c:pt idx="3925">
                  <c:v>3.9249999999999998</c:v>
                </c:pt>
                <c:pt idx="3926">
                  <c:v>3.9260000000000002</c:v>
                </c:pt>
                <c:pt idx="3927">
                  <c:v>3.927</c:v>
                </c:pt>
                <c:pt idx="3928">
                  <c:v>3.9279999999999999</c:v>
                </c:pt>
                <c:pt idx="3929">
                  <c:v>3.9289999999999998</c:v>
                </c:pt>
                <c:pt idx="3930">
                  <c:v>3.93</c:v>
                </c:pt>
                <c:pt idx="3931">
                  <c:v>3.931</c:v>
                </c:pt>
                <c:pt idx="3932">
                  <c:v>3.9319999999999999</c:v>
                </c:pt>
                <c:pt idx="3933">
                  <c:v>3.9329999999999998</c:v>
                </c:pt>
                <c:pt idx="3934">
                  <c:v>3.9340000000000002</c:v>
                </c:pt>
                <c:pt idx="3935">
                  <c:v>3.9350000000000001</c:v>
                </c:pt>
                <c:pt idx="3936">
                  <c:v>3.9359999999999999</c:v>
                </c:pt>
                <c:pt idx="3937">
                  <c:v>3.9369999999999998</c:v>
                </c:pt>
                <c:pt idx="3938">
                  <c:v>3.9380000000000002</c:v>
                </c:pt>
                <c:pt idx="3939">
                  <c:v>3.9390000000000001</c:v>
                </c:pt>
                <c:pt idx="3940">
                  <c:v>3.94</c:v>
                </c:pt>
                <c:pt idx="3941">
                  <c:v>3.9409999999999998</c:v>
                </c:pt>
                <c:pt idx="3942">
                  <c:v>3.9420000000000002</c:v>
                </c:pt>
                <c:pt idx="3943">
                  <c:v>3.9430000000000001</c:v>
                </c:pt>
                <c:pt idx="3944">
                  <c:v>3.944</c:v>
                </c:pt>
                <c:pt idx="3945">
                  <c:v>3.9449999999999998</c:v>
                </c:pt>
                <c:pt idx="3946">
                  <c:v>3.9460000000000002</c:v>
                </c:pt>
                <c:pt idx="3947">
                  <c:v>3.9470000000000001</c:v>
                </c:pt>
                <c:pt idx="3948">
                  <c:v>3.948</c:v>
                </c:pt>
                <c:pt idx="3949">
                  <c:v>3.9489999999999998</c:v>
                </c:pt>
                <c:pt idx="3950">
                  <c:v>3.95</c:v>
                </c:pt>
                <c:pt idx="3951">
                  <c:v>3.9510000000000001</c:v>
                </c:pt>
                <c:pt idx="3952">
                  <c:v>3.952</c:v>
                </c:pt>
                <c:pt idx="3953">
                  <c:v>3.9529999999999998</c:v>
                </c:pt>
                <c:pt idx="3954">
                  <c:v>3.9540000000000002</c:v>
                </c:pt>
                <c:pt idx="3955">
                  <c:v>3.9550000000000001</c:v>
                </c:pt>
                <c:pt idx="3956">
                  <c:v>3.956</c:v>
                </c:pt>
                <c:pt idx="3957">
                  <c:v>3.9569999999999999</c:v>
                </c:pt>
                <c:pt idx="3958">
                  <c:v>3.9580000000000002</c:v>
                </c:pt>
                <c:pt idx="3959">
                  <c:v>3.9590000000000001</c:v>
                </c:pt>
                <c:pt idx="3960">
                  <c:v>3.96</c:v>
                </c:pt>
                <c:pt idx="3961">
                  <c:v>3.9609999999999999</c:v>
                </c:pt>
                <c:pt idx="3962">
                  <c:v>3.9620000000000002</c:v>
                </c:pt>
                <c:pt idx="3963">
                  <c:v>3.9630000000000001</c:v>
                </c:pt>
                <c:pt idx="3964">
                  <c:v>3.964</c:v>
                </c:pt>
                <c:pt idx="3965">
                  <c:v>3.9649999999999999</c:v>
                </c:pt>
                <c:pt idx="3966">
                  <c:v>3.9660000000000002</c:v>
                </c:pt>
                <c:pt idx="3967">
                  <c:v>3.9670000000000001</c:v>
                </c:pt>
                <c:pt idx="3968">
                  <c:v>3.968</c:v>
                </c:pt>
                <c:pt idx="3969">
                  <c:v>3.9689999999999999</c:v>
                </c:pt>
                <c:pt idx="3970">
                  <c:v>3.97</c:v>
                </c:pt>
                <c:pt idx="3971">
                  <c:v>3.9710000000000001</c:v>
                </c:pt>
                <c:pt idx="3972">
                  <c:v>3.972</c:v>
                </c:pt>
                <c:pt idx="3973">
                  <c:v>3.9729999999999999</c:v>
                </c:pt>
                <c:pt idx="3974">
                  <c:v>3.9740000000000002</c:v>
                </c:pt>
                <c:pt idx="3975">
                  <c:v>3.9750000000000001</c:v>
                </c:pt>
                <c:pt idx="3976">
                  <c:v>3.976</c:v>
                </c:pt>
                <c:pt idx="3977">
                  <c:v>3.9769999999999999</c:v>
                </c:pt>
                <c:pt idx="3978">
                  <c:v>3.9780000000000002</c:v>
                </c:pt>
                <c:pt idx="3979">
                  <c:v>3.9790000000000001</c:v>
                </c:pt>
                <c:pt idx="3980">
                  <c:v>3.98</c:v>
                </c:pt>
                <c:pt idx="3981">
                  <c:v>3.9809999999999999</c:v>
                </c:pt>
                <c:pt idx="3982">
                  <c:v>3.9820000000000002</c:v>
                </c:pt>
                <c:pt idx="3983">
                  <c:v>3.9830000000000001</c:v>
                </c:pt>
                <c:pt idx="3984">
                  <c:v>3.984</c:v>
                </c:pt>
                <c:pt idx="3985">
                  <c:v>3.9849999999999999</c:v>
                </c:pt>
                <c:pt idx="3986">
                  <c:v>3.9860000000000002</c:v>
                </c:pt>
                <c:pt idx="3987">
                  <c:v>3.9870000000000001</c:v>
                </c:pt>
                <c:pt idx="3988">
                  <c:v>3.988</c:v>
                </c:pt>
                <c:pt idx="3989">
                  <c:v>3.9889999999999999</c:v>
                </c:pt>
                <c:pt idx="3990">
                  <c:v>3.99</c:v>
                </c:pt>
                <c:pt idx="3991">
                  <c:v>3.9910000000000001</c:v>
                </c:pt>
                <c:pt idx="3992">
                  <c:v>3.992</c:v>
                </c:pt>
                <c:pt idx="3993">
                  <c:v>3.9929999999999999</c:v>
                </c:pt>
                <c:pt idx="3994">
                  <c:v>3.9940000000000002</c:v>
                </c:pt>
                <c:pt idx="3995">
                  <c:v>3.9950000000000001</c:v>
                </c:pt>
                <c:pt idx="3996">
                  <c:v>3.996</c:v>
                </c:pt>
                <c:pt idx="3997">
                  <c:v>3.9969999999999999</c:v>
                </c:pt>
                <c:pt idx="3998">
                  <c:v>3.9980000000000002</c:v>
                </c:pt>
                <c:pt idx="3999">
                  <c:v>3.9990000000000001</c:v>
                </c:pt>
                <c:pt idx="4000">
                  <c:v>4</c:v>
                </c:pt>
                <c:pt idx="4001">
                  <c:v>4.0010000000000003</c:v>
                </c:pt>
                <c:pt idx="4002">
                  <c:v>4.0019999999999998</c:v>
                </c:pt>
                <c:pt idx="4003">
                  <c:v>4.0030000000000001</c:v>
                </c:pt>
                <c:pt idx="4004">
                  <c:v>4.0039999999999996</c:v>
                </c:pt>
                <c:pt idx="4005">
                  <c:v>4.0049999999999999</c:v>
                </c:pt>
                <c:pt idx="4006">
                  <c:v>4.0060000000000002</c:v>
                </c:pt>
                <c:pt idx="4007">
                  <c:v>4.0069999999999997</c:v>
                </c:pt>
                <c:pt idx="4008">
                  <c:v>4.008</c:v>
                </c:pt>
                <c:pt idx="4009">
                  <c:v>4.0090000000000003</c:v>
                </c:pt>
                <c:pt idx="4010">
                  <c:v>4.01</c:v>
                </c:pt>
                <c:pt idx="4011">
                  <c:v>4.0110000000000001</c:v>
                </c:pt>
                <c:pt idx="4012">
                  <c:v>4.0119999999999996</c:v>
                </c:pt>
                <c:pt idx="4013">
                  <c:v>4.0129999999999999</c:v>
                </c:pt>
                <c:pt idx="4014">
                  <c:v>4.0140000000000002</c:v>
                </c:pt>
                <c:pt idx="4015">
                  <c:v>4.0149999999999997</c:v>
                </c:pt>
                <c:pt idx="4016">
                  <c:v>4.016</c:v>
                </c:pt>
                <c:pt idx="4017">
                  <c:v>4.0170000000000003</c:v>
                </c:pt>
                <c:pt idx="4018">
                  <c:v>4.0179999999999998</c:v>
                </c:pt>
                <c:pt idx="4019">
                  <c:v>4.0190000000000001</c:v>
                </c:pt>
                <c:pt idx="4020">
                  <c:v>4.0199999999999996</c:v>
                </c:pt>
                <c:pt idx="4021">
                  <c:v>4.0209999999999999</c:v>
                </c:pt>
                <c:pt idx="4022">
                  <c:v>4.0220000000000002</c:v>
                </c:pt>
                <c:pt idx="4023">
                  <c:v>4.0229999999999997</c:v>
                </c:pt>
                <c:pt idx="4024">
                  <c:v>4.024</c:v>
                </c:pt>
                <c:pt idx="4025">
                  <c:v>4.0250000000000004</c:v>
                </c:pt>
                <c:pt idx="4026">
                  <c:v>4.0259999999999998</c:v>
                </c:pt>
                <c:pt idx="4027">
                  <c:v>4.0270000000000001</c:v>
                </c:pt>
                <c:pt idx="4028">
                  <c:v>4.0279999999999996</c:v>
                </c:pt>
                <c:pt idx="4029">
                  <c:v>4.0289999999999999</c:v>
                </c:pt>
                <c:pt idx="4030">
                  <c:v>4.03</c:v>
                </c:pt>
                <c:pt idx="4031">
                  <c:v>4.0309999999999997</c:v>
                </c:pt>
                <c:pt idx="4032">
                  <c:v>4.032</c:v>
                </c:pt>
                <c:pt idx="4033">
                  <c:v>4.0330000000000004</c:v>
                </c:pt>
                <c:pt idx="4034">
                  <c:v>4.0339999999999998</c:v>
                </c:pt>
                <c:pt idx="4035">
                  <c:v>4.0350000000000001</c:v>
                </c:pt>
                <c:pt idx="4036">
                  <c:v>4.0359999999999996</c:v>
                </c:pt>
                <c:pt idx="4037">
                  <c:v>4.0369999999999999</c:v>
                </c:pt>
                <c:pt idx="4038">
                  <c:v>4.0380000000000003</c:v>
                </c:pt>
                <c:pt idx="4039">
                  <c:v>4.0389999999999997</c:v>
                </c:pt>
                <c:pt idx="4040">
                  <c:v>4.04</c:v>
                </c:pt>
                <c:pt idx="4041">
                  <c:v>4.0410000000000004</c:v>
                </c:pt>
                <c:pt idx="4042">
                  <c:v>4.0419999999999998</c:v>
                </c:pt>
                <c:pt idx="4043">
                  <c:v>4.0430000000000001</c:v>
                </c:pt>
                <c:pt idx="4044">
                  <c:v>4.0439999999999996</c:v>
                </c:pt>
                <c:pt idx="4045">
                  <c:v>4.0449999999999999</c:v>
                </c:pt>
                <c:pt idx="4046">
                  <c:v>4.0460000000000003</c:v>
                </c:pt>
                <c:pt idx="4047">
                  <c:v>4.0469999999999997</c:v>
                </c:pt>
                <c:pt idx="4048">
                  <c:v>4.048</c:v>
                </c:pt>
                <c:pt idx="4049">
                  <c:v>4.0490000000000004</c:v>
                </c:pt>
                <c:pt idx="4050">
                  <c:v>4.05</c:v>
                </c:pt>
                <c:pt idx="4051">
                  <c:v>4.0510000000000002</c:v>
                </c:pt>
                <c:pt idx="4052">
                  <c:v>4.0519999999999996</c:v>
                </c:pt>
                <c:pt idx="4053">
                  <c:v>4.0529999999999999</c:v>
                </c:pt>
                <c:pt idx="4054">
                  <c:v>4.0540000000000003</c:v>
                </c:pt>
                <c:pt idx="4055">
                  <c:v>4.0549999999999997</c:v>
                </c:pt>
                <c:pt idx="4056">
                  <c:v>4.056</c:v>
                </c:pt>
                <c:pt idx="4057">
                  <c:v>4.0570000000000004</c:v>
                </c:pt>
                <c:pt idx="4058">
                  <c:v>4.0579999999999998</c:v>
                </c:pt>
                <c:pt idx="4059">
                  <c:v>4.0590000000000002</c:v>
                </c:pt>
                <c:pt idx="4060">
                  <c:v>4.0599999999999996</c:v>
                </c:pt>
                <c:pt idx="4061">
                  <c:v>4.0609999999999999</c:v>
                </c:pt>
                <c:pt idx="4062">
                  <c:v>4.0620000000000003</c:v>
                </c:pt>
                <c:pt idx="4063">
                  <c:v>4.0629999999999997</c:v>
                </c:pt>
                <c:pt idx="4064">
                  <c:v>4.0640000000000001</c:v>
                </c:pt>
                <c:pt idx="4065">
                  <c:v>4.0650000000000004</c:v>
                </c:pt>
                <c:pt idx="4066">
                  <c:v>4.0659999999999998</c:v>
                </c:pt>
                <c:pt idx="4067">
                  <c:v>4.0670000000000002</c:v>
                </c:pt>
                <c:pt idx="4068">
                  <c:v>4.0679999999999996</c:v>
                </c:pt>
                <c:pt idx="4069">
                  <c:v>4.069</c:v>
                </c:pt>
                <c:pt idx="4070">
                  <c:v>4.07</c:v>
                </c:pt>
                <c:pt idx="4071">
                  <c:v>4.0709999999999997</c:v>
                </c:pt>
                <c:pt idx="4072">
                  <c:v>4.0720000000000001</c:v>
                </c:pt>
                <c:pt idx="4073">
                  <c:v>4.0730000000000004</c:v>
                </c:pt>
                <c:pt idx="4074">
                  <c:v>4.0739999999999998</c:v>
                </c:pt>
                <c:pt idx="4075">
                  <c:v>4.0750000000000002</c:v>
                </c:pt>
                <c:pt idx="4076">
                  <c:v>4.0759999999999996</c:v>
                </c:pt>
                <c:pt idx="4077">
                  <c:v>4.077</c:v>
                </c:pt>
                <c:pt idx="4078">
                  <c:v>4.0780000000000003</c:v>
                </c:pt>
                <c:pt idx="4079">
                  <c:v>4.0789999999999997</c:v>
                </c:pt>
                <c:pt idx="4080">
                  <c:v>4.08</c:v>
                </c:pt>
                <c:pt idx="4081">
                  <c:v>4.0810000000000004</c:v>
                </c:pt>
                <c:pt idx="4082">
                  <c:v>4.0819999999999999</c:v>
                </c:pt>
                <c:pt idx="4083">
                  <c:v>4.0830000000000002</c:v>
                </c:pt>
                <c:pt idx="4084">
                  <c:v>4.0839999999999996</c:v>
                </c:pt>
                <c:pt idx="4085">
                  <c:v>4.085</c:v>
                </c:pt>
                <c:pt idx="4086">
                  <c:v>4.0860000000000003</c:v>
                </c:pt>
                <c:pt idx="4087">
                  <c:v>4.0869999999999997</c:v>
                </c:pt>
                <c:pt idx="4088">
                  <c:v>4.0880000000000001</c:v>
                </c:pt>
                <c:pt idx="4089">
                  <c:v>4.0890000000000004</c:v>
                </c:pt>
                <c:pt idx="4090">
                  <c:v>4.09</c:v>
                </c:pt>
                <c:pt idx="4091">
                  <c:v>4.0910000000000002</c:v>
                </c:pt>
                <c:pt idx="4092">
                  <c:v>4.0919999999999996</c:v>
                </c:pt>
                <c:pt idx="4093">
                  <c:v>4.093</c:v>
                </c:pt>
                <c:pt idx="4094">
                  <c:v>4.0940000000000003</c:v>
                </c:pt>
                <c:pt idx="4095">
                  <c:v>4.0949999999999998</c:v>
                </c:pt>
                <c:pt idx="4096">
                  <c:v>4.0960000000000001</c:v>
                </c:pt>
                <c:pt idx="4097">
                  <c:v>4.0970000000000004</c:v>
                </c:pt>
                <c:pt idx="4098">
                  <c:v>4.0979999999999999</c:v>
                </c:pt>
                <c:pt idx="4099">
                  <c:v>4.0990000000000002</c:v>
                </c:pt>
                <c:pt idx="4100">
                  <c:v>4.0999999999999996</c:v>
                </c:pt>
                <c:pt idx="4101">
                  <c:v>4.101</c:v>
                </c:pt>
                <c:pt idx="4102">
                  <c:v>4.1020000000000003</c:v>
                </c:pt>
                <c:pt idx="4103">
                  <c:v>4.1029999999999998</c:v>
                </c:pt>
                <c:pt idx="4104">
                  <c:v>4.1040000000000001</c:v>
                </c:pt>
                <c:pt idx="4105">
                  <c:v>4.1050000000000004</c:v>
                </c:pt>
                <c:pt idx="4106">
                  <c:v>4.1059999999999999</c:v>
                </c:pt>
                <c:pt idx="4107">
                  <c:v>4.1070000000000002</c:v>
                </c:pt>
                <c:pt idx="4108">
                  <c:v>4.1079999999999997</c:v>
                </c:pt>
                <c:pt idx="4109">
                  <c:v>4.109</c:v>
                </c:pt>
                <c:pt idx="4110">
                  <c:v>4.1100000000000003</c:v>
                </c:pt>
                <c:pt idx="4111">
                  <c:v>4.1109999999999998</c:v>
                </c:pt>
                <c:pt idx="4112">
                  <c:v>4.1120000000000001</c:v>
                </c:pt>
                <c:pt idx="4113">
                  <c:v>4.1130000000000004</c:v>
                </c:pt>
                <c:pt idx="4114">
                  <c:v>4.1139999999999999</c:v>
                </c:pt>
                <c:pt idx="4115">
                  <c:v>4.1150000000000002</c:v>
                </c:pt>
                <c:pt idx="4116">
                  <c:v>4.1159999999999997</c:v>
                </c:pt>
                <c:pt idx="4117">
                  <c:v>4.117</c:v>
                </c:pt>
                <c:pt idx="4118">
                  <c:v>4.1180000000000003</c:v>
                </c:pt>
                <c:pt idx="4119">
                  <c:v>4.1189999999999998</c:v>
                </c:pt>
                <c:pt idx="4120">
                  <c:v>4.12</c:v>
                </c:pt>
                <c:pt idx="4121">
                  <c:v>4.1210000000000004</c:v>
                </c:pt>
                <c:pt idx="4122">
                  <c:v>4.1219999999999999</c:v>
                </c:pt>
                <c:pt idx="4123">
                  <c:v>4.1230000000000002</c:v>
                </c:pt>
                <c:pt idx="4124">
                  <c:v>4.1239999999999997</c:v>
                </c:pt>
                <c:pt idx="4125">
                  <c:v>4.125</c:v>
                </c:pt>
                <c:pt idx="4126">
                  <c:v>4.1260000000000003</c:v>
                </c:pt>
                <c:pt idx="4127">
                  <c:v>4.1269999999999998</c:v>
                </c:pt>
                <c:pt idx="4128">
                  <c:v>4.1280000000000001</c:v>
                </c:pt>
                <c:pt idx="4129">
                  <c:v>4.1289999999999996</c:v>
                </c:pt>
                <c:pt idx="4130">
                  <c:v>4.13</c:v>
                </c:pt>
                <c:pt idx="4131">
                  <c:v>4.1310000000000002</c:v>
                </c:pt>
                <c:pt idx="4132">
                  <c:v>4.1319999999999997</c:v>
                </c:pt>
                <c:pt idx="4133">
                  <c:v>4.133</c:v>
                </c:pt>
                <c:pt idx="4134">
                  <c:v>4.1340000000000003</c:v>
                </c:pt>
                <c:pt idx="4135">
                  <c:v>4.1349999999999998</c:v>
                </c:pt>
                <c:pt idx="4136">
                  <c:v>4.1360000000000001</c:v>
                </c:pt>
                <c:pt idx="4137">
                  <c:v>4.1369999999999996</c:v>
                </c:pt>
                <c:pt idx="4138">
                  <c:v>4.1379999999999999</c:v>
                </c:pt>
                <c:pt idx="4139">
                  <c:v>4.1390000000000002</c:v>
                </c:pt>
                <c:pt idx="4140">
                  <c:v>4.1399999999999997</c:v>
                </c:pt>
                <c:pt idx="4141">
                  <c:v>4.141</c:v>
                </c:pt>
                <c:pt idx="4142">
                  <c:v>4.1420000000000003</c:v>
                </c:pt>
                <c:pt idx="4143">
                  <c:v>4.1429999999999998</c:v>
                </c:pt>
                <c:pt idx="4144">
                  <c:v>4.1440000000000001</c:v>
                </c:pt>
                <c:pt idx="4145">
                  <c:v>4.1449999999999996</c:v>
                </c:pt>
                <c:pt idx="4146">
                  <c:v>4.1459999999999999</c:v>
                </c:pt>
                <c:pt idx="4147">
                  <c:v>4.1470000000000002</c:v>
                </c:pt>
                <c:pt idx="4148">
                  <c:v>4.1479999999999997</c:v>
                </c:pt>
                <c:pt idx="4149">
                  <c:v>4.149</c:v>
                </c:pt>
                <c:pt idx="4150">
                  <c:v>4.1500000000000004</c:v>
                </c:pt>
                <c:pt idx="4151">
                  <c:v>4.1509999999999998</c:v>
                </c:pt>
                <c:pt idx="4152">
                  <c:v>4.1520000000000001</c:v>
                </c:pt>
                <c:pt idx="4153">
                  <c:v>4.1529999999999996</c:v>
                </c:pt>
                <c:pt idx="4154">
                  <c:v>4.1539999999999999</c:v>
                </c:pt>
                <c:pt idx="4155">
                  <c:v>4.1550000000000002</c:v>
                </c:pt>
                <c:pt idx="4156">
                  <c:v>4.1559999999999997</c:v>
                </c:pt>
                <c:pt idx="4157">
                  <c:v>4.157</c:v>
                </c:pt>
                <c:pt idx="4158">
                  <c:v>4.1580000000000004</c:v>
                </c:pt>
                <c:pt idx="4159">
                  <c:v>4.1589999999999998</c:v>
                </c:pt>
                <c:pt idx="4160">
                  <c:v>4.16</c:v>
                </c:pt>
                <c:pt idx="4161">
                  <c:v>4.1609999999999996</c:v>
                </c:pt>
                <c:pt idx="4162">
                  <c:v>4.1619999999999999</c:v>
                </c:pt>
                <c:pt idx="4163">
                  <c:v>4.1630000000000003</c:v>
                </c:pt>
                <c:pt idx="4164">
                  <c:v>4.1639999999999997</c:v>
                </c:pt>
                <c:pt idx="4165">
                  <c:v>4.165</c:v>
                </c:pt>
                <c:pt idx="4166">
                  <c:v>4.1660000000000004</c:v>
                </c:pt>
                <c:pt idx="4167">
                  <c:v>4.1669999999999998</c:v>
                </c:pt>
                <c:pt idx="4168">
                  <c:v>4.1680000000000001</c:v>
                </c:pt>
                <c:pt idx="4169">
                  <c:v>4.1689999999999996</c:v>
                </c:pt>
                <c:pt idx="4170">
                  <c:v>4.17</c:v>
                </c:pt>
                <c:pt idx="4171">
                  <c:v>4.1710000000000003</c:v>
                </c:pt>
                <c:pt idx="4172">
                  <c:v>4.1719999999999997</c:v>
                </c:pt>
                <c:pt idx="4173">
                  <c:v>4.173</c:v>
                </c:pt>
                <c:pt idx="4174">
                  <c:v>4.1740000000000004</c:v>
                </c:pt>
                <c:pt idx="4175">
                  <c:v>4.1749999999999998</c:v>
                </c:pt>
                <c:pt idx="4176">
                  <c:v>4.1760000000000002</c:v>
                </c:pt>
                <c:pt idx="4177">
                  <c:v>4.1769999999999996</c:v>
                </c:pt>
                <c:pt idx="4178">
                  <c:v>4.1779999999999999</c:v>
                </c:pt>
                <c:pt idx="4179">
                  <c:v>4.1790000000000003</c:v>
                </c:pt>
                <c:pt idx="4180">
                  <c:v>4.18</c:v>
                </c:pt>
                <c:pt idx="4181">
                  <c:v>4.181</c:v>
                </c:pt>
                <c:pt idx="4182">
                  <c:v>4.1820000000000004</c:v>
                </c:pt>
                <c:pt idx="4183">
                  <c:v>4.1829999999999998</c:v>
                </c:pt>
                <c:pt idx="4184">
                  <c:v>4.1840000000000002</c:v>
                </c:pt>
                <c:pt idx="4185">
                  <c:v>4.1849999999999996</c:v>
                </c:pt>
                <c:pt idx="4186">
                  <c:v>4.1859999999999999</c:v>
                </c:pt>
                <c:pt idx="4187">
                  <c:v>4.1870000000000003</c:v>
                </c:pt>
                <c:pt idx="4188">
                  <c:v>4.1879999999999997</c:v>
                </c:pt>
                <c:pt idx="4189">
                  <c:v>4.1890000000000001</c:v>
                </c:pt>
                <c:pt idx="4190">
                  <c:v>4.1900000000000004</c:v>
                </c:pt>
                <c:pt idx="4191">
                  <c:v>4.1909999999999998</c:v>
                </c:pt>
                <c:pt idx="4192">
                  <c:v>4.1920000000000002</c:v>
                </c:pt>
                <c:pt idx="4193">
                  <c:v>4.1929999999999996</c:v>
                </c:pt>
                <c:pt idx="4194">
                  <c:v>4.194</c:v>
                </c:pt>
                <c:pt idx="4195">
                  <c:v>4.1950000000000003</c:v>
                </c:pt>
                <c:pt idx="4196">
                  <c:v>4.1959999999999997</c:v>
                </c:pt>
                <c:pt idx="4197">
                  <c:v>4.1970000000000001</c:v>
                </c:pt>
                <c:pt idx="4198">
                  <c:v>4.1980000000000004</c:v>
                </c:pt>
                <c:pt idx="4199">
                  <c:v>4.1989999999999998</c:v>
                </c:pt>
                <c:pt idx="4200">
                  <c:v>4.2</c:v>
                </c:pt>
                <c:pt idx="4201">
                  <c:v>4.2009999999999996</c:v>
                </c:pt>
                <c:pt idx="4202">
                  <c:v>4.202</c:v>
                </c:pt>
                <c:pt idx="4203">
                  <c:v>4.2030000000000003</c:v>
                </c:pt>
                <c:pt idx="4204">
                  <c:v>4.2039999999999997</c:v>
                </c:pt>
                <c:pt idx="4205">
                  <c:v>4.2050000000000001</c:v>
                </c:pt>
                <c:pt idx="4206">
                  <c:v>4.2060000000000004</c:v>
                </c:pt>
                <c:pt idx="4207">
                  <c:v>4.2069999999999999</c:v>
                </c:pt>
                <c:pt idx="4208">
                  <c:v>4.2080000000000002</c:v>
                </c:pt>
                <c:pt idx="4209">
                  <c:v>4.2089999999999996</c:v>
                </c:pt>
                <c:pt idx="4210">
                  <c:v>4.21</c:v>
                </c:pt>
                <c:pt idx="4211">
                  <c:v>4.2110000000000003</c:v>
                </c:pt>
                <c:pt idx="4212">
                  <c:v>4.2119999999999997</c:v>
                </c:pt>
                <c:pt idx="4213">
                  <c:v>4.2130000000000001</c:v>
                </c:pt>
                <c:pt idx="4214">
                  <c:v>4.2140000000000004</c:v>
                </c:pt>
                <c:pt idx="4215">
                  <c:v>4.2149999999999999</c:v>
                </c:pt>
                <c:pt idx="4216">
                  <c:v>4.2160000000000002</c:v>
                </c:pt>
                <c:pt idx="4217">
                  <c:v>4.2169999999999996</c:v>
                </c:pt>
                <c:pt idx="4218">
                  <c:v>4.218</c:v>
                </c:pt>
                <c:pt idx="4219">
                  <c:v>4.2190000000000003</c:v>
                </c:pt>
                <c:pt idx="4220">
                  <c:v>4.22</c:v>
                </c:pt>
                <c:pt idx="4221">
                  <c:v>4.2210000000000001</c:v>
                </c:pt>
                <c:pt idx="4222">
                  <c:v>4.2220000000000004</c:v>
                </c:pt>
                <c:pt idx="4223">
                  <c:v>4.2229999999999999</c:v>
                </c:pt>
                <c:pt idx="4224">
                  <c:v>4.2240000000000002</c:v>
                </c:pt>
                <c:pt idx="4225">
                  <c:v>4.2249999999999996</c:v>
                </c:pt>
                <c:pt idx="4226">
                  <c:v>4.226</c:v>
                </c:pt>
                <c:pt idx="4227">
                  <c:v>4.2270000000000003</c:v>
                </c:pt>
                <c:pt idx="4228">
                  <c:v>4.2279999999999998</c:v>
                </c:pt>
                <c:pt idx="4229">
                  <c:v>4.2290000000000001</c:v>
                </c:pt>
                <c:pt idx="4230">
                  <c:v>4.2300000000000004</c:v>
                </c:pt>
                <c:pt idx="4231">
                  <c:v>4.2309999999999999</c:v>
                </c:pt>
                <c:pt idx="4232">
                  <c:v>4.2320000000000002</c:v>
                </c:pt>
                <c:pt idx="4233">
                  <c:v>4.2329999999999997</c:v>
                </c:pt>
                <c:pt idx="4234">
                  <c:v>4.234</c:v>
                </c:pt>
                <c:pt idx="4235">
                  <c:v>4.2350000000000003</c:v>
                </c:pt>
                <c:pt idx="4236">
                  <c:v>4.2359999999999998</c:v>
                </c:pt>
                <c:pt idx="4237">
                  <c:v>4.2370000000000001</c:v>
                </c:pt>
                <c:pt idx="4238">
                  <c:v>4.2380000000000004</c:v>
                </c:pt>
                <c:pt idx="4239">
                  <c:v>4.2389999999999999</c:v>
                </c:pt>
                <c:pt idx="4240">
                  <c:v>4.24</c:v>
                </c:pt>
                <c:pt idx="4241">
                  <c:v>4.2409999999999997</c:v>
                </c:pt>
                <c:pt idx="4242">
                  <c:v>4.242</c:v>
                </c:pt>
                <c:pt idx="4243">
                  <c:v>4.2430000000000003</c:v>
                </c:pt>
                <c:pt idx="4244">
                  <c:v>4.2439999999999998</c:v>
                </c:pt>
                <c:pt idx="4245">
                  <c:v>4.2450000000000001</c:v>
                </c:pt>
                <c:pt idx="4246">
                  <c:v>4.2460000000000004</c:v>
                </c:pt>
                <c:pt idx="4247">
                  <c:v>4.2469999999999999</c:v>
                </c:pt>
                <c:pt idx="4248">
                  <c:v>4.2480000000000002</c:v>
                </c:pt>
                <c:pt idx="4249">
                  <c:v>4.2489999999999997</c:v>
                </c:pt>
                <c:pt idx="4250">
                  <c:v>4.25</c:v>
                </c:pt>
                <c:pt idx="4251">
                  <c:v>4.2510000000000003</c:v>
                </c:pt>
                <c:pt idx="4252">
                  <c:v>4.2519999999999998</c:v>
                </c:pt>
                <c:pt idx="4253">
                  <c:v>4.2530000000000001</c:v>
                </c:pt>
                <c:pt idx="4254">
                  <c:v>4.2539999999999996</c:v>
                </c:pt>
                <c:pt idx="4255">
                  <c:v>4.2549999999999999</c:v>
                </c:pt>
                <c:pt idx="4256">
                  <c:v>4.2560000000000002</c:v>
                </c:pt>
                <c:pt idx="4257">
                  <c:v>4.2569999999999997</c:v>
                </c:pt>
                <c:pt idx="4258">
                  <c:v>4.258</c:v>
                </c:pt>
                <c:pt idx="4259">
                  <c:v>4.2590000000000003</c:v>
                </c:pt>
                <c:pt idx="4260">
                  <c:v>4.26</c:v>
                </c:pt>
                <c:pt idx="4261">
                  <c:v>4.2610000000000001</c:v>
                </c:pt>
                <c:pt idx="4262">
                  <c:v>4.2619999999999996</c:v>
                </c:pt>
                <c:pt idx="4263">
                  <c:v>4.2629999999999999</c:v>
                </c:pt>
                <c:pt idx="4264">
                  <c:v>4.2640000000000002</c:v>
                </c:pt>
                <c:pt idx="4265">
                  <c:v>4.2649999999999997</c:v>
                </c:pt>
                <c:pt idx="4266">
                  <c:v>4.266</c:v>
                </c:pt>
                <c:pt idx="4267">
                  <c:v>4.2670000000000003</c:v>
                </c:pt>
                <c:pt idx="4268">
                  <c:v>4.2679999999999998</c:v>
                </c:pt>
                <c:pt idx="4269">
                  <c:v>4.2690000000000001</c:v>
                </c:pt>
                <c:pt idx="4270">
                  <c:v>4.2699999999999996</c:v>
                </c:pt>
                <c:pt idx="4271">
                  <c:v>4.2709999999999999</c:v>
                </c:pt>
                <c:pt idx="4272">
                  <c:v>4.2720000000000002</c:v>
                </c:pt>
                <c:pt idx="4273">
                  <c:v>4.2729999999999997</c:v>
                </c:pt>
                <c:pt idx="4274">
                  <c:v>4.274</c:v>
                </c:pt>
                <c:pt idx="4275">
                  <c:v>4.2750000000000004</c:v>
                </c:pt>
                <c:pt idx="4276">
                  <c:v>4.2759999999999998</c:v>
                </c:pt>
                <c:pt idx="4277">
                  <c:v>4.2770000000000001</c:v>
                </c:pt>
                <c:pt idx="4278">
                  <c:v>4.2779999999999996</c:v>
                </c:pt>
                <c:pt idx="4279">
                  <c:v>4.2789999999999999</c:v>
                </c:pt>
                <c:pt idx="4280">
                  <c:v>4.28</c:v>
                </c:pt>
                <c:pt idx="4281">
                  <c:v>4.2809999999999997</c:v>
                </c:pt>
                <c:pt idx="4282">
                  <c:v>4.282</c:v>
                </c:pt>
                <c:pt idx="4283">
                  <c:v>4.2830000000000004</c:v>
                </c:pt>
                <c:pt idx="4284">
                  <c:v>4.2839999999999998</c:v>
                </c:pt>
                <c:pt idx="4285">
                  <c:v>4.2850000000000001</c:v>
                </c:pt>
                <c:pt idx="4286">
                  <c:v>4.2859999999999996</c:v>
                </c:pt>
                <c:pt idx="4287">
                  <c:v>4.2869999999999999</c:v>
                </c:pt>
                <c:pt idx="4288">
                  <c:v>4.2880000000000003</c:v>
                </c:pt>
                <c:pt idx="4289">
                  <c:v>4.2889999999999997</c:v>
                </c:pt>
                <c:pt idx="4290">
                  <c:v>4.29</c:v>
                </c:pt>
                <c:pt idx="4291">
                  <c:v>4.2910000000000004</c:v>
                </c:pt>
                <c:pt idx="4292">
                  <c:v>4.2919999999999998</c:v>
                </c:pt>
                <c:pt idx="4293">
                  <c:v>4.2930000000000001</c:v>
                </c:pt>
                <c:pt idx="4294">
                  <c:v>4.2939999999999996</c:v>
                </c:pt>
                <c:pt idx="4295">
                  <c:v>4.2949999999999999</c:v>
                </c:pt>
                <c:pt idx="4296">
                  <c:v>4.2960000000000003</c:v>
                </c:pt>
                <c:pt idx="4297">
                  <c:v>4.2969999999999997</c:v>
                </c:pt>
                <c:pt idx="4298">
                  <c:v>4.298</c:v>
                </c:pt>
                <c:pt idx="4299">
                  <c:v>4.2990000000000004</c:v>
                </c:pt>
                <c:pt idx="4300">
                  <c:v>4.3</c:v>
                </c:pt>
                <c:pt idx="4301">
                  <c:v>4.3010000000000002</c:v>
                </c:pt>
                <c:pt idx="4302">
                  <c:v>4.3019999999999996</c:v>
                </c:pt>
                <c:pt idx="4303">
                  <c:v>4.3029999999999999</c:v>
                </c:pt>
                <c:pt idx="4304">
                  <c:v>4.3040000000000003</c:v>
                </c:pt>
                <c:pt idx="4305">
                  <c:v>4.3049999999999997</c:v>
                </c:pt>
                <c:pt idx="4306">
                  <c:v>4.306</c:v>
                </c:pt>
                <c:pt idx="4307">
                  <c:v>4.3070000000000004</c:v>
                </c:pt>
                <c:pt idx="4308">
                  <c:v>4.3079999999999998</c:v>
                </c:pt>
                <c:pt idx="4309">
                  <c:v>4.3090000000000002</c:v>
                </c:pt>
                <c:pt idx="4310">
                  <c:v>4.3099999999999996</c:v>
                </c:pt>
                <c:pt idx="4311">
                  <c:v>4.3109999999999999</c:v>
                </c:pt>
                <c:pt idx="4312">
                  <c:v>4.3120000000000003</c:v>
                </c:pt>
                <c:pt idx="4313">
                  <c:v>4.3129999999999997</c:v>
                </c:pt>
                <c:pt idx="4314">
                  <c:v>4.3140000000000001</c:v>
                </c:pt>
                <c:pt idx="4315">
                  <c:v>4.3150000000000004</c:v>
                </c:pt>
                <c:pt idx="4316">
                  <c:v>4.3159999999999998</c:v>
                </c:pt>
                <c:pt idx="4317">
                  <c:v>4.3170000000000002</c:v>
                </c:pt>
                <c:pt idx="4318">
                  <c:v>4.3179999999999996</c:v>
                </c:pt>
                <c:pt idx="4319">
                  <c:v>4.319</c:v>
                </c:pt>
                <c:pt idx="4320">
                  <c:v>4.32</c:v>
                </c:pt>
                <c:pt idx="4321">
                  <c:v>4.3209999999999997</c:v>
                </c:pt>
                <c:pt idx="4322">
                  <c:v>4.3220000000000001</c:v>
                </c:pt>
                <c:pt idx="4323">
                  <c:v>4.3230000000000004</c:v>
                </c:pt>
                <c:pt idx="4324">
                  <c:v>4.3239999999999998</c:v>
                </c:pt>
                <c:pt idx="4325">
                  <c:v>4.3250000000000002</c:v>
                </c:pt>
                <c:pt idx="4326">
                  <c:v>4.3259999999999996</c:v>
                </c:pt>
                <c:pt idx="4327">
                  <c:v>4.327</c:v>
                </c:pt>
                <c:pt idx="4328">
                  <c:v>4.3280000000000003</c:v>
                </c:pt>
                <c:pt idx="4329">
                  <c:v>4.3289999999999997</c:v>
                </c:pt>
                <c:pt idx="4330">
                  <c:v>4.33</c:v>
                </c:pt>
                <c:pt idx="4331">
                  <c:v>4.3310000000000004</c:v>
                </c:pt>
                <c:pt idx="4332">
                  <c:v>4.3319999999999999</c:v>
                </c:pt>
                <c:pt idx="4333">
                  <c:v>4.3330000000000002</c:v>
                </c:pt>
                <c:pt idx="4334">
                  <c:v>4.3339999999999996</c:v>
                </c:pt>
                <c:pt idx="4335">
                  <c:v>4.335</c:v>
                </c:pt>
                <c:pt idx="4336">
                  <c:v>4.3360000000000003</c:v>
                </c:pt>
                <c:pt idx="4337">
                  <c:v>4.3369999999999997</c:v>
                </c:pt>
                <c:pt idx="4338">
                  <c:v>4.3380000000000001</c:v>
                </c:pt>
                <c:pt idx="4339">
                  <c:v>4.3390000000000004</c:v>
                </c:pt>
                <c:pt idx="4340">
                  <c:v>4.34</c:v>
                </c:pt>
                <c:pt idx="4341">
                  <c:v>4.3410000000000002</c:v>
                </c:pt>
                <c:pt idx="4342">
                  <c:v>4.3419999999999996</c:v>
                </c:pt>
                <c:pt idx="4343">
                  <c:v>4.343</c:v>
                </c:pt>
                <c:pt idx="4344">
                  <c:v>4.3440000000000003</c:v>
                </c:pt>
                <c:pt idx="4345">
                  <c:v>4.3449999999999998</c:v>
                </c:pt>
                <c:pt idx="4346">
                  <c:v>4.3460000000000001</c:v>
                </c:pt>
                <c:pt idx="4347">
                  <c:v>4.3470000000000004</c:v>
                </c:pt>
                <c:pt idx="4348">
                  <c:v>4.3479999999999999</c:v>
                </c:pt>
                <c:pt idx="4349">
                  <c:v>4.3490000000000002</c:v>
                </c:pt>
                <c:pt idx="4350">
                  <c:v>4.3499999999999996</c:v>
                </c:pt>
                <c:pt idx="4351">
                  <c:v>4.351</c:v>
                </c:pt>
                <c:pt idx="4352">
                  <c:v>4.3520000000000003</c:v>
                </c:pt>
                <c:pt idx="4353">
                  <c:v>4.3529999999999998</c:v>
                </c:pt>
                <c:pt idx="4354">
                  <c:v>4.3540000000000001</c:v>
                </c:pt>
                <c:pt idx="4355">
                  <c:v>4.3550000000000004</c:v>
                </c:pt>
                <c:pt idx="4356">
                  <c:v>4.3559999999999999</c:v>
                </c:pt>
                <c:pt idx="4357">
                  <c:v>4.3570000000000002</c:v>
                </c:pt>
                <c:pt idx="4358">
                  <c:v>4.3579999999999997</c:v>
                </c:pt>
                <c:pt idx="4359">
                  <c:v>4.359</c:v>
                </c:pt>
                <c:pt idx="4360">
                  <c:v>4.3600000000000003</c:v>
                </c:pt>
                <c:pt idx="4361">
                  <c:v>4.3609999999999998</c:v>
                </c:pt>
                <c:pt idx="4362">
                  <c:v>4.3620000000000001</c:v>
                </c:pt>
                <c:pt idx="4363">
                  <c:v>4.3630000000000004</c:v>
                </c:pt>
                <c:pt idx="4364">
                  <c:v>4.3639999999999999</c:v>
                </c:pt>
                <c:pt idx="4365">
                  <c:v>4.3650000000000002</c:v>
                </c:pt>
                <c:pt idx="4366">
                  <c:v>4.3659999999999997</c:v>
                </c:pt>
                <c:pt idx="4367">
                  <c:v>4.367</c:v>
                </c:pt>
                <c:pt idx="4368">
                  <c:v>4.3680000000000003</c:v>
                </c:pt>
                <c:pt idx="4369">
                  <c:v>4.3689999999999998</c:v>
                </c:pt>
                <c:pt idx="4370">
                  <c:v>4.37</c:v>
                </c:pt>
                <c:pt idx="4371">
                  <c:v>4.3710000000000004</c:v>
                </c:pt>
                <c:pt idx="4372">
                  <c:v>4.3719999999999999</c:v>
                </c:pt>
                <c:pt idx="4373">
                  <c:v>4.3730000000000002</c:v>
                </c:pt>
                <c:pt idx="4374">
                  <c:v>4.3739999999999997</c:v>
                </c:pt>
                <c:pt idx="4375">
                  <c:v>4.375</c:v>
                </c:pt>
                <c:pt idx="4376">
                  <c:v>4.3760000000000003</c:v>
                </c:pt>
                <c:pt idx="4377">
                  <c:v>4.3769999999999998</c:v>
                </c:pt>
                <c:pt idx="4378">
                  <c:v>4.3780000000000001</c:v>
                </c:pt>
                <c:pt idx="4379">
                  <c:v>4.3789999999999996</c:v>
                </c:pt>
                <c:pt idx="4380">
                  <c:v>4.38</c:v>
                </c:pt>
                <c:pt idx="4381">
                  <c:v>4.3810000000000002</c:v>
                </c:pt>
                <c:pt idx="4382">
                  <c:v>4.3819999999999997</c:v>
                </c:pt>
                <c:pt idx="4383">
                  <c:v>4.383</c:v>
                </c:pt>
                <c:pt idx="4384">
                  <c:v>4.3840000000000003</c:v>
                </c:pt>
                <c:pt idx="4385">
                  <c:v>4.3849999999999998</c:v>
                </c:pt>
                <c:pt idx="4386">
                  <c:v>4.3860000000000001</c:v>
                </c:pt>
                <c:pt idx="4387">
                  <c:v>4.3869999999999996</c:v>
                </c:pt>
                <c:pt idx="4388">
                  <c:v>4.3879999999999999</c:v>
                </c:pt>
                <c:pt idx="4389">
                  <c:v>4.3890000000000002</c:v>
                </c:pt>
                <c:pt idx="4390">
                  <c:v>4.3899999999999997</c:v>
                </c:pt>
                <c:pt idx="4391">
                  <c:v>4.391</c:v>
                </c:pt>
                <c:pt idx="4392">
                  <c:v>4.3920000000000003</c:v>
                </c:pt>
                <c:pt idx="4393">
                  <c:v>4.3929999999999998</c:v>
                </c:pt>
                <c:pt idx="4394">
                  <c:v>4.3940000000000001</c:v>
                </c:pt>
                <c:pt idx="4395">
                  <c:v>4.3949999999999996</c:v>
                </c:pt>
                <c:pt idx="4396">
                  <c:v>4.3959999999999999</c:v>
                </c:pt>
                <c:pt idx="4397">
                  <c:v>4.3970000000000002</c:v>
                </c:pt>
                <c:pt idx="4398">
                  <c:v>4.3979999999999997</c:v>
                </c:pt>
                <c:pt idx="4399">
                  <c:v>4.399</c:v>
                </c:pt>
                <c:pt idx="4400">
                  <c:v>4.4000000000000004</c:v>
                </c:pt>
                <c:pt idx="4401">
                  <c:v>4.4009999999999998</c:v>
                </c:pt>
                <c:pt idx="4402">
                  <c:v>4.4020000000000001</c:v>
                </c:pt>
                <c:pt idx="4403">
                  <c:v>4.4029999999999996</c:v>
                </c:pt>
                <c:pt idx="4404">
                  <c:v>4.4039999999999999</c:v>
                </c:pt>
                <c:pt idx="4405">
                  <c:v>4.4050000000000002</c:v>
                </c:pt>
                <c:pt idx="4406">
                  <c:v>4.4059999999999997</c:v>
                </c:pt>
                <c:pt idx="4407">
                  <c:v>4.407</c:v>
                </c:pt>
                <c:pt idx="4408">
                  <c:v>4.4080000000000004</c:v>
                </c:pt>
                <c:pt idx="4409">
                  <c:v>4.4089999999999998</c:v>
                </c:pt>
                <c:pt idx="4410">
                  <c:v>4.41</c:v>
                </c:pt>
                <c:pt idx="4411">
                  <c:v>4.4109999999999996</c:v>
                </c:pt>
                <c:pt idx="4412">
                  <c:v>4.4119999999999999</c:v>
                </c:pt>
                <c:pt idx="4413">
                  <c:v>4.4130000000000003</c:v>
                </c:pt>
                <c:pt idx="4414">
                  <c:v>4.4139999999999997</c:v>
                </c:pt>
                <c:pt idx="4415">
                  <c:v>4.415</c:v>
                </c:pt>
                <c:pt idx="4416">
                  <c:v>4.4160000000000004</c:v>
                </c:pt>
                <c:pt idx="4417">
                  <c:v>4.4169999999999998</c:v>
                </c:pt>
                <c:pt idx="4418">
                  <c:v>4.4180000000000001</c:v>
                </c:pt>
                <c:pt idx="4419">
                  <c:v>4.4189999999999996</c:v>
                </c:pt>
                <c:pt idx="4420">
                  <c:v>4.42</c:v>
                </c:pt>
                <c:pt idx="4421">
                  <c:v>4.4210000000000003</c:v>
                </c:pt>
                <c:pt idx="4422">
                  <c:v>4.4219999999999997</c:v>
                </c:pt>
                <c:pt idx="4423">
                  <c:v>4.423</c:v>
                </c:pt>
                <c:pt idx="4424">
                  <c:v>4.4240000000000004</c:v>
                </c:pt>
                <c:pt idx="4425">
                  <c:v>4.4249999999999998</c:v>
                </c:pt>
                <c:pt idx="4426">
                  <c:v>4.4260000000000002</c:v>
                </c:pt>
                <c:pt idx="4427">
                  <c:v>4.4269999999999996</c:v>
                </c:pt>
                <c:pt idx="4428">
                  <c:v>4.4279999999999999</c:v>
                </c:pt>
                <c:pt idx="4429">
                  <c:v>4.4290000000000003</c:v>
                </c:pt>
                <c:pt idx="4430">
                  <c:v>4.43</c:v>
                </c:pt>
                <c:pt idx="4431">
                  <c:v>4.431</c:v>
                </c:pt>
                <c:pt idx="4432">
                  <c:v>4.4320000000000004</c:v>
                </c:pt>
                <c:pt idx="4433">
                  <c:v>4.4329999999999998</c:v>
                </c:pt>
                <c:pt idx="4434">
                  <c:v>4.4340000000000002</c:v>
                </c:pt>
                <c:pt idx="4435">
                  <c:v>4.4349999999999996</c:v>
                </c:pt>
                <c:pt idx="4436">
                  <c:v>4.4359999999999999</c:v>
                </c:pt>
                <c:pt idx="4437">
                  <c:v>4.4370000000000003</c:v>
                </c:pt>
                <c:pt idx="4438">
                  <c:v>4.4379999999999997</c:v>
                </c:pt>
                <c:pt idx="4439">
                  <c:v>4.4390000000000001</c:v>
                </c:pt>
                <c:pt idx="4440">
                  <c:v>4.4400000000000004</c:v>
                </c:pt>
                <c:pt idx="4441">
                  <c:v>4.4409999999999998</c:v>
                </c:pt>
                <c:pt idx="4442">
                  <c:v>4.4420000000000002</c:v>
                </c:pt>
                <c:pt idx="4443">
                  <c:v>4.4429999999999996</c:v>
                </c:pt>
                <c:pt idx="4444">
                  <c:v>4.444</c:v>
                </c:pt>
                <c:pt idx="4445">
                  <c:v>4.4450000000000003</c:v>
                </c:pt>
                <c:pt idx="4446">
                  <c:v>4.4459999999999997</c:v>
                </c:pt>
                <c:pt idx="4447">
                  <c:v>4.4470000000000001</c:v>
                </c:pt>
                <c:pt idx="4448">
                  <c:v>4.4480000000000004</c:v>
                </c:pt>
                <c:pt idx="4449">
                  <c:v>4.4489999999999998</c:v>
                </c:pt>
                <c:pt idx="4450">
                  <c:v>4.45</c:v>
                </c:pt>
                <c:pt idx="4451">
                  <c:v>4.4509999999999996</c:v>
                </c:pt>
                <c:pt idx="4452">
                  <c:v>4.452</c:v>
                </c:pt>
                <c:pt idx="4453">
                  <c:v>4.4530000000000003</c:v>
                </c:pt>
                <c:pt idx="4454">
                  <c:v>4.4539999999999997</c:v>
                </c:pt>
                <c:pt idx="4455">
                  <c:v>4.4550000000000001</c:v>
                </c:pt>
                <c:pt idx="4456">
                  <c:v>4.4560000000000004</c:v>
                </c:pt>
                <c:pt idx="4457">
                  <c:v>4.4569999999999999</c:v>
                </c:pt>
                <c:pt idx="4458">
                  <c:v>4.4580000000000002</c:v>
                </c:pt>
                <c:pt idx="4459">
                  <c:v>4.4589999999999996</c:v>
                </c:pt>
                <c:pt idx="4460">
                  <c:v>4.46</c:v>
                </c:pt>
                <c:pt idx="4461">
                  <c:v>4.4610000000000003</c:v>
                </c:pt>
                <c:pt idx="4462">
                  <c:v>4.4619999999999997</c:v>
                </c:pt>
                <c:pt idx="4463">
                  <c:v>4.4630000000000001</c:v>
                </c:pt>
                <c:pt idx="4464">
                  <c:v>4.4640000000000004</c:v>
                </c:pt>
                <c:pt idx="4465">
                  <c:v>4.4649999999999999</c:v>
                </c:pt>
                <c:pt idx="4466">
                  <c:v>4.4660000000000002</c:v>
                </c:pt>
                <c:pt idx="4467">
                  <c:v>4.4669999999999996</c:v>
                </c:pt>
                <c:pt idx="4468">
                  <c:v>4.468</c:v>
                </c:pt>
                <c:pt idx="4469">
                  <c:v>4.4690000000000003</c:v>
                </c:pt>
                <c:pt idx="4470">
                  <c:v>4.47</c:v>
                </c:pt>
                <c:pt idx="4471">
                  <c:v>4.4710000000000001</c:v>
                </c:pt>
                <c:pt idx="4472">
                  <c:v>4.4720000000000004</c:v>
                </c:pt>
                <c:pt idx="4473">
                  <c:v>4.4729999999999999</c:v>
                </c:pt>
                <c:pt idx="4474">
                  <c:v>4.4740000000000002</c:v>
                </c:pt>
                <c:pt idx="4475">
                  <c:v>4.4749999999999996</c:v>
                </c:pt>
                <c:pt idx="4476">
                  <c:v>4.476</c:v>
                </c:pt>
                <c:pt idx="4477">
                  <c:v>4.4770000000000003</c:v>
                </c:pt>
                <c:pt idx="4478">
                  <c:v>4.4779999999999998</c:v>
                </c:pt>
                <c:pt idx="4479">
                  <c:v>4.4790000000000001</c:v>
                </c:pt>
                <c:pt idx="4480">
                  <c:v>4.4800000000000004</c:v>
                </c:pt>
                <c:pt idx="4481">
                  <c:v>4.4809999999999999</c:v>
                </c:pt>
                <c:pt idx="4482">
                  <c:v>4.4820000000000002</c:v>
                </c:pt>
                <c:pt idx="4483">
                  <c:v>4.4829999999999997</c:v>
                </c:pt>
                <c:pt idx="4484">
                  <c:v>4.484</c:v>
                </c:pt>
                <c:pt idx="4485">
                  <c:v>4.4850000000000003</c:v>
                </c:pt>
                <c:pt idx="4486">
                  <c:v>4.4859999999999998</c:v>
                </c:pt>
                <c:pt idx="4487">
                  <c:v>4.4870000000000001</c:v>
                </c:pt>
                <c:pt idx="4488">
                  <c:v>4.4880000000000004</c:v>
                </c:pt>
                <c:pt idx="4489">
                  <c:v>4.4889999999999999</c:v>
                </c:pt>
                <c:pt idx="4490">
                  <c:v>4.49</c:v>
                </c:pt>
                <c:pt idx="4491">
                  <c:v>4.4909999999999997</c:v>
                </c:pt>
                <c:pt idx="4492">
                  <c:v>4.492</c:v>
                </c:pt>
                <c:pt idx="4493">
                  <c:v>4.4930000000000003</c:v>
                </c:pt>
                <c:pt idx="4494">
                  <c:v>4.4939999999999998</c:v>
                </c:pt>
                <c:pt idx="4495">
                  <c:v>4.4950000000000001</c:v>
                </c:pt>
                <c:pt idx="4496">
                  <c:v>4.4960000000000004</c:v>
                </c:pt>
                <c:pt idx="4497">
                  <c:v>4.4969999999999999</c:v>
                </c:pt>
                <c:pt idx="4498">
                  <c:v>4.4980000000000002</c:v>
                </c:pt>
                <c:pt idx="4499">
                  <c:v>4.4989999999999997</c:v>
                </c:pt>
                <c:pt idx="4500">
                  <c:v>4.5</c:v>
                </c:pt>
                <c:pt idx="4501">
                  <c:v>4.5010000000000003</c:v>
                </c:pt>
                <c:pt idx="4502">
                  <c:v>4.5019999999999998</c:v>
                </c:pt>
                <c:pt idx="4503">
                  <c:v>4.5030000000000001</c:v>
                </c:pt>
                <c:pt idx="4504">
                  <c:v>4.5039999999999996</c:v>
                </c:pt>
                <c:pt idx="4505">
                  <c:v>4.5049999999999999</c:v>
                </c:pt>
                <c:pt idx="4506">
                  <c:v>4.5060000000000002</c:v>
                </c:pt>
                <c:pt idx="4507">
                  <c:v>4.5069999999999997</c:v>
                </c:pt>
                <c:pt idx="4508">
                  <c:v>4.508</c:v>
                </c:pt>
                <c:pt idx="4509">
                  <c:v>4.5090000000000003</c:v>
                </c:pt>
                <c:pt idx="4510">
                  <c:v>4.51</c:v>
                </c:pt>
                <c:pt idx="4511">
                  <c:v>4.5110000000000001</c:v>
                </c:pt>
                <c:pt idx="4512">
                  <c:v>4.5119999999999996</c:v>
                </c:pt>
                <c:pt idx="4513">
                  <c:v>4.5129999999999999</c:v>
                </c:pt>
                <c:pt idx="4514">
                  <c:v>4.5140000000000002</c:v>
                </c:pt>
                <c:pt idx="4515">
                  <c:v>4.5149999999999997</c:v>
                </c:pt>
                <c:pt idx="4516">
                  <c:v>4.516</c:v>
                </c:pt>
                <c:pt idx="4517">
                  <c:v>4.5170000000000003</c:v>
                </c:pt>
                <c:pt idx="4518">
                  <c:v>4.5179999999999998</c:v>
                </c:pt>
                <c:pt idx="4519">
                  <c:v>4.5190000000000001</c:v>
                </c:pt>
                <c:pt idx="4520">
                  <c:v>4.5199999999999996</c:v>
                </c:pt>
                <c:pt idx="4521">
                  <c:v>4.5209999999999999</c:v>
                </c:pt>
                <c:pt idx="4522">
                  <c:v>4.5220000000000002</c:v>
                </c:pt>
                <c:pt idx="4523">
                  <c:v>4.5229999999999997</c:v>
                </c:pt>
                <c:pt idx="4524">
                  <c:v>4.524</c:v>
                </c:pt>
                <c:pt idx="4525">
                  <c:v>4.5250000000000004</c:v>
                </c:pt>
                <c:pt idx="4526">
                  <c:v>4.5259999999999998</c:v>
                </c:pt>
                <c:pt idx="4527">
                  <c:v>4.5270000000000001</c:v>
                </c:pt>
                <c:pt idx="4528">
                  <c:v>4.5279999999999996</c:v>
                </c:pt>
                <c:pt idx="4529">
                  <c:v>4.5289999999999999</c:v>
                </c:pt>
                <c:pt idx="4530">
                  <c:v>4.53</c:v>
                </c:pt>
                <c:pt idx="4531">
                  <c:v>4.5309999999999997</c:v>
                </c:pt>
                <c:pt idx="4532">
                  <c:v>4.532</c:v>
                </c:pt>
                <c:pt idx="4533">
                  <c:v>4.5330000000000004</c:v>
                </c:pt>
                <c:pt idx="4534">
                  <c:v>4.5339999999999998</c:v>
                </c:pt>
                <c:pt idx="4535">
                  <c:v>4.5350000000000001</c:v>
                </c:pt>
                <c:pt idx="4536">
                  <c:v>4.5359999999999996</c:v>
                </c:pt>
                <c:pt idx="4537">
                  <c:v>4.5369999999999999</c:v>
                </c:pt>
                <c:pt idx="4538">
                  <c:v>4.5380000000000003</c:v>
                </c:pt>
                <c:pt idx="4539">
                  <c:v>4.5389999999999997</c:v>
                </c:pt>
                <c:pt idx="4540">
                  <c:v>4.54</c:v>
                </c:pt>
                <c:pt idx="4541">
                  <c:v>4.5410000000000004</c:v>
                </c:pt>
                <c:pt idx="4542">
                  <c:v>4.5419999999999998</c:v>
                </c:pt>
                <c:pt idx="4543">
                  <c:v>4.5430000000000001</c:v>
                </c:pt>
                <c:pt idx="4544">
                  <c:v>4.5439999999999996</c:v>
                </c:pt>
                <c:pt idx="4545">
                  <c:v>4.5449999999999999</c:v>
                </c:pt>
                <c:pt idx="4546">
                  <c:v>4.5460000000000003</c:v>
                </c:pt>
                <c:pt idx="4547">
                  <c:v>4.5469999999999997</c:v>
                </c:pt>
                <c:pt idx="4548">
                  <c:v>4.548</c:v>
                </c:pt>
                <c:pt idx="4549">
                  <c:v>4.5490000000000004</c:v>
                </c:pt>
                <c:pt idx="4550">
                  <c:v>4.55</c:v>
                </c:pt>
                <c:pt idx="4551">
                  <c:v>4.5510000000000002</c:v>
                </c:pt>
                <c:pt idx="4552">
                  <c:v>4.5519999999999996</c:v>
                </c:pt>
                <c:pt idx="4553">
                  <c:v>4.5529999999999999</c:v>
                </c:pt>
                <c:pt idx="4554">
                  <c:v>4.5540000000000003</c:v>
                </c:pt>
                <c:pt idx="4555">
                  <c:v>4.5549999999999997</c:v>
                </c:pt>
                <c:pt idx="4556">
                  <c:v>4.556</c:v>
                </c:pt>
                <c:pt idx="4557">
                  <c:v>4.5570000000000004</c:v>
                </c:pt>
                <c:pt idx="4558">
                  <c:v>4.5579999999999998</c:v>
                </c:pt>
                <c:pt idx="4559">
                  <c:v>4.5590000000000002</c:v>
                </c:pt>
                <c:pt idx="4560">
                  <c:v>4.5599999999999996</c:v>
                </c:pt>
                <c:pt idx="4561">
                  <c:v>4.5609999999999999</c:v>
                </c:pt>
                <c:pt idx="4562">
                  <c:v>4.5620000000000003</c:v>
                </c:pt>
                <c:pt idx="4563">
                  <c:v>4.5629999999999997</c:v>
                </c:pt>
                <c:pt idx="4564">
                  <c:v>4.5640000000000001</c:v>
                </c:pt>
                <c:pt idx="4565">
                  <c:v>4.5650000000000004</c:v>
                </c:pt>
                <c:pt idx="4566">
                  <c:v>4.5659999999999998</c:v>
                </c:pt>
                <c:pt idx="4567">
                  <c:v>4.5670000000000002</c:v>
                </c:pt>
                <c:pt idx="4568">
                  <c:v>4.5679999999999996</c:v>
                </c:pt>
                <c:pt idx="4569">
                  <c:v>4.569</c:v>
                </c:pt>
                <c:pt idx="4570">
                  <c:v>4.57</c:v>
                </c:pt>
                <c:pt idx="4571">
                  <c:v>4.5709999999999997</c:v>
                </c:pt>
                <c:pt idx="4572">
                  <c:v>4.5720000000000001</c:v>
                </c:pt>
                <c:pt idx="4573">
                  <c:v>4.5730000000000004</c:v>
                </c:pt>
                <c:pt idx="4574">
                  <c:v>4.5739999999999998</c:v>
                </c:pt>
                <c:pt idx="4575">
                  <c:v>4.5750000000000002</c:v>
                </c:pt>
                <c:pt idx="4576">
                  <c:v>4.5759999999999996</c:v>
                </c:pt>
                <c:pt idx="4577">
                  <c:v>4.577</c:v>
                </c:pt>
                <c:pt idx="4578">
                  <c:v>4.5780000000000003</c:v>
                </c:pt>
                <c:pt idx="4579">
                  <c:v>4.5789999999999997</c:v>
                </c:pt>
                <c:pt idx="4580">
                  <c:v>4.58</c:v>
                </c:pt>
                <c:pt idx="4581">
                  <c:v>4.5810000000000004</c:v>
                </c:pt>
                <c:pt idx="4582">
                  <c:v>4.5819999999999999</c:v>
                </c:pt>
                <c:pt idx="4583">
                  <c:v>4.5830000000000002</c:v>
                </c:pt>
                <c:pt idx="4584">
                  <c:v>4.5839999999999996</c:v>
                </c:pt>
                <c:pt idx="4585">
                  <c:v>4.585</c:v>
                </c:pt>
                <c:pt idx="4586">
                  <c:v>4.5860000000000003</c:v>
                </c:pt>
                <c:pt idx="4587">
                  <c:v>4.5869999999999997</c:v>
                </c:pt>
                <c:pt idx="4588">
                  <c:v>4.5880000000000001</c:v>
                </c:pt>
                <c:pt idx="4589">
                  <c:v>4.5890000000000004</c:v>
                </c:pt>
                <c:pt idx="4590">
                  <c:v>4.59</c:v>
                </c:pt>
                <c:pt idx="4591">
                  <c:v>4.5910000000000002</c:v>
                </c:pt>
                <c:pt idx="4592">
                  <c:v>4.5919999999999996</c:v>
                </c:pt>
                <c:pt idx="4593">
                  <c:v>4.593</c:v>
                </c:pt>
                <c:pt idx="4594">
                  <c:v>4.5940000000000003</c:v>
                </c:pt>
                <c:pt idx="4595">
                  <c:v>4.5949999999999998</c:v>
                </c:pt>
                <c:pt idx="4596">
                  <c:v>4.5960000000000001</c:v>
                </c:pt>
                <c:pt idx="4597">
                  <c:v>4.5970000000000004</c:v>
                </c:pt>
                <c:pt idx="4598">
                  <c:v>4.5979999999999999</c:v>
                </c:pt>
                <c:pt idx="4599">
                  <c:v>4.5990000000000002</c:v>
                </c:pt>
                <c:pt idx="4600">
                  <c:v>4.5999999999999996</c:v>
                </c:pt>
                <c:pt idx="4601">
                  <c:v>4.601</c:v>
                </c:pt>
                <c:pt idx="4602">
                  <c:v>4.6020000000000003</c:v>
                </c:pt>
                <c:pt idx="4603">
                  <c:v>4.6029999999999998</c:v>
                </c:pt>
                <c:pt idx="4604">
                  <c:v>4.6040000000000001</c:v>
                </c:pt>
                <c:pt idx="4605">
                  <c:v>4.6050000000000004</c:v>
                </c:pt>
                <c:pt idx="4606">
                  <c:v>4.6059999999999999</c:v>
                </c:pt>
                <c:pt idx="4607">
                  <c:v>4.6070000000000002</c:v>
                </c:pt>
                <c:pt idx="4608">
                  <c:v>4.6079999999999997</c:v>
                </c:pt>
                <c:pt idx="4609">
                  <c:v>4.609</c:v>
                </c:pt>
                <c:pt idx="4610">
                  <c:v>4.6100000000000003</c:v>
                </c:pt>
                <c:pt idx="4611">
                  <c:v>4.6109999999999998</c:v>
                </c:pt>
                <c:pt idx="4612">
                  <c:v>4.6120000000000001</c:v>
                </c:pt>
                <c:pt idx="4613">
                  <c:v>4.6130000000000004</c:v>
                </c:pt>
                <c:pt idx="4614">
                  <c:v>4.6139999999999999</c:v>
                </c:pt>
                <c:pt idx="4615">
                  <c:v>4.6150000000000002</c:v>
                </c:pt>
                <c:pt idx="4616">
                  <c:v>4.6159999999999997</c:v>
                </c:pt>
                <c:pt idx="4617">
                  <c:v>4.617</c:v>
                </c:pt>
                <c:pt idx="4618">
                  <c:v>4.6180000000000003</c:v>
                </c:pt>
                <c:pt idx="4619">
                  <c:v>4.6189999999999998</c:v>
                </c:pt>
                <c:pt idx="4620">
                  <c:v>4.62</c:v>
                </c:pt>
                <c:pt idx="4621">
                  <c:v>4.6210000000000004</c:v>
                </c:pt>
                <c:pt idx="4622">
                  <c:v>4.6219999999999999</c:v>
                </c:pt>
                <c:pt idx="4623">
                  <c:v>4.6230000000000002</c:v>
                </c:pt>
                <c:pt idx="4624">
                  <c:v>4.6239999999999997</c:v>
                </c:pt>
                <c:pt idx="4625">
                  <c:v>4.625</c:v>
                </c:pt>
                <c:pt idx="4626">
                  <c:v>4.6260000000000003</c:v>
                </c:pt>
                <c:pt idx="4627">
                  <c:v>4.6269999999999998</c:v>
                </c:pt>
                <c:pt idx="4628">
                  <c:v>4.6280000000000001</c:v>
                </c:pt>
                <c:pt idx="4629">
                  <c:v>4.6289999999999996</c:v>
                </c:pt>
                <c:pt idx="4630">
                  <c:v>4.63</c:v>
                </c:pt>
                <c:pt idx="4631">
                  <c:v>4.6310000000000002</c:v>
                </c:pt>
                <c:pt idx="4632">
                  <c:v>4.6319999999999997</c:v>
                </c:pt>
                <c:pt idx="4633">
                  <c:v>4.633</c:v>
                </c:pt>
                <c:pt idx="4634">
                  <c:v>4.6340000000000003</c:v>
                </c:pt>
                <c:pt idx="4635">
                  <c:v>4.6349999999999998</c:v>
                </c:pt>
                <c:pt idx="4636">
                  <c:v>4.6360000000000001</c:v>
                </c:pt>
                <c:pt idx="4637">
                  <c:v>4.6369999999999996</c:v>
                </c:pt>
                <c:pt idx="4638">
                  <c:v>4.6379999999999999</c:v>
                </c:pt>
                <c:pt idx="4639">
                  <c:v>4.6390000000000002</c:v>
                </c:pt>
                <c:pt idx="4640">
                  <c:v>4.6399999999999997</c:v>
                </c:pt>
                <c:pt idx="4641">
                  <c:v>4.641</c:v>
                </c:pt>
                <c:pt idx="4642">
                  <c:v>4.6420000000000003</c:v>
                </c:pt>
                <c:pt idx="4643">
                  <c:v>4.6429999999999998</c:v>
                </c:pt>
                <c:pt idx="4644">
                  <c:v>4.6440000000000001</c:v>
                </c:pt>
                <c:pt idx="4645">
                  <c:v>4.6449999999999996</c:v>
                </c:pt>
                <c:pt idx="4646">
                  <c:v>4.6459999999999999</c:v>
                </c:pt>
                <c:pt idx="4647">
                  <c:v>4.6470000000000002</c:v>
                </c:pt>
                <c:pt idx="4648">
                  <c:v>4.6479999999999997</c:v>
                </c:pt>
                <c:pt idx="4649">
                  <c:v>4.649</c:v>
                </c:pt>
                <c:pt idx="4650">
                  <c:v>4.6500000000000004</c:v>
                </c:pt>
                <c:pt idx="4651">
                  <c:v>4.6509999999999998</c:v>
                </c:pt>
                <c:pt idx="4652">
                  <c:v>4.6520000000000001</c:v>
                </c:pt>
                <c:pt idx="4653">
                  <c:v>4.6529999999999996</c:v>
                </c:pt>
                <c:pt idx="4654">
                  <c:v>4.6539999999999999</c:v>
                </c:pt>
                <c:pt idx="4655">
                  <c:v>4.6550000000000002</c:v>
                </c:pt>
                <c:pt idx="4656">
                  <c:v>4.6559999999999997</c:v>
                </c:pt>
                <c:pt idx="4657">
                  <c:v>4.657</c:v>
                </c:pt>
                <c:pt idx="4658">
                  <c:v>4.6580000000000004</c:v>
                </c:pt>
                <c:pt idx="4659">
                  <c:v>4.6589999999999998</c:v>
                </c:pt>
                <c:pt idx="4660">
                  <c:v>4.66</c:v>
                </c:pt>
                <c:pt idx="4661">
                  <c:v>4.6609999999999996</c:v>
                </c:pt>
                <c:pt idx="4662">
                  <c:v>4.6619999999999999</c:v>
                </c:pt>
                <c:pt idx="4663">
                  <c:v>4.6630000000000003</c:v>
                </c:pt>
                <c:pt idx="4664">
                  <c:v>4.6639999999999997</c:v>
                </c:pt>
                <c:pt idx="4665">
                  <c:v>4.665</c:v>
                </c:pt>
                <c:pt idx="4666">
                  <c:v>4.6660000000000004</c:v>
                </c:pt>
                <c:pt idx="4667">
                  <c:v>4.6669999999999998</c:v>
                </c:pt>
                <c:pt idx="4668">
                  <c:v>4.6680000000000001</c:v>
                </c:pt>
                <c:pt idx="4669">
                  <c:v>4.6689999999999996</c:v>
                </c:pt>
                <c:pt idx="4670">
                  <c:v>4.67</c:v>
                </c:pt>
                <c:pt idx="4671">
                  <c:v>4.6710000000000003</c:v>
                </c:pt>
                <c:pt idx="4672">
                  <c:v>4.6719999999999997</c:v>
                </c:pt>
                <c:pt idx="4673">
                  <c:v>4.673</c:v>
                </c:pt>
                <c:pt idx="4674">
                  <c:v>4.6740000000000004</c:v>
                </c:pt>
                <c:pt idx="4675">
                  <c:v>4.6749999999999998</c:v>
                </c:pt>
                <c:pt idx="4676">
                  <c:v>4.6760000000000002</c:v>
                </c:pt>
                <c:pt idx="4677">
                  <c:v>4.6769999999999996</c:v>
                </c:pt>
                <c:pt idx="4678">
                  <c:v>4.6779999999999999</c:v>
                </c:pt>
                <c:pt idx="4679">
                  <c:v>4.6790000000000003</c:v>
                </c:pt>
                <c:pt idx="4680">
                  <c:v>4.68</c:v>
                </c:pt>
                <c:pt idx="4681">
                  <c:v>4.681</c:v>
                </c:pt>
                <c:pt idx="4682">
                  <c:v>4.6820000000000004</c:v>
                </c:pt>
                <c:pt idx="4683">
                  <c:v>4.6829999999999998</c:v>
                </c:pt>
                <c:pt idx="4684">
                  <c:v>4.6840000000000002</c:v>
                </c:pt>
                <c:pt idx="4685">
                  <c:v>4.6849999999999996</c:v>
                </c:pt>
                <c:pt idx="4686">
                  <c:v>4.6859999999999999</c:v>
                </c:pt>
                <c:pt idx="4687">
                  <c:v>4.6870000000000003</c:v>
                </c:pt>
                <c:pt idx="4688">
                  <c:v>4.6879999999999997</c:v>
                </c:pt>
                <c:pt idx="4689">
                  <c:v>4.6890000000000001</c:v>
                </c:pt>
                <c:pt idx="4690">
                  <c:v>4.6900000000000004</c:v>
                </c:pt>
                <c:pt idx="4691">
                  <c:v>4.6909999999999998</c:v>
                </c:pt>
                <c:pt idx="4692">
                  <c:v>4.6920000000000002</c:v>
                </c:pt>
                <c:pt idx="4693">
                  <c:v>4.6929999999999996</c:v>
                </c:pt>
                <c:pt idx="4694">
                  <c:v>4.694</c:v>
                </c:pt>
                <c:pt idx="4695">
                  <c:v>4.6950000000000003</c:v>
                </c:pt>
                <c:pt idx="4696">
                  <c:v>4.6959999999999997</c:v>
                </c:pt>
                <c:pt idx="4697">
                  <c:v>4.6970000000000001</c:v>
                </c:pt>
                <c:pt idx="4698">
                  <c:v>4.6980000000000004</c:v>
                </c:pt>
                <c:pt idx="4699">
                  <c:v>4.6989999999999998</c:v>
                </c:pt>
                <c:pt idx="4700">
                  <c:v>4.7</c:v>
                </c:pt>
                <c:pt idx="4701">
                  <c:v>4.7009999999999996</c:v>
                </c:pt>
                <c:pt idx="4702">
                  <c:v>4.702</c:v>
                </c:pt>
                <c:pt idx="4703">
                  <c:v>4.7030000000000003</c:v>
                </c:pt>
                <c:pt idx="4704">
                  <c:v>4.7039999999999997</c:v>
                </c:pt>
                <c:pt idx="4705">
                  <c:v>4.7050000000000001</c:v>
                </c:pt>
                <c:pt idx="4706">
                  <c:v>4.7060000000000004</c:v>
                </c:pt>
                <c:pt idx="4707">
                  <c:v>4.7069999999999999</c:v>
                </c:pt>
                <c:pt idx="4708">
                  <c:v>4.7080000000000002</c:v>
                </c:pt>
                <c:pt idx="4709">
                  <c:v>4.7089999999999996</c:v>
                </c:pt>
                <c:pt idx="4710">
                  <c:v>4.71</c:v>
                </c:pt>
                <c:pt idx="4711">
                  <c:v>4.7110000000000003</c:v>
                </c:pt>
                <c:pt idx="4712">
                  <c:v>4.7119999999999997</c:v>
                </c:pt>
                <c:pt idx="4713">
                  <c:v>4.7130000000000001</c:v>
                </c:pt>
                <c:pt idx="4714">
                  <c:v>4.7140000000000004</c:v>
                </c:pt>
                <c:pt idx="4715">
                  <c:v>4.7149999999999999</c:v>
                </c:pt>
                <c:pt idx="4716">
                  <c:v>4.7160000000000002</c:v>
                </c:pt>
                <c:pt idx="4717">
                  <c:v>4.7169999999999996</c:v>
                </c:pt>
                <c:pt idx="4718">
                  <c:v>4.718</c:v>
                </c:pt>
                <c:pt idx="4719">
                  <c:v>4.7190000000000003</c:v>
                </c:pt>
                <c:pt idx="4720">
                  <c:v>4.72</c:v>
                </c:pt>
                <c:pt idx="4721">
                  <c:v>4.7210000000000001</c:v>
                </c:pt>
                <c:pt idx="4722">
                  <c:v>4.7220000000000004</c:v>
                </c:pt>
                <c:pt idx="4723">
                  <c:v>4.7229999999999999</c:v>
                </c:pt>
                <c:pt idx="4724">
                  <c:v>4.7240000000000002</c:v>
                </c:pt>
                <c:pt idx="4725">
                  <c:v>4.7249999999999996</c:v>
                </c:pt>
                <c:pt idx="4726">
                  <c:v>4.726</c:v>
                </c:pt>
                <c:pt idx="4727">
                  <c:v>4.7270000000000003</c:v>
                </c:pt>
                <c:pt idx="4728">
                  <c:v>4.7279999999999998</c:v>
                </c:pt>
                <c:pt idx="4729">
                  <c:v>4.7290000000000001</c:v>
                </c:pt>
                <c:pt idx="4730">
                  <c:v>4.7300000000000004</c:v>
                </c:pt>
                <c:pt idx="4731">
                  <c:v>4.7309999999999999</c:v>
                </c:pt>
                <c:pt idx="4732">
                  <c:v>4.7320000000000002</c:v>
                </c:pt>
                <c:pt idx="4733">
                  <c:v>4.7329999999999997</c:v>
                </c:pt>
                <c:pt idx="4734">
                  <c:v>4.734</c:v>
                </c:pt>
                <c:pt idx="4735">
                  <c:v>4.7350000000000003</c:v>
                </c:pt>
                <c:pt idx="4736">
                  <c:v>4.7359999999999998</c:v>
                </c:pt>
                <c:pt idx="4737">
                  <c:v>4.7370000000000001</c:v>
                </c:pt>
                <c:pt idx="4738">
                  <c:v>4.7380000000000004</c:v>
                </c:pt>
                <c:pt idx="4739">
                  <c:v>4.7389999999999999</c:v>
                </c:pt>
                <c:pt idx="4740">
                  <c:v>4.74</c:v>
                </c:pt>
                <c:pt idx="4741">
                  <c:v>4.7409999999999997</c:v>
                </c:pt>
                <c:pt idx="4742">
                  <c:v>4.742</c:v>
                </c:pt>
                <c:pt idx="4743">
                  <c:v>4.7430000000000003</c:v>
                </c:pt>
                <c:pt idx="4744">
                  <c:v>4.7439999999999998</c:v>
                </c:pt>
                <c:pt idx="4745">
                  <c:v>4.7450000000000001</c:v>
                </c:pt>
                <c:pt idx="4746">
                  <c:v>4.7460000000000004</c:v>
                </c:pt>
                <c:pt idx="4747">
                  <c:v>4.7469999999999999</c:v>
                </c:pt>
                <c:pt idx="4748">
                  <c:v>4.7480000000000002</c:v>
                </c:pt>
                <c:pt idx="4749">
                  <c:v>4.7489999999999997</c:v>
                </c:pt>
                <c:pt idx="4750">
                  <c:v>4.75</c:v>
                </c:pt>
                <c:pt idx="4751">
                  <c:v>4.7510000000000003</c:v>
                </c:pt>
                <c:pt idx="4752">
                  <c:v>4.7519999999999998</c:v>
                </c:pt>
                <c:pt idx="4753">
                  <c:v>4.7530000000000001</c:v>
                </c:pt>
                <c:pt idx="4754">
                  <c:v>4.7539999999999996</c:v>
                </c:pt>
                <c:pt idx="4755">
                  <c:v>4.7549999999999999</c:v>
                </c:pt>
                <c:pt idx="4756">
                  <c:v>4.7560000000000002</c:v>
                </c:pt>
                <c:pt idx="4757">
                  <c:v>4.7569999999999997</c:v>
                </c:pt>
                <c:pt idx="4758">
                  <c:v>4.758</c:v>
                </c:pt>
                <c:pt idx="4759">
                  <c:v>4.7590000000000003</c:v>
                </c:pt>
                <c:pt idx="4760">
                  <c:v>4.76</c:v>
                </c:pt>
                <c:pt idx="4761">
                  <c:v>4.7610000000000001</c:v>
                </c:pt>
                <c:pt idx="4762">
                  <c:v>4.7619999999999996</c:v>
                </c:pt>
                <c:pt idx="4763">
                  <c:v>4.7629999999999999</c:v>
                </c:pt>
                <c:pt idx="4764">
                  <c:v>4.7640000000000002</c:v>
                </c:pt>
                <c:pt idx="4765">
                  <c:v>4.7649999999999997</c:v>
                </c:pt>
                <c:pt idx="4766">
                  <c:v>4.766</c:v>
                </c:pt>
                <c:pt idx="4767">
                  <c:v>4.7670000000000003</c:v>
                </c:pt>
                <c:pt idx="4768">
                  <c:v>4.7679999999999998</c:v>
                </c:pt>
                <c:pt idx="4769">
                  <c:v>4.7690000000000001</c:v>
                </c:pt>
                <c:pt idx="4770">
                  <c:v>4.7699999999999996</c:v>
                </c:pt>
                <c:pt idx="4771">
                  <c:v>4.7709999999999999</c:v>
                </c:pt>
                <c:pt idx="4772">
                  <c:v>4.7720000000000002</c:v>
                </c:pt>
                <c:pt idx="4773">
                  <c:v>4.7729999999999997</c:v>
                </c:pt>
                <c:pt idx="4774">
                  <c:v>4.774</c:v>
                </c:pt>
                <c:pt idx="4775">
                  <c:v>4.7750000000000004</c:v>
                </c:pt>
                <c:pt idx="4776">
                  <c:v>4.7759999999999998</c:v>
                </c:pt>
                <c:pt idx="4777">
                  <c:v>4.7770000000000001</c:v>
                </c:pt>
                <c:pt idx="4778">
                  <c:v>4.7779999999999996</c:v>
                </c:pt>
                <c:pt idx="4779">
                  <c:v>4.7789999999999999</c:v>
                </c:pt>
                <c:pt idx="4780">
                  <c:v>4.78</c:v>
                </c:pt>
                <c:pt idx="4781">
                  <c:v>4.7809999999999997</c:v>
                </c:pt>
                <c:pt idx="4782">
                  <c:v>4.782</c:v>
                </c:pt>
                <c:pt idx="4783">
                  <c:v>4.7830000000000004</c:v>
                </c:pt>
                <c:pt idx="4784">
                  <c:v>4.7839999999999998</c:v>
                </c:pt>
                <c:pt idx="4785">
                  <c:v>4.7850000000000001</c:v>
                </c:pt>
                <c:pt idx="4786">
                  <c:v>4.7859999999999996</c:v>
                </c:pt>
                <c:pt idx="4787">
                  <c:v>4.7869999999999999</c:v>
                </c:pt>
                <c:pt idx="4788">
                  <c:v>4.7880000000000003</c:v>
                </c:pt>
                <c:pt idx="4789">
                  <c:v>4.7889999999999997</c:v>
                </c:pt>
                <c:pt idx="4790">
                  <c:v>4.79</c:v>
                </c:pt>
                <c:pt idx="4791">
                  <c:v>4.7910000000000004</c:v>
                </c:pt>
                <c:pt idx="4792">
                  <c:v>4.7919999999999998</c:v>
                </c:pt>
                <c:pt idx="4793">
                  <c:v>4.7930000000000001</c:v>
                </c:pt>
                <c:pt idx="4794">
                  <c:v>4.7939999999999996</c:v>
                </c:pt>
                <c:pt idx="4795">
                  <c:v>4.7949999999999999</c:v>
                </c:pt>
                <c:pt idx="4796">
                  <c:v>4.7960000000000003</c:v>
                </c:pt>
                <c:pt idx="4797">
                  <c:v>4.7969999999999997</c:v>
                </c:pt>
                <c:pt idx="4798">
                  <c:v>4.798</c:v>
                </c:pt>
                <c:pt idx="4799">
                  <c:v>4.7990000000000004</c:v>
                </c:pt>
                <c:pt idx="4800">
                  <c:v>4.8</c:v>
                </c:pt>
                <c:pt idx="4801">
                  <c:v>4.8010000000000002</c:v>
                </c:pt>
                <c:pt idx="4802">
                  <c:v>4.8019999999999996</c:v>
                </c:pt>
                <c:pt idx="4803">
                  <c:v>4.8029999999999999</c:v>
                </c:pt>
                <c:pt idx="4804">
                  <c:v>4.8040000000000003</c:v>
                </c:pt>
                <c:pt idx="4805">
                  <c:v>4.8049999999999997</c:v>
                </c:pt>
                <c:pt idx="4806">
                  <c:v>4.806</c:v>
                </c:pt>
                <c:pt idx="4807">
                  <c:v>4.8070000000000004</c:v>
                </c:pt>
                <c:pt idx="4808">
                  <c:v>4.8079999999999998</c:v>
                </c:pt>
                <c:pt idx="4809">
                  <c:v>4.8090000000000002</c:v>
                </c:pt>
                <c:pt idx="4810">
                  <c:v>4.8099999999999996</c:v>
                </c:pt>
                <c:pt idx="4811">
                  <c:v>4.8109999999999999</c:v>
                </c:pt>
                <c:pt idx="4812">
                  <c:v>4.8120000000000003</c:v>
                </c:pt>
                <c:pt idx="4813">
                  <c:v>4.8129999999999997</c:v>
                </c:pt>
                <c:pt idx="4814">
                  <c:v>4.8140000000000001</c:v>
                </c:pt>
                <c:pt idx="4815">
                  <c:v>4.8150000000000004</c:v>
                </c:pt>
                <c:pt idx="4816">
                  <c:v>4.8159999999999998</c:v>
                </c:pt>
                <c:pt idx="4817">
                  <c:v>4.8170000000000002</c:v>
                </c:pt>
                <c:pt idx="4818">
                  <c:v>4.8179999999999996</c:v>
                </c:pt>
                <c:pt idx="4819">
                  <c:v>4.819</c:v>
                </c:pt>
                <c:pt idx="4820">
                  <c:v>4.82</c:v>
                </c:pt>
                <c:pt idx="4821">
                  <c:v>4.8209999999999997</c:v>
                </c:pt>
                <c:pt idx="4822">
                  <c:v>4.8220000000000001</c:v>
                </c:pt>
                <c:pt idx="4823">
                  <c:v>4.8230000000000004</c:v>
                </c:pt>
                <c:pt idx="4824">
                  <c:v>4.8239999999999998</c:v>
                </c:pt>
                <c:pt idx="4825">
                  <c:v>4.8250000000000002</c:v>
                </c:pt>
                <c:pt idx="4826">
                  <c:v>4.8259999999999996</c:v>
                </c:pt>
                <c:pt idx="4827">
                  <c:v>4.827</c:v>
                </c:pt>
                <c:pt idx="4828">
                  <c:v>4.8280000000000003</c:v>
                </c:pt>
                <c:pt idx="4829">
                  <c:v>4.8289999999999997</c:v>
                </c:pt>
                <c:pt idx="4830">
                  <c:v>4.83</c:v>
                </c:pt>
                <c:pt idx="4831">
                  <c:v>4.8310000000000004</c:v>
                </c:pt>
                <c:pt idx="4832">
                  <c:v>4.8319999999999999</c:v>
                </c:pt>
                <c:pt idx="4833">
                  <c:v>4.8330000000000002</c:v>
                </c:pt>
                <c:pt idx="4834">
                  <c:v>4.8339999999999996</c:v>
                </c:pt>
                <c:pt idx="4835">
                  <c:v>4.835</c:v>
                </c:pt>
                <c:pt idx="4836">
                  <c:v>4.8360000000000003</c:v>
                </c:pt>
                <c:pt idx="4837">
                  <c:v>4.8369999999999997</c:v>
                </c:pt>
                <c:pt idx="4838">
                  <c:v>4.8380000000000001</c:v>
                </c:pt>
                <c:pt idx="4839">
                  <c:v>4.8390000000000004</c:v>
                </c:pt>
                <c:pt idx="4840">
                  <c:v>4.84</c:v>
                </c:pt>
                <c:pt idx="4841">
                  <c:v>4.8410000000000002</c:v>
                </c:pt>
                <c:pt idx="4842">
                  <c:v>4.8419999999999996</c:v>
                </c:pt>
                <c:pt idx="4843">
                  <c:v>4.843</c:v>
                </c:pt>
                <c:pt idx="4844">
                  <c:v>4.8440000000000003</c:v>
                </c:pt>
                <c:pt idx="4845">
                  <c:v>4.8449999999999998</c:v>
                </c:pt>
                <c:pt idx="4846">
                  <c:v>4.8460000000000001</c:v>
                </c:pt>
                <c:pt idx="4847">
                  <c:v>4.8470000000000004</c:v>
                </c:pt>
                <c:pt idx="4848">
                  <c:v>4.8479999999999999</c:v>
                </c:pt>
                <c:pt idx="4849">
                  <c:v>4.8490000000000002</c:v>
                </c:pt>
                <c:pt idx="4850">
                  <c:v>4.8499999999999996</c:v>
                </c:pt>
                <c:pt idx="4851">
                  <c:v>4.851</c:v>
                </c:pt>
                <c:pt idx="4852">
                  <c:v>4.8520000000000003</c:v>
                </c:pt>
                <c:pt idx="4853">
                  <c:v>4.8529999999999998</c:v>
                </c:pt>
                <c:pt idx="4854">
                  <c:v>4.8540000000000001</c:v>
                </c:pt>
                <c:pt idx="4855">
                  <c:v>4.8550000000000004</c:v>
                </c:pt>
                <c:pt idx="4856">
                  <c:v>4.8559999999999999</c:v>
                </c:pt>
                <c:pt idx="4857">
                  <c:v>4.8570000000000002</c:v>
                </c:pt>
                <c:pt idx="4858">
                  <c:v>4.8579999999999997</c:v>
                </c:pt>
                <c:pt idx="4859">
                  <c:v>4.859</c:v>
                </c:pt>
                <c:pt idx="4860">
                  <c:v>4.8600000000000003</c:v>
                </c:pt>
                <c:pt idx="4861">
                  <c:v>4.8609999999999998</c:v>
                </c:pt>
                <c:pt idx="4862">
                  <c:v>4.8620000000000001</c:v>
                </c:pt>
                <c:pt idx="4863">
                  <c:v>4.8630000000000004</c:v>
                </c:pt>
                <c:pt idx="4864">
                  <c:v>4.8639999999999999</c:v>
                </c:pt>
                <c:pt idx="4865">
                  <c:v>4.8650000000000002</c:v>
                </c:pt>
                <c:pt idx="4866">
                  <c:v>4.8659999999999997</c:v>
                </c:pt>
                <c:pt idx="4867">
                  <c:v>4.867</c:v>
                </c:pt>
                <c:pt idx="4868">
                  <c:v>4.8680000000000003</c:v>
                </c:pt>
                <c:pt idx="4869">
                  <c:v>4.8689999999999998</c:v>
                </c:pt>
                <c:pt idx="4870">
                  <c:v>4.87</c:v>
                </c:pt>
                <c:pt idx="4871">
                  <c:v>4.8710000000000004</c:v>
                </c:pt>
                <c:pt idx="4872">
                  <c:v>4.8719999999999999</c:v>
                </c:pt>
                <c:pt idx="4873">
                  <c:v>4.8730000000000002</c:v>
                </c:pt>
                <c:pt idx="4874">
                  <c:v>4.8739999999999997</c:v>
                </c:pt>
                <c:pt idx="4875">
                  <c:v>4.875</c:v>
                </c:pt>
                <c:pt idx="4876">
                  <c:v>4.8760000000000003</c:v>
                </c:pt>
                <c:pt idx="4877">
                  <c:v>4.8769999999999998</c:v>
                </c:pt>
                <c:pt idx="4878">
                  <c:v>4.8780000000000001</c:v>
                </c:pt>
                <c:pt idx="4879">
                  <c:v>4.8789999999999996</c:v>
                </c:pt>
                <c:pt idx="4880">
                  <c:v>4.88</c:v>
                </c:pt>
                <c:pt idx="4881">
                  <c:v>4.8810000000000002</c:v>
                </c:pt>
                <c:pt idx="4882">
                  <c:v>4.8819999999999997</c:v>
                </c:pt>
                <c:pt idx="4883">
                  <c:v>4.883</c:v>
                </c:pt>
                <c:pt idx="4884">
                  <c:v>4.8840000000000003</c:v>
                </c:pt>
                <c:pt idx="4885">
                  <c:v>4.8849999999999998</c:v>
                </c:pt>
                <c:pt idx="4886">
                  <c:v>4.8860000000000001</c:v>
                </c:pt>
                <c:pt idx="4887">
                  <c:v>4.8869999999999996</c:v>
                </c:pt>
                <c:pt idx="4888">
                  <c:v>4.8879999999999999</c:v>
                </c:pt>
                <c:pt idx="4889">
                  <c:v>4.8890000000000002</c:v>
                </c:pt>
                <c:pt idx="4890">
                  <c:v>4.8899999999999997</c:v>
                </c:pt>
                <c:pt idx="4891">
                  <c:v>4.891</c:v>
                </c:pt>
                <c:pt idx="4892">
                  <c:v>4.8920000000000003</c:v>
                </c:pt>
                <c:pt idx="4893">
                  <c:v>4.8929999999999998</c:v>
                </c:pt>
                <c:pt idx="4894">
                  <c:v>4.8940000000000001</c:v>
                </c:pt>
                <c:pt idx="4895">
                  <c:v>4.8949999999999996</c:v>
                </c:pt>
                <c:pt idx="4896">
                  <c:v>4.8959999999999999</c:v>
                </c:pt>
                <c:pt idx="4897">
                  <c:v>4.8970000000000002</c:v>
                </c:pt>
                <c:pt idx="4898">
                  <c:v>4.8979999999999997</c:v>
                </c:pt>
                <c:pt idx="4899">
                  <c:v>4.899</c:v>
                </c:pt>
                <c:pt idx="4900">
                  <c:v>4.9000000000000004</c:v>
                </c:pt>
                <c:pt idx="4901">
                  <c:v>4.9009999999999998</c:v>
                </c:pt>
                <c:pt idx="4902">
                  <c:v>4.9020000000000001</c:v>
                </c:pt>
                <c:pt idx="4903">
                  <c:v>4.9029999999999996</c:v>
                </c:pt>
                <c:pt idx="4904">
                  <c:v>4.9039999999999999</c:v>
                </c:pt>
                <c:pt idx="4905">
                  <c:v>4.9050000000000002</c:v>
                </c:pt>
                <c:pt idx="4906">
                  <c:v>4.9059999999999997</c:v>
                </c:pt>
                <c:pt idx="4907">
                  <c:v>4.907</c:v>
                </c:pt>
                <c:pt idx="4908">
                  <c:v>4.9080000000000004</c:v>
                </c:pt>
                <c:pt idx="4909">
                  <c:v>4.9089999999999998</c:v>
                </c:pt>
                <c:pt idx="4910">
                  <c:v>4.91</c:v>
                </c:pt>
                <c:pt idx="4911">
                  <c:v>4.9109999999999996</c:v>
                </c:pt>
                <c:pt idx="4912">
                  <c:v>4.9119999999999999</c:v>
                </c:pt>
                <c:pt idx="4913">
                  <c:v>4.9130000000000003</c:v>
                </c:pt>
                <c:pt idx="4914">
                  <c:v>4.9139999999999997</c:v>
                </c:pt>
                <c:pt idx="4915">
                  <c:v>4.915</c:v>
                </c:pt>
                <c:pt idx="4916">
                  <c:v>4.9160000000000004</c:v>
                </c:pt>
                <c:pt idx="4917">
                  <c:v>4.9169999999999998</c:v>
                </c:pt>
                <c:pt idx="4918">
                  <c:v>4.9180000000000001</c:v>
                </c:pt>
                <c:pt idx="4919">
                  <c:v>4.9189999999999996</c:v>
                </c:pt>
                <c:pt idx="4920">
                  <c:v>4.92</c:v>
                </c:pt>
                <c:pt idx="4921">
                  <c:v>4.9210000000000003</c:v>
                </c:pt>
                <c:pt idx="4922">
                  <c:v>4.9219999999999997</c:v>
                </c:pt>
                <c:pt idx="4923">
                  <c:v>4.923</c:v>
                </c:pt>
                <c:pt idx="4924">
                  <c:v>4.9240000000000004</c:v>
                </c:pt>
                <c:pt idx="4925">
                  <c:v>4.9249999999999998</c:v>
                </c:pt>
                <c:pt idx="4926">
                  <c:v>4.9260000000000002</c:v>
                </c:pt>
                <c:pt idx="4927">
                  <c:v>4.9269999999999996</c:v>
                </c:pt>
                <c:pt idx="4928">
                  <c:v>4.9279999999999999</c:v>
                </c:pt>
                <c:pt idx="4929">
                  <c:v>4.9290000000000003</c:v>
                </c:pt>
                <c:pt idx="4930">
                  <c:v>4.93</c:v>
                </c:pt>
                <c:pt idx="4931">
                  <c:v>4.931</c:v>
                </c:pt>
                <c:pt idx="4932">
                  <c:v>4.9320000000000004</c:v>
                </c:pt>
                <c:pt idx="4933">
                  <c:v>4.9329999999999998</c:v>
                </c:pt>
                <c:pt idx="4934">
                  <c:v>4.9340000000000002</c:v>
                </c:pt>
                <c:pt idx="4935">
                  <c:v>4.9349999999999996</c:v>
                </c:pt>
                <c:pt idx="4936">
                  <c:v>4.9359999999999999</c:v>
                </c:pt>
                <c:pt idx="4937">
                  <c:v>4.9370000000000003</c:v>
                </c:pt>
                <c:pt idx="4938">
                  <c:v>4.9379999999999997</c:v>
                </c:pt>
                <c:pt idx="4939">
                  <c:v>4.9390000000000001</c:v>
                </c:pt>
                <c:pt idx="4940">
                  <c:v>4.9400000000000004</c:v>
                </c:pt>
                <c:pt idx="4941">
                  <c:v>4.9409999999999998</c:v>
                </c:pt>
                <c:pt idx="4942">
                  <c:v>4.9420000000000002</c:v>
                </c:pt>
                <c:pt idx="4943">
                  <c:v>4.9429999999999996</c:v>
                </c:pt>
                <c:pt idx="4944">
                  <c:v>4.944</c:v>
                </c:pt>
                <c:pt idx="4945">
                  <c:v>4.9450000000000003</c:v>
                </c:pt>
                <c:pt idx="4946">
                  <c:v>4.9459999999999997</c:v>
                </c:pt>
                <c:pt idx="4947">
                  <c:v>4.9470000000000001</c:v>
                </c:pt>
                <c:pt idx="4948">
                  <c:v>4.9480000000000004</c:v>
                </c:pt>
                <c:pt idx="4949">
                  <c:v>4.9489999999999998</c:v>
                </c:pt>
                <c:pt idx="4950">
                  <c:v>4.95</c:v>
                </c:pt>
                <c:pt idx="4951">
                  <c:v>4.9509999999999996</c:v>
                </c:pt>
                <c:pt idx="4952">
                  <c:v>4.952</c:v>
                </c:pt>
                <c:pt idx="4953">
                  <c:v>4.9530000000000003</c:v>
                </c:pt>
                <c:pt idx="4954">
                  <c:v>4.9539999999999997</c:v>
                </c:pt>
                <c:pt idx="4955">
                  <c:v>4.9550000000000001</c:v>
                </c:pt>
                <c:pt idx="4956">
                  <c:v>4.9560000000000004</c:v>
                </c:pt>
                <c:pt idx="4957">
                  <c:v>4.9569999999999999</c:v>
                </c:pt>
                <c:pt idx="4958">
                  <c:v>4.9580000000000002</c:v>
                </c:pt>
                <c:pt idx="4959">
                  <c:v>4.9589999999999996</c:v>
                </c:pt>
                <c:pt idx="4960">
                  <c:v>4.96</c:v>
                </c:pt>
                <c:pt idx="4961">
                  <c:v>4.9610000000000003</c:v>
                </c:pt>
                <c:pt idx="4962">
                  <c:v>4.9619999999999997</c:v>
                </c:pt>
                <c:pt idx="4963">
                  <c:v>4.9630000000000001</c:v>
                </c:pt>
                <c:pt idx="4964">
                  <c:v>4.9640000000000004</c:v>
                </c:pt>
                <c:pt idx="4965">
                  <c:v>4.9649999999999999</c:v>
                </c:pt>
                <c:pt idx="4966">
                  <c:v>4.9660000000000002</c:v>
                </c:pt>
                <c:pt idx="4967">
                  <c:v>4.9669999999999996</c:v>
                </c:pt>
                <c:pt idx="4968">
                  <c:v>4.968</c:v>
                </c:pt>
                <c:pt idx="4969">
                  <c:v>4.9690000000000003</c:v>
                </c:pt>
                <c:pt idx="4970">
                  <c:v>4.97</c:v>
                </c:pt>
                <c:pt idx="4971">
                  <c:v>4.9710000000000001</c:v>
                </c:pt>
                <c:pt idx="4972">
                  <c:v>4.9720000000000004</c:v>
                </c:pt>
                <c:pt idx="4973">
                  <c:v>4.9729999999999999</c:v>
                </c:pt>
                <c:pt idx="4974">
                  <c:v>4.9740000000000002</c:v>
                </c:pt>
                <c:pt idx="4975">
                  <c:v>4.9749999999999996</c:v>
                </c:pt>
                <c:pt idx="4976">
                  <c:v>4.976</c:v>
                </c:pt>
                <c:pt idx="4977">
                  <c:v>4.9770000000000003</c:v>
                </c:pt>
                <c:pt idx="4978">
                  <c:v>4.9779999999999998</c:v>
                </c:pt>
                <c:pt idx="4979">
                  <c:v>4.9790000000000001</c:v>
                </c:pt>
                <c:pt idx="4980">
                  <c:v>4.9800000000000004</c:v>
                </c:pt>
                <c:pt idx="4981">
                  <c:v>4.9809999999999999</c:v>
                </c:pt>
                <c:pt idx="4982">
                  <c:v>4.9820000000000002</c:v>
                </c:pt>
                <c:pt idx="4983">
                  <c:v>4.9829999999999997</c:v>
                </c:pt>
                <c:pt idx="4984">
                  <c:v>4.984</c:v>
                </c:pt>
                <c:pt idx="4985">
                  <c:v>4.9850000000000003</c:v>
                </c:pt>
                <c:pt idx="4986">
                  <c:v>4.9859999999999998</c:v>
                </c:pt>
                <c:pt idx="4987">
                  <c:v>4.9870000000000001</c:v>
                </c:pt>
                <c:pt idx="4988">
                  <c:v>4.9880000000000004</c:v>
                </c:pt>
                <c:pt idx="4989">
                  <c:v>4.9889999999999999</c:v>
                </c:pt>
                <c:pt idx="4990">
                  <c:v>4.99</c:v>
                </c:pt>
                <c:pt idx="4991">
                  <c:v>4.9909999999999997</c:v>
                </c:pt>
                <c:pt idx="4992">
                  <c:v>4.992</c:v>
                </c:pt>
                <c:pt idx="4993">
                  <c:v>4.9930000000000003</c:v>
                </c:pt>
                <c:pt idx="4994">
                  <c:v>4.9939999999999998</c:v>
                </c:pt>
                <c:pt idx="4995">
                  <c:v>4.9950000000000001</c:v>
                </c:pt>
                <c:pt idx="4996">
                  <c:v>4.9960000000000004</c:v>
                </c:pt>
                <c:pt idx="4997">
                  <c:v>4.9969999999999999</c:v>
                </c:pt>
                <c:pt idx="4998">
                  <c:v>4.9980000000000002</c:v>
                </c:pt>
                <c:pt idx="4999">
                  <c:v>4.9989999999999997</c:v>
                </c:pt>
              </c:numCache>
            </c:numRef>
          </c:xVal>
          <c:yVal>
            <c:numRef>
              <c:f>'4-Pin vs 3-Pin waveform'!$T$3:$T$5002</c:f>
              <c:numCache>
                <c:formatCode>General</c:formatCode>
                <c:ptCount val="5000"/>
                <c:pt idx="0">
                  <c:v>0.28699999999999998</c:v>
                </c:pt>
                <c:pt idx="1">
                  <c:v>0.47799999999999998</c:v>
                </c:pt>
                <c:pt idx="2">
                  <c:v>0.38200000000000001</c:v>
                </c:pt>
                <c:pt idx="3">
                  <c:v>0.28699999999999998</c:v>
                </c:pt>
                <c:pt idx="4">
                  <c:v>0.57599999999999996</c:v>
                </c:pt>
                <c:pt idx="5">
                  <c:v>0.38200000000000001</c:v>
                </c:pt>
                <c:pt idx="6">
                  <c:v>0.191</c:v>
                </c:pt>
                <c:pt idx="7">
                  <c:v>0.38200000000000001</c:v>
                </c:pt>
                <c:pt idx="8">
                  <c:v>0.47799999999999998</c:v>
                </c:pt>
                <c:pt idx="9">
                  <c:v>0.191</c:v>
                </c:pt>
                <c:pt idx="10">
                  <c:v>0.86299999999999999</c:v>
                </c:pt>
                <c:pt idx="11">
                  <c:v>-2E-3</c:v>
                </c:pt>
                <c:pt idx="12">
                  <c:v>0.67100000000000004</c:v>
                </c:pt>
                <c:pt idx="13">
                  <c:v>0.191</c:v>
                </c:pt>
                <c:pt idx="14">
                  <c:v>0.28699999999999998</c:v>
                </c:pt>
                <c:pt idx="15">
                  <c:v>-9.7000000000000003E-2</c:v>
                </c:pt>
                <c:pt idx="16">
                  <c:v>-2E-3</c:v>
                </c:pt>
                <c:pt idx="17">
                  <c:v>0.191</c:v>
                </c:pt>
                <c:pt idx="18">
                  <c:v>9.6000000000000002E-2</c:v>
                </c:pt>
                <c:pt idx="19">
                  <c:v>-0.193</c:v>
                </c:pt>
                <c:pt idx="20">
                  <c:v>-2E-3</c:v>
                </c:pt>
                <c:pt idx="21">
                  <c:v>0.38200000000000001</c:v>
                </c:pt>
                <c:pt idx="22">
                  <c:v>0.28699999999999998</c:v>
                </c:pt>
                <c:pt idx="23">
                  <c:v>0.38200000000000001</c:v>
                </c:pt>
                <c:pt idx="24">
                  <c:v>0.47799999999999998</c:v>
                </c:pt>
                <c:pt idx="25">
                  <c:v>0.38200000000000001</c:v>
                </c:pt>
                <c:pt idx="26">
                  <c:v>9.6000000000000002E-2</c:v>
                </c:pt>
                <c:pt idx="27">
                  <c:v>0.28699999999999998</c:v>
                </c:pt>
                <c:pt idx="28">
                  <c:v>0.57599999999999996</c:v>
                </c:pt>
                <c:pt idx="29">
                  <c:v>0.47799999999999998</c:v>
                </c:pt>
                <c:pt idx="30">
                  <c:v>-9.7000000000000003E-2</c:v>
                </c:pt>
                <c:pt idx="31">
                  <c:v>0.191</c:v>
                </c:pt>
                <c:pt idx="32">
                  <c:v>0.47799999999999998</c:v>
                </c:pt>
                <c:pt idx="33">
                  <c:v>0.67100000000000004</c:v>
                </c:pt>
                <c:pt idx="34">
                  <c:v>0.47799999999999998</c:v>
                </c:pt>
                <c:pt idx="35">
                  <c:v>0.38200000000000001</c:v>
                </c:pt>
                <c:pt idx="36">
                  <c:v>9.6000000000000002E-2</c:v>
                </c:pt>
                <c:pt idx="37">
                  <c:v>0.57599999999999996</c:v>
                </c:pt>
                <c:pt idx="38">
                  <c:v>0.47799999999999998</c:v>
                </c:pt>
                <c:pt idx="39">
                  <c:v>0.47799999999999998</c:v>
                </c:pt>
                <c:pt idx="40">
                  <c:v>9.6000000000000002E-2</c:v>
                </c:pt>
                <c:pt idx="41">
                  <c:v>0.67100000000000004</c:v>
                </c:pt>
                <c:pt idx="42">
                  <c:v>9.6000000000000002E-2</c:v>
                </c:pt>
                <c:pt idx="43">
                  <c:v>0.38200000000000001</c:v>
                </c:pt>
                <c:pt idx="44">
                  <c:v>0.191</c:v>
                </c:pt>
                <c:pt idx="45">
                  <c:v>0.47799999999999998</c:v>
                </c:pt>
                <c:pt idx="46">
                  <c:v>0.47799999999999998</c:v>
                </c:pt>
                <c:pt idx="47">
                  <c:v>9.6000000000000002E-2</c:v>
                </c:pt>
                <c:pt idx="48">
                  <c:v>0.28699999999999998</c:v>
                </c:pt>
                <c:pt idx="49">
                  <c:v>0.76700000000000002</c:v>
                </c:pt>
                <c:pt idx="50">
                  <c:v>0.38200000000000001</c:v>
                </c:pt>
                <c:pt idx="51">
                  <c:v>0.28699999999999998</c:v>
                </c:pt>
                <c:pt idx="52">
                  <c:v>-2E-3</c:v>
                </c:pt>
                <c:pt idx="53">
                  <c:v>0.95799999999999996</c:v>
                </c:pt>
                <c:pt idx="54">
                  <c:v>9.6000000000000002E-2</c:v>
                </c:pt>
                <c:pt idx="55">
                  <c:v>0.38200000000000001</c:v>
                </c:pt>
                <c:pt idx="56">
                  <c:v>9.6000000000000002E-2</c:v>
                </c:pt>
                <c:pt idx="57">
                  <c:v>9.6000000000000002E-2</c:v>
                </c:pt>
                <c:pt idx="58">
                  <c:v>0.57599999999999996</c:v>
                </c:pt>
                <c:pt idx="59">
                  <c:v>0.57599999999999996</c:v>
                </c:pt>
                <c:pt idx="60">
                  <c:v>0.57599999999999996</c:v>
                </c:pt>
                <c:pt idx="61">
                  <c:v>0.28699999999999998</c:v>
                </c:pt>
                <c:pt idx="62">
                  <c:v>0.28699999999999998</c:v>
                </c:pt>
                <c:pt idx="63">
                  <c:v>-9.7000000000000003E-2</c:v>
                </c:pt>
                <c:pt idx="64">
                  <c:v>0.67100000000000004</c:v>
                </c:pt>
                <c:pt idx="65">
                  <c:v>9.6000000000000002E-2</c:v>
                </c:pt>
                <c:pt idx="66">
                  <c:v>0.191</c:v>
                </c:pt>
                <c:pt idx="67">
                  <c:v>0.191</c:v>
                </c:pt>
                <c:pt idx="68">
                  <c:v>0.57599999999999996</c:v>
                </c:pt>
                <c:pt idx="69">
                  <c:v>0.191</c:v>
                </c:pt>
                <c:pt idx="70">
                  <c:v>0.191</c:v>
                </c:pt>
                <c:pt idx="71">
                  <c:v>0.76700000000000002</c:v>
                </c:pt>
                <c:pt idx="72">
                  <c:v>0.47799999999999998</c:v>
                </c:pt>
                <c:pt idx="73">
                  <c:v>0.38200000000000001</c:v>
                </c:pt>
                <c:pt idx="74">
                  <c:v>0.38200000000000001</c:v>
                </c:pt>
                <c:pt idx="75">
                  <c:v>0.47799999999999998</c:v>
                </c:pt>
                <c:pt idx="76">
                  <c:v>0.28699999999999998</c:v>
                </c:pt>
                <c:pt idx="77">
                  <c:v>0.47799999999999998</c:v>
                </c:pt>
                <c:pt idx="78">
                  <c:v>-2E-3</c:v>
                </c:pt>
                <c:pt idx="79">
                  <c:v>0.47799999999999998</c:v>
                </c:pt>
                <c:pt idx="80">
                  <c:v>0.67100000000000004</c:v>
                </c:pt>
                <c:pt idx="81">
                  <c:v>0.57599999999999996</c:v>
                </c:pt>
                <c:pt idx="82">
                  <c:v>0.191</c:v>
                </c:pt>
                <c:pt idx="83">
                  <c:v>0.191</c:v>
                </c:pt>
                <c:pt idx="84">
                  <c:v>0.38200000000000001</c:v>
                </c:pt>
                <c:pt idx="85">
                  <c:v>0.47799999999999998</c:v>
                </c:pt>
                <c:pt idx="86">
                  <c:v>9.6000000000000002E-2</c:v>
                </c:pt>
                <c:pt idx="87">
                  <c:v>0.38200000000000001</c:v>
                </c:pt>
                <c:pt idx="88">
                  <c:v>0.28699999999999998</c:v>
                </c:pt>
                <c:pt idx="89">
                  <c:v>9.6000000000000002E-2</c:v>
                </c:pt>
                <c:pt idx="90">
                  <c:v>0.47799999999999998</c:v>
                </c:pt>
                <c:pt idx="91">
                  <c:v>-2E-3</c:v>
                </c:pt>
                <c:pt idx="92">
                  <c:v>0.47799999999999998</c:v>
                </c:pt>
                <c:pt idx="93">
                  <c:v>0.57599999999999996</c:v>
                </c:pt>
                <c:pt idx="94">
                  <c:v>0.47799999999999998</c:v>
                </c:pt>
                <c:pt idx="95">
                  <c:v>0.38200000000000001</c:v>
                </c:pt>
                <c:pt idx="96">
                  <c:v>0.28699999999999998</c:v>
                </c:pt>
                <c:pt idx="97">
                  <c:v>9.6000000000000002E-2</c:v>
                </c:pt>
                <c:pt idx="98">
                  <c:v>0.191</c:v>
                </c:pt>
                <c:pt idx="99">
                  <c:v>0.57599999999999996</c:v>
                </c:pt>
                <c:pt idx="100">
                  <c:v>0.47799999999999998</c:v>
                </c:pt>
                <c:pt idx="101">
                  <c:v>0.67100000000000004</c:v>
                </c:pt>
                <c:pt idx="102">
                  <c:v>0.191</c:v>
                </c:pt>
                <c:pt idx="103">
                  <c:v>0.47799999999999998</c:v>
                </c:pt>
                <c:pt idx="104">
                  <c:v>0.28699999999999998</c:v>
                </c:pt>
                <c:pt idx="105">
                  <c:v>0.38200000000000001</c:v>
                </c:pt>
                <c:pt idx="106">
                  <c:v>0.191</c:v>
                </c:pt>
                <c:pt idx="107">
                  <c:v>0.57599999999999996</c:v>
                </c:pt>
                <c:pt idx="108">
                  <c:v>0.28699999999999998</c:v>
                </c:pt>
                <c:pt idx="109">
                  <c:v>0.86299999999999999</c:v>
                </c:pt>
                <c:pt idx="110">
                  <c:v>0.28699999999999998</c:v>
                </c:pt>
                <c:pt idx="111">
                  <c:v>0.38200000000000001</c:v>
                </c:pt>
                <c:pt idx="112">
                  <c:v>9.6000000000000002E-2</c:v>
                </c:pt>
                <c:pt idx="113">
                  <c:v>0.28699999999999998</c:v>
                </c:pt>
                <c:pt idx="114">
                  <c:v>9.6000000000000002E-2</c:v>
                </c:pt>
                <c:pt idx="115">
                  <c:v>0.47799999999999998</c:v>
                </c:pt>
                <c:pt idx="116">
                  <c:v>9.6000000000000002E-2</c:v>
                </c:pt>
                <c:pt idx="117">
                  <c:v>9.6000000000000002E-2</c:v>
                </c:pt>
                <c:pt idx="118">
                  <c:v>0.191</c:v>
                </c:pt>
                <c:pt idx="119">
                  <c:v>9.6000000000000002E-2</c:v>
                </c:pt>
                <c:pt idx="120">
                  <c:v>0.38200000000000001</c:v>
                </c:pt>
                <c:pt idx="121">
                  <c:v>0.57599999999999996</c:v>
                </c:pt>
                <c:pt idx="122">
                  <c:v>0.47799999999999998</c:v>
                </c:pt>
                <c:pt idx="123">
                  <c:v>0.191</c:v>
                </c:pt>
                <c:pt idx="124">
                  <c:v>9.6000000000000002E-2</c:v>
                </c:pt>
                <c:pt idx="125">
                  <c:v>0.38200000000000001</c:v>
                </c:pt>
                <c:pt idx="126">
                  <c:v>0.28699999999999998</c:v>
                </c:pt>
                <c:pt idx="127">
                  <c:v>0.38200000000000001</c:v>
                </c:pt>
                <c:pt idx="128">
                  <c:v>-2E-3</c:v>
                </c:pt>
                <c:pt idx="129">
                  <c:v>9.6000000000000002E-2</c:v>
                </c:pt>
                <c:pt idx="130">
                  <c:v>0.191</c:v>
                </c:pt>
                <c:pt idx="131">
                  <c:v>0.38200000000000001</c:v>
                </c:pt>
                <c:pt idx="132">
                  <c:v>-2E-3</c:v>
                </c:pt>
                <c:pt idx="133">
                  <c:v>0.191</c:v>
                </c:pt>
                <c:pt idx="134">
                  <c:v>-2E-3</c:v>
                </c:pt>
                <c:pt idx="135">
                  <c:v>0.38200000000000001</c:v>
                </c:pt>
                <c:pt idx="136">
                  <c:v>0.28699999999999998</c:v>
                </c:pt>
                <c:pt idx="137">
                  <c:v>0.47799999999999998</c:v>
                </c:pt>
                <c:pt idx="138">
                  <c:v>0.191</c:v>
                </c:pt>
                <c:pt idx="139">
                  <c:v>0.191</c:v>
                </c:pt>
                <c:pt idx="140">
                  <c:v>0.28699999999999998</c:v>
                </c:pt>
                <c:pt idx="141">
                  <c:v>0.191</c:v>
                </c:pt>
                <c:pt idx="142">
                  <c:v>0.38200000000000001</c:v>
                </c:pt>
                <c:pt idx="143">
                  <c:v>0.38200000000000001</c:v>
                </c:pt>
                <c:pt idx="144">
                  <c:v>9.6000000000000002E-2</c:v>
                </c:pt>
                <c:pt idx="145">
                  <c:v>0.191</c:v>
                </c:pt>
                <c:pt idx="146">
                  <c:v>0.191</c:v>
                </c:pt>
                <c:pt idx="147">
                  <c:v>0.38200000000000001</c:v>
                </c:pt>
                <c:pt idx="148">
                  <c:v>0.38200000000000001</c:v>
                </c:pt>
                <c:pt idx="149">
                  <c:v>0.67100000000000004</c:v>
                </c:pt>
                <c:pt idx="150">
                  <c:v>0.47799999999999998</c:v>
                </c:pt>
                <c:pt idx="151">
                  <c:v>0.47799999999999998</c:v>
                </c:pt>
                <c:pt idx="152">
                  <c:v>0.38200000000000001</c:v>
                </c:pt>
                <c:pt idx="153">
                  <c:v>0.28699999999999998</c:v>
                </c:pt>
                <c:pt idx="154">
                  <c:v>0.28699999999999998</c:v>
                </c:pt>
                <c:pt idx="155">
                  <c:v>0.86299999999999999</c:v>
                </c:pt>
                <c:pt idx="156">
                  <c:v>9.6000000000000002E-2</c:v>
                </c:pt>
                <c:pt idx="157">
                  <c:v>-2E-3</c:v>
                </c:pt>
                <c:pt idx="158">
                  <c:v>0.57599999999999996</c:v>
                </c:pt>
                <c:pt idx="159">
                  <c:v>-2E-3</c:v>
                </c:pt>
                <c:pt idx="160">
                  <c:v>0.38200000000000001</c:v>
                </c:pt>
                <c:pt idx="161">
                  <c:v>-9.7000000000000003E-2</c:v>
                </c:pt>
                <c:pt idx="162">
                  <c:v>0.38200000000000001</c:v>
                </c:pt>
                <c:pt idx="163">
                  <c:v>0.47799999999999998</c:v>
                </c:pt>
                <c:pt idx="164">
                  <c:v>0.28699999999999998</c:v>
                </c:pt>
                <c:pt idx="165">
                  <c:v>9.6000000000000002E-2</c:v>
                </c:pt>
                <c:pt idx="166">
                  <c:v>0.38200000000000001</c:v>
                </c:pt>
                <c:pt idx="167">
                  <c:v>0.47799999999999998</c:v>
                </c:pt>
                <c:pt idx="168">
                  <c:v>0.38200000000000001</c:v>
                </c:pt>
                <c:pt idx="169">
                  <c:v>0.28699999999999998</c:v>
                </c:pt>
                <c:pt idx="170">
                  <c:v>0.57599999999999996</c:v>
                </c:pt>
                <c:pt idx="171">
                  <c:v>9.6000000000000002E-2</c:v>
                </c:pt>
                <c:pt idx="172">
                  <c:v>-0.38400000000000001</c:v>
                </c:pt>
                <c:pt idx="173">
                  <c:v>0.67100000000000004</c:v>
                </c:pt>
                <c:pt idx="174">
                  <c:v>0.28699999999999998</c:v>
                </c:pt>
                <c:pt idx="175">
                  <c:v>0.38200000000000001</c:v>
                </c:pt>
                <c:pt idx="176">
                  <c:v>0.28699999999999998</c:v>
                </c:pt>
                <c:pt idx="177">
                  <c:v>9.6000000000000002E-2</c:v>
                </c:pt>
                <c:pt idx="178">
                  <c:v>0.191</c:v>
                </c:pt>
                <c:pt idx="179">
                  <c:v>0.28699999999999998</c:v>
                </c:pt>
                <c:pt idx="180">
                  <c:v>0.191</c:v>
                </c:pt>
                <c:pt idx="181">
                  <c:v>0.191</c:v>
                </c:pt>
                <c:pt idx="182">
                  <c:v>0.28699999999999998</c:v>
                </c:pt>
                <c:pt idx="183">
                  <c:v>0.57599999999999996</c:v>
                </c:pt>
                <c:pt idx="184">
                  <c:v>0.28699999999999998</c:v>
                </c:pt>
                <c:pt idx="185">
                  <c:v>0.47799999999999998</c:v>
                </c:pt>
                <c:pt idx="186">
                  <c:v>0.67100000000000004</c:v>
                </c:pt>
                <c:pt idx="187">
                  <c:v>9.6000000000000002E-2</c:v>
                </c:pt>
                <c:pt idx="188">
                  <c:v>0.191</c:v>
                </c:pt>
                <c:pt idx="189">
                  <c:v>0.28699999999999998</c:v>
                </c:pt>
                <c:pt idx="190">
                  <c:v>0.38200000000000001</c:v>
                </c:pt>
                <c:pt idx="191">
                  <c:v>0.38200000000000001</c:v>
                </c:pt>
                <c:pt idx="192">
                  <c:v>0.38200000000000001</c:v>
                </c:pt>
                <c:pt idx="193">
                  <c:v>9.6000000000000002E-2</c:v>
                </c:pt>
                <c:pt idx="194">
                  <c:v>9.6000000000000002E-2</c:v>
                </c:pt>
                <c:pt idx="195">
                  <c:v>0.191</c:v>
                </c:pt>
                <c:pt idx="196">
                  <c:v>0.191</c:v>
                </c:pt>
                <c:pt idx="197">
                  <c:v>0.38200000000000001</c:v>
                </c:pt>
                <c:pt idx="198">
                  <c:v>-2E-3</c:v>
                </c:pt>
                <c:pt idx="199">
                  <c:v>0.38200000000000001</c:v>
                </c:pt>
                <c:pt idx="200">
                  <c:v>0.47799999999999998</c:v>
                </c:pt>
                <c:pt idx="201">
                  <c:v>0.191</c:v>
                </c:pt>
                <c:pt idx="202">
                  <c:v>0.47799999999999998</c:v>
                </c:pt>
                <c:pt idx="203">
                  <c:v>0.191</c:v>
                </c:pt>
                <c:pt idx="204">
                  <c:v>-9.7000000000000003E-2</c:v>
                </c:pt>
                <c:pt idx="205">
                  <c:v>9.6000000000000002E-2</c:v>
                </c:pt>
                <c:pt idx="206">
                  <c:v>-2E-3</c:v>
                </c:pt>
                <c:pt idx="207">
                  <c:v>0.28699999999999998</c:v>
                </c:pt>
                <c:pt idx="208">
                  <c:v>0.28699999999999998</c:v>
                </c:pt>
                <c:pt idx="209">
                  <c:v>9.6000000000000002E-2</c:v>
                </c:pt>
                <c:pt idx="210">
                  <c:v>-9.7000000000000003E-2</c:v>
                </c:pt>
                <c:pt idx="211">
                  <c:v>0.47799999999999998</c:v>
                </c:pt>
                <c:pt idx="212">
                  <c:v>0.191</c:v>
                </c:pt>
                <c:pt idx="213">
                  <c:v>9.6000000000000002E-2</c:v>
                </c:pt>
                <c:pt idx="214">
                  <c:v>-9.7000000000000003E-2</c:v>
                </c:pt>
                <c:pt idx="215">
                  <c:v>-2E-3</c:v>
                </c:pt>
                <c:pt idx="216">
                  <c:v>0.57599999999999996</c:v>
                </c:pt>
                <c:pt idx="217">
                  <c:v>0.57599999999999996</c:v>
                </c:pt>
                <c:pt idx="218">
                  <c:v>0.38200000000000001</c:v>
                </c:pt>
                <c:pt idx="219">
                  <c:v>0.28699999999999998</c:v>
                </c:pt>
                <c:pt idx="220">
                  <c:v>0.28699999999999998</c:v>
                </c:pt>
                <c:pt idx="221">
                  <c:v>0.47799999999999998</c:v>
                </c:pt>
                <c:pt idx="222">
                  <c:v>0.38200000000000001</c:v>
                </c:pt>
                <c:pt idx="223">
                  <c:v>9.6000000000000002E-2</c:v>
                </c:pt>
                <c:pt idx="224">
                  <c:v>-2E-3</c:v>
                </c:pt>
                <c:pt idx="225">
                  <c:v>0.47799999999999998</c:v>
                </c:pt>
                <c:pt idx="226">
                  <c:v>0.191</c:v>
                </c:pt>
                <c:pt idx="227">
                  <c:v>-9.7000000000000003E-2</c:v>
                </c:pt>
                <c:pt idx="228">
                  <c:v>0.28699999999999998</c:v>
                </c:pt>
                <c:pt idx="229">
                  <c:v>0.191</c:v>
                </c:pt>
                <c:pt idx="230">
                  <c:v>9.6000000000000002E-2</c:v>
                </c:pt>
                <c:pt idx="231">
                  <c:v>0.47799999999999998</c:v>
                </c:pt>
                <c:pt idx="232">
                  <c:v>0.38200000000000001</c:v>
                </c:pt>
                <c:pt idx="233">
                  <c:v>-2E-3</c:v>
                </c:pt>
                <c:pt idx="234">
                  <c:v>0.191</c:v>
                </c:pt>
                <c:pt idx="235">
                  <c:v>9.6000000000000002E-2</c:v>
                </c:pt>
                <c:pt idx="236">
                  <c:v>0.38200000000000001</c:v>
                </c:pt>
                <c:pt idx="237">
                  <c:v>0.38200000000000001</c:v>
                </c:pt>
                <c:pt idx="238">
                  <c:v>0.47799999999999998</c:v>
                </c:pt>
                <c:pt idx="239">
                  <c:v>0.67100000000000004</c:v>
                </c:pt>
                <c:pt idx="240">
                  <c:v>0.47799999999999998</c:v>
                </c:pt>
                <c:pt idx="241">
                  <c:v>0.38200000000000001</c:v>
                </c:pt>
                <c:pt idx="242">
                  <c:v>0.47799999999999998</c:v>
                </c:pt>
                <c:pt idx="243">
                  <c:v>0.47799999999999998</c:v>
                </c:pt>
                <c:pt idx="244">
                  <c:v>0.191</c:v>
                </c:pt>
                <c:pt idx="245">
                  <c:v>0.67100000000000004</c:v>
                </c:pt>
                <c:pt idx="246">
                  <c:v>0.38200000000000001</c:v>
                </c:pt>
                <c:pt idx="247">
                  <c:v>9.6000000000000002E-2</c:v>
                </c:pt>
                <c:pt idx="248">
                  <c:v>0.47799999999999998</c:v>
                </c:pt>
                <c:pt idx="249">
                  <c:v>0.47799999999999998</c:v>
                </c:pt>
                <c:pt idx="250">
                  <c:v>0.47799999999999998</c:v>
                </c:pt>
                <c:pt idx="251">
                  <c:v>0.76700000000000002</c:v>
                </c:pt>
                <c:pt idx="252">
                  <c:v>0.38200000000000001</c:v>
                </c:pt>
                <c:pt idx="253">
                  <c:v>0.191</c:v>
                </c:pt>
                <c:pt idx="254">
                  <c:v>0.28699999999999998</c:v>
                </c:pt>
                <c:pt idx="255">
                  <c:v>0.28699999999999998</c:v>
                </c:pt>
                <c:pt idx="256">
                  <c:v>0.86299999999999999</c:v>
                </c:pt>
                <c:pt idx="257">
                  <c:v>0.38200000000000001</c:v>
                </c:pt>
                <c:pt idx="258">
                  <c:v>0.191</c:v>
                </c:pt>
                <c:pt idx="259">
                  <c:v>0.191</c:v>
                </c:pt>
                <c:pt idx="260">
                  <c:v>0.28699999999999998</c:v>
                </c:pt>
                <c:pt idx="261">
                  <c:v>0.28699999999999998</c:v>
                </c:pt>
                <c:pt idx="262">
                  <c:v>0.67100000000000004</c:v>
                </c:pt>
                <c:pt idx="263">
                  <c:v>0.191</c:v>
                </c:pt>
                <c:pt idx="264">
                  <c:v>-0.193</c:v>
                </c:pt>
                <c:pt idx="265">
                  <c:v>-9.7000000000000003E-2</c:v>
                </c:pt>
                <c:pt idx="266">
                  <c:v>0.28699999999999998</c:v>
                </c:pt>
                <c:pt idx="267">
                  <c:v>0.38200000000000001</c:v>
                </c:pt>
                <c:pt idx="268">
                  <c:v>0.38200000000000001</c:v>
                </c:pt>
                <c:pt idx="269">
                  <c:v>0.191</c:v>
                </c:pt>
                <c:pt idx="270">
                  <c:v>0.191</c:v>
                </c:pt>
                <c:pt idx="271">
                  <c:v>0.76700000000000002</c:v>
                </c:pt>
                <c:pt idx="272">
                  <c:v>-2E-3</c:v>
                </c:pt>
                <c:pt idx="273">
                  <c:v>0.47799999999999998</c:v>
                </c:pt>
                <c:pt idx="274">
                  <c:v>0.47799999999999998</c:v>
                </c:pt>
                <c:pt idx="275">
                  <c:v>0.38200000000000001</c:v>
                </c:pt>
                <c:pt idx="276">
                  <c:v>-2E-3</c:v>
                </c:pt>
                <c:pt idx="277">
                  <c:v>0.67100000000000004</c:v>
                </c:pt>
                <c:pt idx="278">
                  <c:v>0.38200000000000001</c:v>
                </c:pt>
                <c:pt idx="279">
                  <c:v>-2E-3</c:v>
                </c:pt>
                <c:pt idx="280">
                  <c:v>0.191</c:v>
                </c:pt>
                <c:pt idx="281">
                  <c:v>0.28699999999999998</c:v>
                </c:pt>
                <c:pt idx="282">
                  <c:v>0.28699999999999998</c:v>
                </c:pt>
                <c:pt idx="283">
                  <c:v>0.28699999999999998</c:v>
                </c:pt>
                <c:pt idx="284">
                  <c:v>0.28699999999999998</c:v>
                </c:pt>
                <c:pt idx="285">
                  <c:v>-2E-3</c:v>
                </c:pt>
                <c:pt idx="286">
                  <c:v>0.57599999999999996</c:v>
                </c:pt>
                <c:pt idx="287">
                  <c:v>0.191</c:v>
                </c:pt>
                <c:pt idx="288">
                  <c:v>0.28699999999999998</c:v>
                </c:pt>
                <c:pt idx="289">
                  <c:v>0.191</c:v>
                </c:pt>
                <c:pt idx="290">
                  <c:v>9.6000000000000002E-2</c:v>
                </c:pt>
                <c:pt idx="291">
                  <c:v>0.28699999999999998</c:v>
                </c:pt>
                <c:pt idx="292">
                  <c:v>9.6000000000000002E-2</c:v>
                </c:pt>
                <c:pt idx="293">
                  <c:v>0.38200000000000001</c:v>
                </c:pt>
                <c:pt idx="294">
                  <c:v>0.38200000000000001</c:v>
                </c:pt>
                <c:pt idx="295">
                  <c:v>0.28699999999999998</c:v>
                </c:pt>
                <c:pt idx="296">
                  <c:v>0.47799999999999998</c:v>
                </c:pt>
                <c:pt idx="297">
                  <c:v>0.57599999999999996</c:v>
                </c:pt>
                <c:pt idx="298">
                  <c:v>0.28699999999999998</c:v>
                </c:pt>
                <c:pt idx="299">
                  <c:v>-2E-3</c:v>
                </c:pt>
                <c:pt idx="300">
                  <c:v>0.28699999999999998</c:v>
                </c:pt>
                <c:pt idx="301">
                  <c:v>0.47799999999999998</c:v>
                </c:pt>
                <c:pt idx="302">
                  <c:v>0.38200000000000001</c:v>
                </c:pt>
                <c:pt idx="303">
                  <c:v>0.28699999999999998</c:v>
                </c:pt>
                <c:pt idx="304">
                  <c:v>0.191</c:v>
                </c:pt>
                <c:pt idx="305">
                  <c:v>0.28699999999999998</c:v>
                </c:pt>
                <c:pt idx="306">
                  <c:v>0.38200000000000001</c:v>
                </c:pt>
                <c:pt idx="307">
                  <c:v>0.47799999999999998</c:v>
                </c:pt>
                <c:pt idx="308">
                  <c:v>0.47799999999999998</c:v>
                </c:pt>
                <c:pt idx="309">
                  <c:v>0.191</c:v>
                </c:pt>
                <c:pt idx="310">
                  <c:v>0.67100000000000004</c:v>
                </c:pt>
                <c:pt idx="311">
                  <c:v>0.28699999999999998</c:v>
                </c:pt>
                <c:pt idx="312">
                  <c:v>9.6000000000000002E-2</c:v>
                </c:pt>
                <c:pt idx="313">
                  <c:v>0.28699999999999998</c:v>
                </c:pt>
                <c:pt idx="314">
                  <c:v>0.57599999999999996</c:v>
                </c:pt>
                <c:pt idx="315">
                  <c:v>0.28699999999999998</c:v>
                </c:pt>
                <c:pt idx="316">
                  <c:v>0.38200000000000001</c:v>
                </c:pt>
                <c:pt idx="317">
                  <c:v>0.28699999999999998</c:v>
                </c:pt>
                <c:pt idx="318">
                  <c:v>0.28699999999999998</c:v>
                </c:pt>
                <c:pt idx="319">
                  <c:v>0.47799999999999998</c:v>
                </c:pt>
                <c:pt idx="320">
                  <c:v>0.38200000000000001</c:v>
                </c:pt>
                <c:pt idx="321">
                  <c:v>0.57599999999999996</c:v>
                </c:pt>
                <c:pt idx="322">
                  <c:v>0.191</c:v>
                </c:pt>
                <c:pt idx="323">
                  <c:v>0.47799999999999998</c:v>
                </c:pt>
                <c:pt idx="324">
                  <c:v>0.38200000000000001</c:v>
                </c:pt>
                <c:pt idx="325">
                  <c:v>0.67100000000000004</c:v>
                </c:pt>
                <c:pt idx="326">
                  <c:v>0.47799999999999998</c:v>
                </c:pt>
                <c:pt idx="327">
                  <c:v>0.28699999999999998</c:v>
                </c:pt>
                <c:pt idx="328">
                  <c:v>0.38200000000000001</c:v>
                </c:pt>
                <c:pt idx="329">
                  <c:v>0.47799999999999998</c:v>
                </c:pt>
                <c:pt idx="330">
                  <c:v>0.191</c:v>
                </c:pt>
                <c:pt idx="331">
                  <c:v>-2E-3</c:v>
                </c:pt>
                <c:pt idx="332">
                  <c:v>0.47799999999999998</c:v>
                </c:pt>
                <c:pt idx="333">
                  <c:v>-9.7000000000000003E-2</c:v>
                </c:pt>
                <c:pt idx="334">
                  <c:v>9.6000000000000002E-2</c:v>
                </c:pt>
                <c:pt idx="335">
                  <c:v>0.57599999999999996</c:v>
                </c:pt>
                <c:pt idx="336">
                  <c:v>0.38200000000000001</c:v>
                </c:pt>
                <c:pt idx="337">
                  <c:v>0.57599999999999996</c:v>
                </c:pt>
                <c:pt idx="338">
                  <c:v>0.38200000000000001</c:v>
                </c:pt>
                <c:pt idx="339">
                  <c:v>9.6000000000000002E-2</c:v>
                </c:pt>
                <c:pt idx="340">
                  <c:v>0.57599999999999996</c:v>
                </c:pt>
                <c:pt idx="341">
                  <c:v>0.191</c:v>
                </c:pt>
                <c:pt idx="342">
                  <c:v>-9.7000000000000003E-2</c:v>
                </c:pt>
                <c:pt idx="343">
                  <c:v>0.57599999999999996</c:v>
                </c:pt>
                <c:pt idx="344">
                  <c:v>0.28699999999999998</c:v>
                </c:pt>
                <c:pt idx="345">
                  <c:v>-0.28899999999999998</c:v>
                </c:pt>
                <c:pt idx="346">
                  <c:v>0.47799999999999998</c:v>
                </c:pt>
                <c:pt idx="347">
                  <c:v>-2E-3</c:v>
                </c:pt>
                <c:pt idx="348">
                  <c:v>0.191</c:v>
                </c:pt>
                <c:pt idx="349">
                  <c:v>0.28699999999999998</c:v>
                </c:pt>
                <c:pt idx="350">
                  <c:v>0.57599999999999996</c:v>
                </c:pt>
                <c:pt idx="351">
                  <c:v>0.191</c:v>
                </c:pt>
                <c:pt idx="352">
                  <c:v>0.67100000000000004</c:v>
                </c:pt>
                <c:pt idx="353">
                  <c:v>9.6000000000000002E-2</c:v>
                </c:pt>
                <c:pt idx="354">
                  <c:v>0.57599999999999996</c:v>
                </c:pt>
                <c:pt idx="355">
                  <c:v>0.67100000000000004</c:v>
                </c:pt>
                <c:pt idx="356">
                  <c:v>-9.7000000000000003E-2</c:v>
                </c:pt>
                <c:pt idx="357">
                  <c:v>0.57599999999999996</c:v>
                </c:pt>
                <c:pt idx="358">
                  <c:v>0.47799999999999998</c:v>
                </c:pt>
                <c:pt idx="359">
                  <c:v>0.28699999999999998</c:v>
                </c:pt>
                <c:pt idx="360">
                  <c:v>0.38200000000000001</c:v>
                </c:pt>
                <c:pt idx="361">
                  <c:v>-9.7000000000000003E-2</c:v>
                </c:pt>
                <c:pt idx="362">
                  <c:v>0.47799999999999998</c:v>
                </c:pt>
                <c:pt idx="363">
                  <c:v>0.38200000000000001</c:v>
                </c:pt>
                <c:pt idx="364">
                  <c:v>0.38200000000000001</c:v>
                </c:pt>
                <c:pt idx="365">
                  <c:v>0.67100000000000004</c:v>
                </c:pt>
                <c:pt idx="366">
                  <c:v>0.38200000000000001</c:v>
                </c:pt>
                <c:pt idx="367">
                  <c:v>-2E-3</c:v>
                </c:pt>
                <c:pt idx="368">
                  <c:v>0.38200000000000001</c:v>
                </c:pt>
                <c:pt idx="369">
                  <c:v>0.38200000000000001</c:v>
                </c:pt>
                <c:pt idx="370">
                  <c:v>0.191</c:v>
                </c:pt>
                <c:pt idx="371">
                  <c:v>0.38200000000000001</c:v>
                </c:pt>
                <c:pt idx="372">
                  <c:v>9.6000000000000002E-2</c:v>
                </c:pt>
                <c:pt idx="373">
                  <c:v>-9.7000000000000003E-2</c:v>
                </c:pt>
                <c:pt idx="374">
                  <c:v>0.28699999999999998</c:v>
                </c:pt>
                <c:pt idx="375">
                  <c:v>0.28699999999999998</c:v>
                </c:pt>
                <c:pt idx="376">
                  <c:v>0.47799999999999998</c:v>
                </c:pt>
                <c:pt idx="377">
                  <c:v>0.76700000000000002</c:v>
                </c:pt>
                <c:pt idx="378">
                  <c:v>0.38200000000000001</c:v>
                </c:pt>
                <c:pt idx="379">
                  <c:v>0.47799999999999998</c:v>
                </c:pt>
                <c:pt idx="380">
                  <c:v>9.6000000000000002E-2</c:v>
                </c:pt>
                <c:pt idx="381">
                  <c:v>-9.7000000000000003E-2</c:v>
                </c:pt>
                <c:pt idx="382">
                  <c:v>0.38200000000000001</c:v>
                </c:pt>
                <c:pt idx="383">
                  <c:v>9.6000000000000002E-2</c:v>
                </c:pt>
                <c:pt idx="384">
                  <c:v>0.28699999999999998</c:v>
                </c:pt>
                <c:pt idx="385">
                  <c:v>0.28699999999999998</c:v>
                </c:pt>
                <c:pt idx="386">
                  <c:v>0.28699999999999998</c:v>
                </c:pt>
                <c:pt idx="387">
                  <c:v>0.28699999999999998</c:v>
                </c:pt>
                <c:pt idx="388">
                  <c:v>-0.193</c:v>
                </c:pt>
                <c:pt idx="389">
                  <c:v>0.57599999999999996</c:v>
                </c:pt>
                <c:pt idx="390">
                  <c:v>0.47799999999999998</c:v>
                </c:pt>
                <c:pt idx="391">
                  <c:v>9.6000000000000002E-2</c:v>
                </c:pt>
                <c:pt idx="392">
                  <c:v>0.47799999999999998</c:v>
                </c:pt>
                <c:pt idx="393">
                  <c:v>0.191</c:v>
                </c:pt>
                <c:pt idx="394">
                  <c:v>0.47799999999999998</c:v>
                </c:pt>
                <c:pt idx="395">
                  <c:v>0.28699999999999998</c:v>
                </c:pt>
                <c:pt idx="396">
                  <c:v>0.28699999999999998</c:v>
                </c:pt>
                <c:pt idx="397">
                  <c:v>0.47799999999999998</c:v>
                </c:pt>
                <c:pt idx="398">
                  <c:v>0.191</c:v>
                </c:pt>
                <c:pt idx="399">
                  <c:v>0.191</c:v>
                </c:pt>
                <c:pt idx="400">
                  <c:v>0.38200000000000001</c:v>
                </c:pt>
                <c:pt idx="401">
                  <c:v>0.38200000000000001</c:v>
                </c:pt>
                <c:pt idx="402">
                  <c:v>0.57599999999999996</c:v>
                </c:pt>
                <c:pt idx="403">
                  <c:v>0.38200000000000001</c:v>
                </c:pt>
                <c:pt idx="404">
                  <c:v>0.191</c:v>
                </c:pt>
                <c:pt idx="405">
                  <c:v>0.191</c:v>
                </c:pt>
                <c:pt idx="406">
                  <c:v>0.191</c:v>
                </c:pt>
                <c:pt idx="407">
                  <c:v>0.57599999999999996</c:v>
                </c:pt>
                <c:pt idx="408">
                  <c:v>0.57599999999999996</c:v>
                </c:pt>
                <c:pt idx="409">
                  <c:v>9.6000000000000002E-2</c:v>
                </c:pt>
                <c:pt idx="410">
                  <c:v>0.38200000000000001</c:v>
                </c:pt>
                <c:pt idx="411">
                  <c:v>9.6000000000000002E-2</c:v>
                </c:pt>
                <c:pt idx="412">
                  <c:v>0.47799999999999998</c:v>
                </c:pt>
                <c:pt idx="413">
                  <c:v>0.38200000000000001</c:v>
                </c:pt>
                <c:pt idx="414">
                  <c:v>0.57599999999999996</c:v>
                </c:pt>
                <c:pt idx="415">
                  <c:v>0.191</c:v>
                </c:pt>
                <c:pt idx="416">
                  <c:v>0.57599999999999996</c:v>
                </c:pt>
                <c:pt idx="417">
                  <c:v>9.6000000000000002E-2</c:v>
                </c:pt>
                <c:pt idx="418">
                  <c:v>0.76700000000000002</c:v>
                </c:pt>
                <c:pt idx="419">
                  <c:v>0.57599999999999996</c:v>
                </c:pt>
                <c:pt idx="420">
                  <c:v>0.57599999999999996</c:v>
                </c:pt>
                <c:pt idx="421">
                  <c:v>0.57599999999999996</c:v>
                </c:pt>
                <c:pt idx="422">
                  <c:v>0.86299999999999999</c:v>
                </c:pt>
                <c:pt idx="423">
                  <c:v>0.47799999999999998</c:v>
                </c:pt>
                <c:pt idx="424">
                  <c:v>0.76700000000000002</c:v>
                </c:pt>
                <c:pt idx="425">
                  <c:v>-9.7000000000000003E-2</c:v>
                </c:pt>
                <c:pt idx="426">
                  <c:v>0.47799999999999998</c:v>
                </c:pt>
                <c:pt idx="427">
                  <c:v>0.28699999999999998</c:v>
                </c:pt>
                <c:pt idx="428">
                  <c:v>9.6000000000000002E-2</c:v>
                </c:pt>
                <c:pt idx="429">
                  <c:v>0.47799999999999998</c:v>
                </c:pt>
                <c:pt idx="430">
                  <c:v>0.191</c:v>
                </c:pt>
                <c:pt idx="431">
                  <c:v>0.47799999999999998</c:v>
                </c:pt>
                <c:pt idx="432">
                  <c:v>0.57599999999999996</c:v>
                </c:pt>
                <c:pt idx="433">
                  <c:v>0.28699999999999998</c:v>
                </c:pt>
                <c:pt idx="434">
                  <c:v>0.47799999999999998</c:v>
                </c:pt>
                <c:pt idx="435">
                  <c:v>0.47799999999999998</c:v>
                </c:pt>
                <c:pt idx="436">
                  <c:v>0.76700000000000002</c:v>
                </c:pt>
                <c:pt idx="437">
                  <c:v>0.191</c:v>
                </c:pt>
                <c:pt idx="438">
                  <c:v>0.47799999999999998</c:v>
                </c:pt>
                <c:pt idx="439">
                  <c:v>-2E-3</c:v>
                </c:pt>
                <c:pt idx="440">
                  <c:v>0.191</c:v>
                </c:pt>
                <c:pt idx="441">
                  <c:v>-2E-3</c:v>
                </c:pt>
                <c:pt idx="442">
                  <c:v>0.38200000000000001</c:v>
                </c:pt>
                <c:pt idx="443">
                  <c:v>0.28699999999999998</c:v>
                </c:pt>
                <c:pt idx="444">
                  <c:v>0.57599999999999996</c:v>
                </c:pt>
                <c:pt idx="445">
                  <c:v>0.38200000000000001</c:v>
                </c:pt>
                <c:pt idx="446">
                  <c:v>0.191</c:v>
                </c:pt>
                <c:pt idx="447">
                  <c:v>9.6000000000000002E-2</c:v>
                </c:pt>
                <c:pt idx="448">
                  <c:v>0.76700000000000002</c:v>
                </c:pt>
                <c:pt idx="449">
                  <c:v>0.191</c:v>
                </c:pt>
                <c:pt idx="450">
                  <c:v>0.28699999999999998</c:v>
                </c:pt>
                <c:pt idx="451">
                  <c:v>0.191</c:v>
                </c:pt>
                <c:pt idx="452">
                  <c:v>0.28699999999999998</c:v>
                </c:pt>
                <c:pt idx="453">
                  <c:v>0.38200000000000001</c:v>
                </c:pt>
                <c:pt idx="454">
                  <c:v>0.191</c:v>
                </c:pt>
                <c:pt idx="455">
                  <c:v>0.67100000000000004</c:v>
                </c:pt>
                <c:pt idx="456">
                  <c:v>0.28699999999999998</c:v>
                </c:pt>
                <c:pt idx="457">
                  <c:v>9.6000000000000002E-2</c:v>
                </c:pt>
                <c:pt idx="458">
                  <c:v>0.191</c:v>
                </c:pt>
                <c:pt idx="459">
                  <c:v>0.28699999999999998</c:v>
                </c:pt>
                <c:pt idx="460">
                  <c:v>0.76700000000000002</c:v>
                </c:pt>
                <c:pt idx="461">
                  <c:v>0.191</c:v>
                </c:pt>
                <c:pt idx="462">
                  <c:v>0.47799999999999998</c:v>
                </c:pt>
                <c:pt idx="463">
                  <c:v>0.67100000000000004</c:v>
                </c:pt>
                <c:pt idx="464">
                  <c:v>0.28699999999999998</c:v>
                </c:pt>
                <c:pt idx="465">
                  <c:v>0.57599999999999996</c:v>
                </c:pt>
                <c:pt idx="466">
                  <c:v>0.28699999999999998</c:v>
                </c:pt>
                <c:pt idx="467">
                  <c:v>0.38200000000000001</c:v>
                </c:pt>
                <c:pt idx="468">
                  <c:v>0.191</c:v>
                </c:pt>
                <c:pt idx="469">
                  <c:v>0.57599999999999996</c:v>
                </c:pt>
                <c:pt idx="470">
                  <c:v>0.57599999999999996</c:v>
                </c:pt>
                <c:pt idx="471">
                  <c:v>0.38200000000000001</c:v>
                </c:pt>
                <c:pt idx="472">
                  <c:v>9.6000000000000002E-2</c:v>
                </c:pt>
                <c:pt idx="473">
                  <c:v>0.47799999999999998</c:v>
                </c:pt>
                <c:pt idx="474">
                  <c:v>0.47799999999999998</c:v>
                </c:pt>
                <c:pt idx="475">
                  <c:v>0.47799999999999998</c:v>
                </c:pt>
                <c:pt idx="476">
                  <c:v>0.28699999999999998</c:v>
                </c:pt>
                <c:pt idx="477">
                  <c:v>0.76700000000000002</c:v>
                </c:pt>
                <c:pt idx="478">
                  <c:v>0.57599999999999996</c:v>
                </c:pt>
                <c:pt idx="479">
                  <c:v>0.28699999999999998</c:v>
                </c:pt>
                <c:pt idx="480">
                  <c:v>0.28699999999999998</c:v>
                </c:pt>
                <c:pt idx="481">
                  <c:v>0.28699999999999998</c:v>
                </c:pt>
                <c:pt idx="482">
                  <c:v>0.47799999999999998</c:v>
                </c:pt>
                <c:pt idx="483">
                  <c:v>0.191</c:v>
                </c:pt>
                <c:pt idx="484">
                  <c:v>0.28699999999999998</c:v>
                </c:pt>
                <c:pt idx="485">
                  <c:v>0.57599999999999996</c:v>
                </c:pt>
                <c:pt idx="486">
                  <c:v>0.191</c:v>
                </c:pt>
                <c:pt idx="487">
                  <c:v>0.38200000000000001</c:v>
                </c:pt>
                <c:pt idx="488">
                  <c:v>0.38200000000000001</c:v>
                </c:pt>
                <c:pt idx="489">
                  <c:v>0.38200000000000001</c:v>
                </c:pt>
                <c:pt idx="490">
                  <c:v>0.47799999999999998</c:v>
                </c:pt>
                <c:pt idx="491">
                  <c:v>0.191</c:v>
                </c:pt>
                <c:pt idx="492">
                  <c:v>0.38200000000000001</c:v>
                </c:pt>
                <c:pt idx="493">
                  <c:v>0.57599999999999996</c:v>
                </c:pt>
                <c:pt idx="494">
                  <c:v>0.47799999999999998</c:v>
                </c:pt>
                <c:pt idx="495">
                  <c:v>0.38200000000000001</c:v>
                </c:pt>
                <c:pt idx="496">
                  <c:v>0.28699999999999998</c:v>
                </c:pt>
                <c:pt idx="497">
                  <c:v>9.6000000000000002E-2</c:v>
                </c:pt>
                <c:pt idx="498">
                  <c:v>-2E-3</c:v>
                </c:pt>
                <c:pt idx="499">
                  <c:v>0.38200000000000001</c:v>
                </c:pt>
                <c:pt idx="500">
                  <c:v>0.38200000000000001</c:v>
                </c:pt>
                <c:pt idx="501">
                  <c:v>-0.193</c:v>
                </c:pt>
                <c:pt idx="502">
                  <c:v>9.6000000000000002E-2</c:v>
                </c:pt>
                <c:pt idx="503">
                  <c:v>0.28699999999999998</c:v>
                </c:pt>
                <c:pt idx="504">
                  <c:v>0.191</c:v>
                </c:pt>
                <c:pt idx="505">
                  <c:v>-2E-3</c:v>
                </c:pt>
                <c:pt idx="506">
                  <c:v>0.76700000000000002</c:v>
                </c:pt>
                <c:pt idx="507">
                  <c:v>0.28699999999999998</c:v>
                </c:pt>
                <c:pt idx="508">
                  <c:v>0.38200000000000001</c:v>
                </c:pt>
                <c:pt idx="509">
                  <c:v>0.38200000000000001</c:v>
                </c:pt>
                <c:pt idx="510">
                  <c:v>0.38200000000000001</c:v>
                </c:pt>
                <c:pt idx="511">
                  <c:v>0.38200000000000001</c:v>
                </c:pt>
                <c:pt idx="512">
                  <c:v>0.47799999999999998</c:v>
                </c:pt>
                <c:pt idx="513">
                  <c:v>0.47799999999999998</c:v>
                </c:pt>
                <c:pt idx="514">
                  <c:v>0.47799999999999998</c:v>
                </c:pt>
                <c:pt idx="515">
                  <c:v>9.6000000000000002E-2</c:v>
                </c:pt>
                <c:pt idx="516">
                  <c:v>0.67100000000000004</c:v>
                </c:pt>
                <c:pt idx="517">
                  <c:v>0.38200000000000001</c:v>
                </c:pt>
                <c:pt idx="518">
                  <c:v>9.6000000000000002E-2</c:v>
                </c:pt>
                <c:pt idx="519">
                  <c:v>0.28699999999999998</c:v>
                </c:pt>
                <c:pt idx="520">
                  <c:v>0.47799999999999998</c:v>
                </c:pt>
                <c:pt idx="521">
                  <c:v>0.191</c:v>
                </c:pt>
                <c:pt idx="522">
                  <c:v>0.28699999999999998</c:v>
                </c:pt>
                <c:pt idx="523">
                  <c:v>0.38200000000000001</c:v>
                </c:pt>
                <c:pt idx="524">
                  <c:v>0.67100000000000004</c:v>
                </c:pt>
                <c:pt idx="525">
                  <c:v>0.47799999999999998</c:v>
                </c:pt>
                <c:pt idx="526">
                  <c:v>0.28699999999999998</c:v>
                </c:pt>
                <c:pt idx="527">
                  <c:v>0.28699999999999998</c:v>
                </c:pt>
                <c:pt idx="528">
                  <c:v>9.6000000000000002E-2</c:v>
                </c:pt>
                <c:pt idx="529">
                  <c:v>-0.193</c:v>
                </c:pt>
                <c:pt idx="530">
                  <c:v>0.47799999999999998</c:v>
                </c:pt>
                <c:pt idx="531">
                  <c:v>0.67100000000000004</c:v>
                </c:pt>
                <c:pt idx="532">
                  <c:v>0.67100000000000004</c:v>
                </c:pt>
                <c:pt idx="533">
                  <c:v>9.6000000000000002E-2</c:v>
                </c:pt>
                <c:pt idx="534">
                  <c:v>0.28699999999999998</c:v>
                </c:pt>
                <c:pt idx="535">
                  <c:v>9.6000000000000002E-2</c:v>
                </c:pt>
                <c:pt idx="536">
                  <c:v>0.95799999999999996</c:v>
                </c:pt>
                <c:pt idx="537">
                  <c:v>0.86299999999999999</c:v>
                </c:pt>
                <c:pt idx="538">
                  <c:v>0.86299999999999999</c:v>
                </c:pt>
                <c:pt idx="539">
                  <c:v>1.151</c:v>
                </c:pt>
                <c:pt idx="540">
                  <c:v>1.631</c:v>
                </c:pt>
                <c:pt idx="541">
                  <c:v>2.3029999999999999</c:v>
                </c:pt>
                <c:pt idx="542">
                  <c:v>2.5910000000000002</c:v>
                </c:pt>
                <c:pt idx="543">
                  <c:v>3.0710000000000002</c:v>
                </c:pt>
                <c:pt idx="544">
                  <c:v>3.7429999999999999</c:v>
                </c:pt>
                <c:pt idx="545">
                  <c:v>4.6070000000000002</c:v>
                </c:pt>
                <c:pt idx="546">
                  <c:v>5.2779999999999996</c:v>
                </c:pt>
                <c:pt idx="547">
                  <c:v>5.9509999999999996</c:v>
                </c:pt>
                <c:pt idx="548">
                  <c:v>6.5270000000000001</c:v>
                </c:pt>
                <c:pt idx="549">
                  <c:v>7.6779999999999999</c:v>
                </c:pt>
                <c:pt idx="550">
                  <c:v>8.7360000000000007</c:v>
                </c:pt>
                <c:pt idx="551">
                  <c:v>9.6959999999999997</c:v>
                </c:pt>
                <c:pt idx="552">
                  <c:v>10.176</c:v>
                </c:pt>
                <c:pt idx="553">
                  <c:v>11.711</c:v>
                </c:pt>
                <c:pt idx="554">
                  <c:v>12.287000000000001</c:v>
                </c:pt>
                <c:pt idx="555">
                  <c:v>14.398</c:v>
                </c:pt>
                <c:pt idx="556">
                  <c:v>14.878</c:v>
                </c:pt>
                <c:pt idx="557">
                  <c:v>15.936</c:v>
                </c:pt>
                <c:pt idx="558">
                  <c:v>16.797999999999998</c:v>
                </c:pt>
                <c:pt idx="559">
                  <c:v>17.856000000000002</c:v>
                </c:pt>
                <c:pt idx="560">
                  <c:v>19.007000000000001</c:v>
                </c:pt>
                <c:pt idx="561">
                  <c:v>19.870999999999999</c:v>
                </c:pt>
                <c:pt idx="562">
                  <c:v>21.021999999999998</c:v>
                </c:pt>
                <c:pt idx="563">
                  <c:v>22.271000000000001</c:v>
                </c:pt>
                <c:pt idx="564">
                  <c:v>23.327000000000002</c:v>
                </c:pt>
                <c:pt idx="565">
                  <c:v>24.670999999999999</c:v>
                </c:pt>
                <c:pt idx="566">
                  <c:v>26.111000000000001</c:v>
                </c:pt>
                <c:pt idx="567">
                  <c:v>26.975999999999999</c:v>
                </c:pt>
                <c:pt idx="568">
                  <c:v>28.318000000000001</c:v>
                </c:pt>
                <c:pt idx="569">
                  <c:v>29.183</c:v>
                </c:pt>
                <c:pt idx="570">
                  <c:v>31.007000000000001</c:v>
                </c:pt>
                <c:pt idx="571">
                  <c:v>32.061999999999998</c:v>
                </c:pt>
                <c:pt idx="572">
                  <c:v>33.021999999999998</c:v>
                </c:pt>
                <c:pt idx="573">
                  <c:v>34.558</c:v>
                </c:pt>
                <c:pt idx="574">
                  <c:v>35.997999999999998</c:v>
                </c:pt>
                <c:pt idx="575">
                  <c:v>37.151000000000003</c:v>
                </c:pt>
                <c:pt idx="576">
                  <c:v>38.496000000000002</c:v>
                </c:pt>
                <c:pt idx="577">
                  <c:v>39.743000000000002</c:v>
                </c:pt>
                <c:pt idx="578">
                  <c:v>40.798000000000002</c:v>
                </c:pt>
                <c:pt idx="579">
                  <c:v>42.911000000000001</c:v>
                </c:pt>
                <c:pt idx="580">
                  <c:v>43.871000000000002</c:v>
                </c:pt>
                <c:pt idx="581">
                  <c:v>45.021999999999998</c:v>
                </c:pt>
                <c:pt idx="582">
                  <c:v>46.558</c:v>
                </c:pt>
                <c:pt idx="583">
                  <c:v>47.616</c:v>
                </c:pt>
                <c:pt idx="584">
                  <c:v>49.151000000000003</c:v>
                </c:pt>
                <c:pt idx="585">
                  <c:v>50.878</c:v>
                </c:pt>
                <c:pt idx="586">
                  <c:v>52.317999999999998</c:v>
                </c:pt>
                <c:pt idx="587">
                  <c:v>53.567</c:v>
                </c:pt>
                <c:pt idx="588">
                  <c:v>55.198</c:v>
                </c:pt>
                <c:pt idx="589">
                  <c:v>56.350999999999999</c:v>
                </c:pt>
                <c:pt idx="590">
                  <c:v>57.887</c:v>
                </c:pt>
                <c:pt idx="591">
                  <c:v>59.326999999999998</c:v>
                </c:pt>
                <c:pt idx="592">
                  <c:v>60.767000000000003</c:v>
                </c:pt>
                <c:pt idx="593">
                  <c:v>62.496000000000002</c:v>
                </c:pt>
                <c:pt idx="594">
                  <c:v>63.646999999999998</c:v>
                </c:pt>
                <c:pt idx="595">
                  <c:v>64.896000000000001</c:v>
                </c:pt>
                <c:pt idx="596">
                  <c:v>66.430999999999997</c:v>
                </c:pt>
                <c:pt idx="597">
                  <c:v>68.350999999999999</c:v>
                </c:pt>
                <c:pt idx="598">
                  <c:v>69.695999999999998</c:v>
                </c:pt>
                <c:pt idx="599">
                  <c:v>71.326999999999998</c:v>
                </c:pt>
                <c:pt idx="600">
                  <c:v>73.055999999999997</c:v>
                </c:pt>
                <c:pt idx="601">
                  <c:v>74.111000000000004</c:v>
                </c:pt>
                <c:pt idx="602">
                  <c:v>76.126999999999995</c:v>
                </c:pt>
                <c:pt idx="603">
                  <c:v>77.471000000000004</c:v>
                </c:pt>
                <c:pt idx="604">
                  <c:v>78.816000000000003</c:v>
                </c:pt>
                <c:pt idx="605">
                  <c:v>79.966999999999999</c:v>
                </c:pt>
                <c:pt idx="606">
                  <c:v>81.406999999999996</c:v>
                </c:pt>
                <c:pt idx="607">
                  <c:v>83.326999999999998</c:v>
                </c:pt>
                <c:pt idx="608">
                  <c:v>84.287000000000006</c:v>
                </c:pt>
                <c:pt idx="609">
                  <c:v>85.918000000000006</c:v>
                </c:pt>
                <c:pt idx="610">
                  <c:v>87.070999999999998</c:v>
                </c:pt>
                <c:pt idx="611">
                  <c:v>87.936000000000007</c:v>
                </c:pt>
                <c:pt idx="612">
                  <c:v>89.566999999999993</c:v>
                </c:pt>
                <c:pt idx="613">
                  <c:v>90.911000000000001</c:v>
                </c:pt>
                <c:pt idx="614">
                  <c:v>91.581999999999994</c:v>
                </c:pt>
                <c:pt idx="615">
                  <c:v>92.158000000000001</c:v>
                </c:pt>
                <c:pt idx="616">
                  <c:v>93.406999999999996</c:v>
                </c:pt>
                <c:pt idx="617">
                  <c:v>94.078000000000003</c:v>
                </c:pt>
                <c:pt idx="618">
                  <c:v>94.558000000000007</c:v>
                </c:pt>
                <c:pt idx="619">
                  <c:v>94.846999999999994</c:v>
                </c:pt>
                <c:pt idx="620">
                  <c:v>95.326999999999998</c:v>
                </c:pt>
                <c:pt idx="621">
                  <c:v>95.037999999999997</c:v>
                </c:pt>
                <c:pt idx="622">
                  <c:v>95.326999999999998</c:v>
                </c:pt>
                <c:pt idx="623">
                  <c:v>95.807000000000002</c:v>
                </c:pt>
                <c:pt idx="624">
                  <c:v>95.326999999999998</c:v>
                </c:pt>
                <c:pt idx="625">
                  <c:v>94.941999999999993</c:v>
                </c:pt>
                <c:pt idx="626">
                  <c:v>94.941999999999993</c:v>
                </c:pt>
                <c:pt idx="627">
                  <c:v>94.462999999999994</c:v>
                </c:pt>
                <c:pt idx="628">
                  <c:v>93.790999999999997</c:v>
                </c:pt>
                <c:pt idx="629">
                  <c:v>93.503</c:v>
                </c:pt>
                <c:pt idx="630">
                  <c:v>92.158000000000001</c:v>
                </c:pt>
                <c:pt idx="631">
                  <c:v>91.486999999999995</c:v>
                </c:pt>
                <c:pt idx="632">
                  <c:v>90.911000000000001</c:v>
                </c:pt>
                <c:pt idx="633">
                  <c:v>89.662000000000006</c:v>
                </c:pt>
                <c:pt idx="634">
                  <c:v>88.606999999999999</c:v>
                </c:pt>
                <c:pt idx="635">
                  <c:v>88.031000000000006</c:v>
                </c:pt>
                <c:pt idx="636">
                  <c:v>86.397999999999996</c:v>
                </c:pt>
                <c:pt idx="637">
                  <c:v>85.727000000000004</c:v>
                </c:pt>
                <c:pt idx="638">
                  <c:v>84.766999999999996</c:v>
                </c:pt>
                <c:pt idx="639">
                  <c:v>84.191000000000003</c:v>
                </c:pt>
                <c:pt idx="640">
                  <c:v>82.846999999999994</c:v>
                </c:pt>
                <c:pt idx="641">
                  <c:v>81.406999999999996</c:v>
                </c:pt>
                <c:pt idx="642">
                  <c:v>80.927000000000007</c:v>
                </c:pt>
                <c:pt idx="643">
                  <c:v>79.870999999999995</c:v>
                </c:pt>
                <c:pt idx="644">
                  <c:v>78.816000000000003</c:v>
                </c:pt>
                <c:pt idx="645">
                  <c:v>78.238</c:v>
                </c:pt>
                <c:pt idx="646">
                  <c:v>76.606999999999999</c:v>
                </c:pt>
                <c:pt idx="647">
                  <c:v>75.936000000000007</c:v>
                </c:pt>
                <c:pt idx="648">
                  <c:v>75.837999999999994</c:v>
                </c:pt>
                <c:pt idx="649">
                  <c:v>74.975999999999999</c:v>
                </c:pt>
                <c:pt idx="650">
                  <c:v>74.397999999999996</c:v>
                </c:pt>
                <c:pt idx="651">
                  <c:v>73.918000000000006</c:v>
                </c:pt>
                <c:pt idx="652">
                  <c:v>73.055999999999997</c:v>
                </c:pt>
                <c:pt idx="653">
                  <c:v>72.863</c:v>
                </c:pt>
                <c:pt idx="654">
                  <c:v>72.287000000000006</c:v>
                </c:pt>
                <c:pt idx="655">
                  <c:v>71.616</c:v>
                </c:pt>
                <c:pt idx="656">
                  <c:v>71.423000000000002</c:v>
                </c:pt>
                <c:pt idx="657">
                  <c:v>71.135999999999996</c:v>
                </c:pt>
                <c:pt idx="658">
                  <c:v>70.656000000000006</c:v>
                </c:pt>
                <c:pt idx="659">
                  <c:v>70.078000000000003</c:v>
                </c:pt>
                <c:pt idx="660">
                  <c:v>69.597999999999999</c:v>
                </c:pt>
                <c:pt idx="661">
                  <c:v>69.311000000000007</c:v>
                </c:pt>
                <c:pt idx="662">
                  <c:v>69.117999999999995</c:v>
                </c:pt>
                <c:pt idx="663">
                  <c:v>69.022000000000006</c:v>
                </c:pt>
                <c:pt idx="664">
                  <c:v>68.543000000000006</c:v>
                </c:pt>
                <c:pt idx="665">
                  <c:v>68.350999999999999</c:v>
                </c:pt>
                <c:pt idx="666">
                  <c:v>67.677999999999997</c:v>
                </c:pt>
                <c:pt idx="667">
                  <c:v>67.775999999999996</c:v>
                </c:pt>
                <c:pt idx="668">
                  <c:v>67.296000000000006</c:v>
                </c:pt>
                <c:pt idx="669">
                  <c:v>67.102999999999994</c:v>
                </c:pt>
                <c:pt idx="670">
                  <c:v>66.911000000000001</c:v>
                </c:pt>
                <c:pt idx="671">
                  <c:v>66.911000000000001</c:v>
                </c:pt>
                <c:pt idx="672">
                  <c:v>66.718000000000004</c:v>
                </c:pt>
                <c:pt idx="673">
                  <c:v>66.430999999999997</c:v>
                </c:pt>
                <c:pt idx="674">
                  <c:v>66.143000000000001</c:v>
                </c:pt>
                <c:pt idx="675">
                  <c:v>65.950999999999993</c:v>
                </c:pt>
                <c:pt idx="676">
                  <c:v>65.662000000000006</c:v>
                </c:pt>
                <c:pt idx="677">
                  <c:v>65.278000000000006</c:v>
                </c:pt>
                <c:pt idx="678">
                  <c:v>65.087000000000003</c:v>
                </c:pt>
                <c:pt idx="679">
                  <c:v>65.376000000000005</c:v>
                </c:pt>
                <c:pt idx="680">
                  <c:v>64.896000000000001</c:v>
                </c:pt>
                <c:pt idx="681">
                  <c:v>64.510999999999996</c:v>
                </c:pt>
                <c:pt idx="682">
                  <c:v>63.936</c:v>
                </c:pt>
                <c:pt idx="683">
                  <c:v>64.317999999999998</c:v>
                </c:pt>
                <c:pt idx="684">
                  <c:v>64.317999999999998</c:v>
                </c:pt>
                <c:pt idx="685">
                  <c:v>63.838000000000001</c:v>
                </c:pt>
                <c:pt idx="686">
                  <c:v>63.743000000000002</c:v>
                </c:pt>
                <c:pt idx="687">
                  <c:v>63.646999999999998</c:v>
                </c:pt>
                <c:pt idx="688">
                  <c:v>63.357999999999997</c:v>
                </c:pt>
                <c:pt idx="689">
                  <c:v>63.551000000000002</c:v>
                </c:pt>
                <c:pt idx="690">
                  <c:v>63.357999999999997</c:v>
                </c:pt>
                <c:pt idx="691">
                  <c:v>62.975999999999999</c:v>
                </c:pt>
                <c:pt idx="692">
                  <c:v>62.496000000000002</c:v>
                </c:pt>
                <c:pt idx="693">
                  <c:v>62.975999999999999</c:v>
                </c:pt>
                <c:pt idx="694">
                  <c:v>62.207000000000001</c:v>
                </c:pt>
                <c:pt idx="695">
                  <c:v>62.207000000000001</c:v>
                </c:pt>
                <c:pt idx="696">
                  <c:v>62.207000000000001</c:v>
                </c:pt>
                <c:pt idx="697">
                  <c:v>62.110999999999997</c:v>
                </c:pt>
                <c:pt idx="698">
                  <c:v>61.438000000000002</c:v>
                </c:pt>
                <c:pt idx="699">
                  <c:v>61.247</c:v>
                </c:pt>
                <c:pt idx="700">
                  <c:v>61.151000000000003</c:v>
                </c:pt>
                <c:pt idx="701">
                  <c:v>61.151000000000003</c:v>
                </c:pt>
                <c:pt idx="702">
                  <c:v>61.247</c:v>
                </c:pt>
                <c:pt idx="703">
                  <c:v>60.957999999999998</c:v>
                </c:pt>
                <c:pt idx="704">
                  <c:v>60.862000000000002</c:v>
                </c:pt>
                <c:pt idx="705">
                  <c:v>60.670999999999999</c:v>
                </c:pt>
                <c:pt idx="706">
                  <c:v>60.767000000000003</c:v>
                </c:pt>
                <c:pt idx="707">
                  <c:v>60.286999999999999</c:v>
                </c:pt>
                <c:pt idx="708">
                  <c:v>60.095999999999997</c:v>
                </c:pt>
                <c:pt idx="709">
                  <c:v>59.997999999999998</c:v>
                </c:pt>
                <c:pt idx="710">
                  <c:v>59.902999999999999</c:v>
                </c:pt>
                <c:pt idx="711">
                  <c:v>60.095999999999997</c:v>
                </c:pt>
                <c:pt idx="712">
                  <c:v>60.095999999999997</c:v>
                </c:pt>
                <c:pt idx="713">
                  <c:v>59.807000000000002</c:v>
                </c:pt>
                <c:pt idx="714">
                  <c:v>59.902999999999999</c:v>
                </c:pt>
                <c:pt idx="715">
                  <c:v>59.231000000000002</c:v>
                </c:pt>
                <c:pt idx="716">
                  <c:v>59.231000000000002</c:v>
                </c:pt>
                <c:pt idx="717">
                  <c:v>59.231000000000002</c:v>
                </c:pt>
                <c:pt idx="718">
                  <c:v>59.037999999999997</c:v>
                </c:pt>
                <c:pt idx="719">
                  <c:v>58.750999999999998</c:v>
                </c:pt>
                <c:pt idx="720">
                  <c:v>58.847000000000001</c:v>
                </c:pt>
                <c:pt idx="721">
                  <c:v>58.847000000000001</c:v>
                </c:pt>
                <c:pt idx="722">
                  <c:v>58.655999999999999</c:v>
                </c:pt>
                <c:pt idx="723">
                  <c:v>58.655999999999999</c:v>
                </c:pt>
                <c:pt idx="724">
                  <c:v>58.558</c:v>
                </c:pt>
                <c:pt idx="725">
                  <c:v>58.366999999999997</c:v>
                </c:pt>
                <c:pt idx="726">
                  <c:v>57.790999999999997</c:v>
                </c:pt>
                <c:pt idx="727">
                  <c:v>58.463000000000001</c:v>
                </c:pt>
                <c:pt idx="728">
                  <c:v>58.271000000000001</c:v>
                </c:pt>
                <c:pt idx="729">
                  <c:v>57.981999999999999</c:v>
                </c:pt>
                <c:pt idx="730">
                  <c:v>57.981999999999999</c:v>
                </c:pt>
                <c:pt idx="731">
                  <c:v>57.597999999999999</c:v>
                </c:pt>
                <c:pt idx="732">
                  <c:v>57.216000000000001</c:v>
                </c:pt>
                <c:pt idx="733">
                  <c:v>57.311</c:v>
                </c:pt>
                <c:pt idx="734">
                  <c:v>57.311</c:v>
                </c:pt>
                <c:pt idx="735">
                  <c:v>57.502000000000002</c:v>
                </c:pt>
                <c:pt idx="736">
                  <c:v>56.831000000000003</c:v>
                </c:pt>
                <c:pt idx="737">
                  <c:v>56.831000000000003</c:v>
                </c:pt>
                <c:pt idx="738">
                  <c:v>57.021999999999998</c:v>
                </c:pt>
                <c:pt idx="739">
                  <c:v>56.735999999999997</c:v>
                </c:pt>
                <c:pt idx="740">
                  <c:v>56.447000000000003</c:v>
                </c:pt>
                <c:pt idx="741">
                  <c:v>56.637999999999998</c:v>
                </c:pt>
                <c:pt idx="742">
                  <c:v>56.637999999999998</c:v>
                </c:pt>
                <c:pt idx="743">
                  <c:v>56.350999999999999</c:v>
                </c:pt>
                <c:pt idx="744">
                  <c:v>56.256</c:v>
                </c:pt>
                <c:pt idx="745">
                  <c:v>55.776000000000003</c:v>
                </c:pt>
                <c:pt idx="746">
                  <c:v>56.061999999999998</c:v>
                </c:pt>
                <c:pt idx="747">
                  <c:v>55.677999999999997</c:v>
                </c:pt>
                <c:pt idx="748">
                  <c:v>55.776000000000003</c:v>
                </c:pt>
                <c:pt idx="749">
                  <c:v>55.677999999999997</c:v>
                </c:pt>
                <c:pt idx="750">
                  <c:v>55.006999999999998</c:v>
                </c:pt>
                <c:pt idx="751">
                  <c:v>55.198</c:v>
                </c:pt>
                <c:pt idx="752">
                  <c:v>54.527000000000001</c:v>
                </c:pt>
                <c:pt idx="753">
                  <c:v>54.816000000000003</c:v>
                </c:pt>
                <c:pt idx="754">
                  <c:v>54.527000000000001</c:v>
                </c:pt>
                <c:pt idx="755">
                  <c:v>54.335999999999999</c:v>
                </c:pt>
                <c:pt idx="756">
                  <c:v>53.951000000000001</c:v>
                </c:pt>
                <c:pt idx="757">
                  <c:v>54.143000000000001</c:v>
                </c:pt>
                <c:pt idx="758">
                  <c:v>53.856000000000002</c:v>
                </c:pt>
                <c:pt idx="759">
                  <c:v>54.046999999999997</c:v>
                </c:pt>
                <c:pt idx="760">
                  <c:v>53.375999999999998</c:v>
                </c:pt>
                <c:pt idx="761">
                  <c:v>53.087000000000003</c:v>
                </c:pt>
                <c:pt idx="762">
                  <c:v>53.182000000000002</c:v>
                </c:pt>
                <c:pt idx="763">
                  <c:v>52.511000000000003</c:v>
                </c:pt>
                <c:pt idx="764">
                  <c:v>52.701999999999998</c:v>
                </c:pt>
                <c:pt idx="765">
                  <c:v>52.701999999999998</c:v>
                </c:pt>
                <c:pt idx="766">
                  <c:v>52.415999999999997</c:v>
                </c:pt>
                <c:pt idx="767">
                  <c:v>52.606999999999999</c:v>
                </c:pt>
                <c:pt idx="768">
                  <c:v>52.415999999999997</c:v>
                </c:pt>
                <c:pt idx="769">
                  <c:v>52.127000000000002</c:v>
                </c:pt>
                <c:pt idx="770">
                  <c:v>52.317999999999998</c:v>
                </c:pt>
                <c:pt idx="771">
                  <c:v>51.743000000000002</c:v>
                </c:pt>
                <c:pt idx="772">
                  <c:v>51.838000000000001</c:v>
                </c:pt>
                <c:pt idx="773">
                  <c:v>51.551000000000002</c:v>
                </c:pt>
                <c:pt idx="774">
                  <c:v>51.262999999999998</c:v>
                </c:pt>
                <c:pt idx="775">
                  <c:v>50.878</c:v>
                </c:pt>
                <c:pt idx="776">
                  <c:v>51.262999999999998</c:v>
                </c:pt>
                <c:pt idx="777">
                  <c:v>50.686999999999998</c:v>
                </c:pt>
                <c:pt idx="778">
                  <c:v>51.167000000000002</c:v>
                </c:pt>
                <c:pt idx="779">
                  <c:v>50.398000000000003</c:v>
                </c:pt>
                <c:pt idx="780">
                  <c:v>50.591000000000001</c:v>
                </c:pt>
                <c:pt idx="781">
                  <c:v>50.110999999999997</c:v>
                </c:pt>
                <c:pt idx="782">
                  <c:v>50.207000000000001</c:v>
                </c:pt>
                <c:pt idx="783">
                  <c:v>50.015999999999998</c:v>
                </c:pt>
                <c:pt idx="784">
                  <c:v>49.822000000000003</c:v>
                </c:pt>
                <c:pt idx="785">
                  <c:v>49.917999999999999</c:v>
                </c:pt>
                <c:pt idx="786">
                  <c:v>49.438000000000002</c:v>
                </c:pt>
                <c:pt idx="787">
                  <c:v>49.151000000000003</c:v>
                </c:pt>
                <c:pt idx="788">
                  <c:v>49.247</c:v>
                </c:pt>
                <c:pt idx="789">
                  <c:v>49.438000000000002</c:v>
                </c:pt>
                <c:pt idx="790">
                  <c:v>48.957999999999998</c:v>
                </c:pt>
                <c:pt idx="791">
                  <c:v>48.767000000000003</c:v>
                </c:pt>
                <c:pt idx="792">
                  <c:v>48.478000000000002</c:v>
                </c:pt>
                <c:pt idx="793">
                  <c:v>48.862000000000002</c:v>
                </c:pt>
                <c:pt idx="794">
                  <c:v>48.767000000000003</c:v>
                </c:pt>
                <c:pt idx="795">
                  <c:v>48.381999999999998</c:v>
                </c:pt>
                <c:pt idx="796">
                  <c:v>48.767000000000003</c:v>
                </c:pt>
                <c:pt idx="797">
                  <c:v>48.381999999999998</c:v>
                </c:pt>
                <c:pt idx="798">
                  <c:v>48.381999999999998</c:v>
                </c:pt>
                <c:pt idx="799">
                  <c:v>48.381999999999998</c:v>
                </c:pt>
                <c:pt idx="800">
                  <c:v>47.902999999999999</c:v>
                </c:pt>
                <c:pt idx="801">
                  <c:v>48.191000000000003</c:v>
                </c:pt>
                <c:pt idx="802">
                  <c:v>48.191000000000003</c:v>
                </c:pt>
                <c:pt idx="803">
                  <c:v>47.616</c:v>
                </c:pt>
                <c:pt idx="804">
                  <c:v>48.286999999999999</c:v>
                </c:pt>
                <c:pt idx="805">
                  <c:v>48.095999999999997</c:v>
                </c:pt>
                <c:pt idx="806">
                  <c:v>47.037999999999997</c:v>
                </c:pt>
                <c:pt idx="807">
                  <c:v>47.326999999999998</c:v>
                </c:pt>
                <c:pt idx="808">
                  <c:v>47.231000000000002</c:v>
                </c:pt>
                <c:pt idx="809">
                  <c:v>47.326999999999998</c:v>
                </c:pt>
                <c:pt idx="810">
                  <c:v>47.136000000000003</c:v>
                </c:pt>
                <c:pt idx="811">
                  <c:v>47.037999999999997</c:v>
                </c:pt>
                <c:pt idx="812">
                  <c:v>46.942999999999998</c:v>
                </c:pt>
                <c:pt idx="813">
                  <c:v>46.750999999999998</c:v>
                </c:pt>
                <c:pt idx="814">
                  <c:v>46.942999999999998</c:v>
                </c:pt>
                <c:pt idx="815">
                  <c:v>46.463000000000001</c:v>
                </c:pt>
                <c:pt idx="816">
                  <c:v>46.750999999999998</c:v>
                </c:pt>
                <c:pt idx="817">
                  <c:v>46.655999999999999</c:v>
                </c:pt>
                <c:pt idx="818">
                  <c:v>46.366999999999997</c:v>
                </c:pt>
                <c:pt idx="819">
                  <c:v>46.463000000000001</c:v>
                </c:pt>
                <c:pt idx="820">
                  <c:v>45.981999999999999</c:v>
                </c:pt>
                <c:pt idx="821">
                  <c:v>46.176000000000002</c:v>
                </c:pt>
                <c:pt idx="822">
                  <c:v>45.887</c:v>
                </c:pt>
                <c:pt idx="823">
                  <c:v>45.887</c:v>
                </c:pt>
                <c:pt idx="824">
                  <c:v>45.597999999999999</c:v>
                </c:pt>
                <c:pt idx="825">
                  <c:v>45.406999999999996</c:v>
                </c:pt>
                <c:pt idx="826">
                  <c:v>45.502000000000002</c:v>
                </c:pt>
                <c:pt idx="827">
                  <c:v>45.597999999999999</c:v>
                </c:pt>
                <c:pt idx="828">
                  <c:v>45.311</c:v>
                </c:pt>
                <c:pt idx="829">
                  <c:v>45.311</c:v>
                </c:pt>
                <c:pt idx="830">
                  <c:v>45.216000000000001</c:v>
                </c:pt>
                <c:pt idx="831">
                  <c:v>45.311</c:v>
                </c:pt>
                <c:pt idx="832">
                  <c:v>45.406999999999996</c:v>
                </c:pt>
                <c:pt idx="833">
                  <c:v>44.927</c:v>
                </c:pt>
                <c:pt idx="834">
                  <c:v>44.927</c:v>
                </c:pt>
                <c:pt idx="835">
                  <c:v>45.118000000000002</c:v>
                </c:pt>
                <c:pt idx="836">
                  <c:v>44.735999999999997</c:v>
                </c:pt>
                <c:pt idx="837">
                  <c:v>44.637999999999998</c:v>
                </c:pt>
                <c:pt idx="838">
                  <c:v>44.447000000000003</c:v>
                </c:pt>
                <c:pt idx="839">
                  <c:v>45.118000000000002</c:v>
                </c:pt>
                <c:pt idx="840">
                  <c:v>44.447000000000003</c:v>
                </c:pt>
                <c:pt idx="841">
                  <c:v>44.350999999999999</c:v>
                </c:pt>
                <c:pt idx="842">
                  <c:v>44.350999999999999</c:v>
                </c:pt>
                <c:pt idx="843">
                  <c:v>43.966999999999999</c:v>
                </c:pt>
                <c:pt idx="844">
                  <c:v>44.447000000000003</c:v>
                </c:pt>
                <c:pt idx="845">
                  <c:v>44.256</c:v>
                </c:pt>
                <c:pt idx="846">
                  <c:v>44.542000000000002</c:v>
                </c:pt>
                <c:pt idx="847">
                  <c:v>44.350999999999999</c:v>
                </c:pt>
                <c:pt idx="848">
                  <c:v>44.158000000000001</c:v>
                </c:pt>
                <c:pt idx="849">
                  <c:v>44.061999999999998</c:v>
                </c:pt>
                <c:pt idx="850">
                  <c:v>44.061999999999998</c:v>
                </c:pt>
                <c:pt idx="851">
                  <c:v>44.542000000000002</c:v>
                </c:pt>
                <c:pt idx="852">
                  <c:v>44.350999999999999</c:v>
                </c:pt>
                <c:pt idx="853">
                  <c:v>44.061999999999998</c:v>
                </c:pt>
                <c:pt idx="854">
                  <c:v>43.776000000000003</c:v>
                </c:pt>
                <c:pt idx="855">
                  <c:v>43.677999999999997</c:v>
                </c:pt>
                <c:pt idx="856">
                  <c:v>43.677999999999997</c:v>
                </c:pt>
                <c:pt idx="857">
                  <c:v>43.677999999999997</c:v>
                </c:pt>
                <c:pt idx="858">
                  <c:v>43.966999999999999</c:v>
                </c:pt>
                <c:pt idx="859">
                  <c:v>43.966999999999999</c:v>
                </c:pt>
                <c:pt idx="860">
                  <c:v>43.677999999999997</c:v>
                </c:pt>
                <c:pt idx="861">
                  <c:v>43.582999999999998</c:v>
                </c:pt>
                <c:pt idx="862">
                  <c:v>43.295999999999999</c:v>
                </c:pt>
                <c:pt idx="863">
                  <c:v>43.582999999999998</c:v>
                </c:pt>
                <c:pt idx="864">
                  <c:v>43.198</c:v>
                </c:pt>
                <c:pt idx="865">
                  <c:v>43.198</c:v>
                </c:pt>
                <c:pt idx="866">
                  <c:v>43.295999999999999</c:v>
                </c:pt>
                <c:pt idx="867">
                  <c:v>43.295999999999999</c:v>
                </c:pt>
                <c:pt idx="868">
                  <c:v>43.006999999999998</c:v>
                </c:pt>
                <c:pt idx="869">
                  <c:v>43.582999999999998</c:v>
                </c:pt>
                <c:pt idx="870">
                  <c:v>43.295999999999999</c:v>
                </c:pt>
                <c:pt idx="871">
                  <c:v>43.390999999999998</c:v>
                </c:pt>
                <c:pt idx="872">
                  <c:v>42.718000000000004</c:v>
                </c:pt>
                <c:pt idx="873">
                  <c:v>43.006999999999998</c:v>
                </c:pt>
                <c:pt idx="874">
                  <c:v>43.006999999999998</c:v>
                </c:pt>
                <c:pt idx="875">
                  <c:v>43.103000000000002</c:v>
                </c:pt>
                <c:pt idx="876">
                  <c:v>43.198</c:v>
                </c:pt>
                <c:pt idx="877">
                  <c:v>43.295999999999999</c:v>
                </c:pt>
                <c:pt idx="878">
                  <c:v>42.816000000000003</c:v>
                </c:pt>
                <c:pt idx="879">
                  <c:v>43.006999999999998</c:v>
                </c:pt>
                <c:pt idx="880">
                  <c:v>43.103000000000002</c:v>
                </c:pt>
                <c:pt idx="881">
                  <c:v>43.006999999999998</c:v>
                </c:pt>
                <c:pt idx="882">
                  <c:v>42.816000000000003</c:v>
                </c:pt>
                <c:pt idx="883">
                  <c:v>42.718000000000004</c:v>
                </c:pt>
                <c:pt idx="884">
                  <c:v>42.335999999999999</c:v>
                </c:pt>
                <c:pt idx="885">
                  <c:v>43.103000000000002</c:v>
                </c:pt>
                <c:pt idx="886">
                  <c:v>42.718000000000004</c:v>
                </c:pt>
                <c:pt idx="887">
                  <c:v>42.718000000000004</c:v>
                </c:pt>
                <c:pt idx="888">
                  <c:v>42.911000000000001</c:v>
                </c:pt>
                <c:pt idx="889">
                  <c:v>42.430999999999997</c:v>
                </c:pt>
                <c:pt idx="890">
                  <c:v>42.622999999999998</c:v>
                </c:pt>
                <c:pt idx="891">
                  <c:v>42.911000000000001</c:v>
                </c:pt>
                <c:pt idx="892">
                  <c:v>42.718000000000004</c:v>
                </c:pt>
                <c:pt idx="893">
                  <c:v>42.430999999999997</c:v>
                </c:pt>
                <c:pt idx="894">
                  <c:v>42.622999999999998</c:v>
                </c:pt>
                <c:pt idx="895">
                  <c:v>42.335999999999999</c:v>
                </c:pt>
                <c:pt idx="896">
                  <c:v>42.430999999999997</c:v>
                </c:pt>
                <c:pt idx="897">
                  <c:v>42.816000000000003</c:v>
                </c:pt>
                <c:pt idx="898">
                  <c:v>42.527000000000001</c:v>
                </c:pt>
                <c:pt idx="899">
                  <c:v>42.527000000000001</c:v>
                </c:pt>
                <c:pt idx="900">
                  <c:v>42.046999999999997</c:v>
                </c:pt>
                <c:pt idx="901">
                  <c:v>42.335999999999999</c:v>
                </c:pt>
                <c:pt idx="902">
                  <c:v>42.335999999999999</c:v>
                </c:pt>
                <c:pt idx="903">
                  <c:v>42.430999999999997</c:v>
                </c:pt>
                <c:pt idx="904">
                  <c:v>42.527000000000001</c:v>
                </c:pt>
                <c:pt idx="905">
                  <c:v>42.430999999999997</c:v>
                </c:pt>
                <c:pt idx="906">
                  <c:v>42.430999999999997</c:v>
                </c:pt>
                <c:pt idx="907">
                  <c:v>42.143000000000001</c:v>
                </c:pt>
                <c:pt idx="908">
                  <c:v>42.335999999999999</c:v>
                </c:pt>
                <c:pt idx="909">
                  <c:v>42.335999999999999</c:v>
                </c:pt>
                <c:pt idx="910">
                  <c:v>42.527000000000001</c:v>
                </c:pt>
                <c:pt idx="911">
                  <c:v>41.951000000000001</c:v>
                </c:pt>
                <c:pt idx="912">
                  <c:v>42.143000000000001</c:v>
                </c:pt>
                <c:pt idx="913">
                  <c:v>42.046999999999997</c:v>
                </c:pt>
                <c:pt idx="914">
                  <c:v>42.335999999999999</c:v>
                </c:pt>
                <c:pt idx="915">
                  <c:v>41.567</c:v>
                </c:pt>
                <c:pt idx="916">
                  <c:v>41.856000000000002</c:v>
                </c:pt>
                <c:pt idx="917">
                  <c:v>41.856000000000002</c:v>
                </c:pt>
                <c:pt idx="918">
                  <c:v>41.758000000000003</c:v>
                </c:pt>
                <c:pt idx="919">
                  <c:v>41.661999999999999</c:v>
                </c:pt>
                <c:pt idx="920">
                  <c:v>41.856000000000002</c:v>
                </c:pt>
                <c:pt idx="921">
                  <c:v>42.143000000000001</c:v>
                </c:pt>
                <c:pt idx="922">
                  <c:v>42.238</c:v>
                </c:pt>
                <c:pt idx="923">
                  <c:v>42.143000000000001</c:v>
                </c:pt>
                <c:pt idx="924">
                  <c:v>41.856000000000002</c:v>
                </c:pt>
                <c:pt idx="925">
                  <c:v>41.856000000000002</c:v>
                </c:pt>
                <c:pt idx="926">
                  <c:v>41.951000000000001</c:v>
                </c:pt>
                <c:pt idx="927">
                  <c:v>42.046999999999997</c:v>
                </c:pt>
                <c:pt idx="928">
                  <c:v>42.046999999999997</c:v>
                </c:pt>
                <c:pt idx="929">
                  <c:v>41.567</c:v>
                </c:pt>
                <c:pt idx="930">
                  <c:v>42.046999999999997</c:v>
                </c:pt>
                <c:pt idx="931">
                  <c:v>42.430999999999997</c:v>
                </c:pt>
                <c:pt idx="932">
                  <c:v>41.856000000000002</c:v>
                </c:pt>
                <c:pt idx="933">
                  <c:v>42.046999999999997</c:v>
                </c:pt>
                <c:pt idx="934">
                  <c:v>41.758000000000003</c:v>
                </c:pt>
                <c:pt idx="935">
                  <c:v>41.758000000000003</c:v>
                </c:pt>
                <c:pt idx="936">
                  <c:v>41.567</c:v>
                </c:pt>
                <c:pt idx="937">
                  <c:v>41.277999999999999</c:v>
                </c:pt>
                <c:pt idx="938">
                  <c:v>41.951000000000001</c:v>
                </c:pt>
                <c:pt idx="939">
                  <c:v>41.661999999999999</c:v>
                </c:pt>
                <c:pt idx="940">
                  <c:v>41.951000000000001</c:v>
                </c:pt>
                <c:pt idx="941">
                  <c:v>41.661999999999999</c:v>
                </c:pt>
                <c:pt idx="942">
                  <c:v>41.661999999999999</c:v>
                </c:pt>
                <c:pt idx="943">
                  <c:v>41.758000000000003</c:v>
                </c:pt>
                <c:pt idx="944">
                  <c:v>41.856000000000002</c:v>
                </c:pt>
                <c:pt idx="945">
                  <c:v>41.951000000000001</c:v>
                </c:pt>
                <c:pt idx="946">
                  <c:v>41.567</c:v>
                </c:pt>
                <c:pt idx="947">
                  <c:v>40.991</c:v>
                </c:pt>
                <c:pt idx="948">
                  <c:v>41.856000000000002</c:v>
                </c:pt>
                <c:pt idx="949">
                  <c:v>42.143000000000001</c:v>
                </c:pt>
                <c:pt idx="950">
                  <c:v>41.758000000000003</c:v>
                </c:pt>
                <c:pt idx="951">
                  <c:v>41.758000000000003</c:v>
                </c:pt>
                <c:pt idx="952">
                  <c:v>41.375999999999998</c:v>
                </c:pt>
                <c:pt idx="953">
                  <c:v>41.277999999999999</c:v>
                </c:pt>
                <c:pt idx="954">
                  <c:v>41.375999999999998</c:v>
                </c:pt>
                <c:pt idx="955">
                  <c:v>41.951000000000001</c:v>
                </c:pt>
                <c:pt idx="956">
                  <c:v>41.661999999999999</c:v>
                </c:pt>
                <c:pt idx="957">
                  <c:v>41.856000000000002</c:v>
                </c:pt>
                <c:pt idx="958">
                  <c:v>41.277999999999999</c:v>
                </c:pt>
                <c:pt idx="959">
                  <c:v>41.567</c:v>
                </c:pt>
                <c:pt idx="960">
                  <c:v>41.277999999999999</c:v>
                </c:pt>
                <c:pt idx="961">
                  <c:v>41.277999999999999</c:v>
                </c:pt>
                <c:pt idx="962">
                  <c:v>41.470999999999997</c:v>
                </c:pt>
                <c:pt idx="963">
                  <c:v>41.661999999999999</c:v>
                </c:pt>
                <c:pt idx="964">
                  <c:v>41.567</c:v>
                </c:pt>
                <c:pt idx="965">
                  <c:v>41.182000000000002</c:v>
                </c:pt>
                <c:pt idx="966">
                  <c:v>41.951000000000001</c:v>
                </c:pt>
                <c:pt idx="967">
                  <c:v>41.661999999999999</c:v>
                </c:pt>
                <c:pt idx="968">
                  <c:v>40.991</c:v>
                </c:pt>
                <c:pt idx="969">
                  <c:v>41.375999999999998</c:v>
                </c:pt>
                <c:pt idx="970">
                  <c:v>41.661999999999999</c:v>
                </c:pt>
                <c:pt idx="971">
                  <c:v>41.951000000000001</c:v>
                </c:pt>
                <c:pt idx="972">
                  <c:v>41.277999999999999</c:v>
                </c:pt>
                <c:pt idx="973">
                  <c:v>41.567</c:v>
                </c:pt>
                <c:pt idx="974">
                  <c:v>41.758000000000003</c:v>
                </c:pt>
                <c:pt idx="975">
                  <c:v>41.856000000000002</c:v>
                </c:pt>
                <c:pt idx="976">
                  <c:v>41.277999999999999</c:v>
                </c:pt>
                <c:pt idx="977">
                  <c:v>41.758000000000003</c:v>
                </c:pt>
                <c:pt idx="978">
                  <c:v>41.567</c:v>
                </c:pt>
                <c:pt idx="979">
                  <c:v>41.277999999999999</c:v>
                </c:pt>
                <c:pt idx="980">
                  <c:v>41.661999999999999</c:v>
                </c:pt>
                <c:pt idx="981">
                  <c:v>41.661999999999999</c:v>
                </c:pt>
                <c:pt idx="982">
                  <c:v>41.470999999999997</c:v>
                </c:pt>
                <c:pt idx="983">
                  <c:v>41.567</c:v>
                </c:pt>
                <c:pt idx="984">
                  <c:v>41.470999999999997</c:v>
                </c:pt>
                <c:pt idx="985">
                  <c:v>41.856000000000002</c:v>
                </c:pt>
                <c:pt idx="986">
                  <c:v>41.277999999999999</c:v>
                </c:pt>
                <c:pt idx="987">
                  <c:v>41.567</c:v>
                </c:pt>
                <c:pt idx="988">
                  <c:v>41.375999999999998</c:v>
                </c:pt>
                <c:pt idx="989">
                  <c:v>41.375999999999998</c:v>
                </c:pt>
                <c:pt idx="990">
                  <c:v>41.277999999999999</c:v>
                </c:pt>
                <c:pt idx="991">
                  <c:v>41.567</c:v>
                </c:pt>
                <c:pt idx="992">
                  <c:v>41.470999999999997</c:v>
                </c:pt>
                <c:pt idx="993">
                  <c:v>41.182000000000002</c:v>
                </c:pt>
                <c:pt idx="994">
                  <c:v>41.470999999999997</c:v>
                </c:pt>
                <c:pt idx="995">
                  <c:v>41.277999999999999</c:v>
                </c:pt>
                <c:pt idx="996">
                  <c:v>41.375999999999998</c:v>
                </c:pt>
                <c:pt idx="997">
                  <c:v>41.277999999999999</c:v>
                </c:pt>
                <c:pt idx="998">
                  <c:v>41.277999999999999</c:v>
                </c:pt>
                <c:pt idx="999">
                  <c:v>41.470999999999997</c:v>
                </c:pt>
                <c:pt idx="1000">
                  <c:v>41.567</c:v>
                </c:pt>
                <c:pt idx="1001">
                  <c:v>41.470999999999997</c:v>
                </c:pt>
                <c:pt idx="1002">
                  <c:v>41.375999999999998</c:v>
                </c:pt>
                <c:pt idx="1003">
                  <c:v>41.470999999999997</c:v>
                </c:pt>
                <c:pt idx="1004">
                  <c:v>41.087000000000003</c:v>
                </c:pt>
                <c:pt idx="1005">
                  <c:v>41.758000000000003</c:v>
                </c:pt>
                <c:pt idx="1006">
                  <c:v>41.470999999999997</c:v>
                </c:pt>
                <c:pt idx="1007">
                  <c:v>41.661999999999999</c:v>
                </c:pt>
                <c:pt idx="1008">
                  <c:v>41.277999999999999</c:v>
                </c:pt>
                <c:pt idx="1009">
                  <c:v>41.277999999999999</c:v>
                </c:pt>
                <c:pt idx="1010">
                  <c:v>41.087000000000003</c:v>
                </c:pt>
                <c:pt idx="1011">
                  <c:v>41.856000000000002</c:v>
                </c:pt>
                <c:pt idx="1012">
                  <c:v>41.470999999999997</c:v>
                </c:pt>
                <c:pt idx="1013">
                  <c:v>41.470999999999997</c:v>
                </c:pt>
                <c:pt idx="1014">
                  <c:v>41.277999999999999</c:v>
                </c:pt>
                <c:pt idx="1015">
                  <c:v>41.758000000000003</c:v>
                </c:pt>
                <c:pt idx="1016">
                  <c:v>41.375999999999998</c:v>
                </c:pt>
                <c:pt idx="1017">
                  <c:v>41.375999999999998</c:v>
                </c:pt>
                <c:pt idx="1018">
                  <c:v>41.375999999999998</c:v>
                </c:pt>
                <c:pt idx="1019">
                  <c:v>41.567</c:v>
                </c:pt>
                <c:pt idx="1020">
                  <c:v>41.277999999999999</c:v>
                </c:pt>
                <c:pt idx="1021">
                  <c:v>41.182000000000002</c:v>
                </c:pt>
                <c:pt idx="1022">
                  <c:v>41.375999999999998</c:v>
                </c:pt>
                <c:pt idx="1023">
                  <c:v>41.470999999999997</c:v>
                </c:pt>
                <c:pt idx="1024">
                  <c:v>41.661999999999999</c:v>
                </c:pt>
                <c:pt idx="1025">
                  <c:v>41.470999999999997</c:v>
                </c:pt>
                <c:pt idx="1026">
                  <c:v>41.277999999999999</c:v>
                </c:pt>
                <c:pt idx="1027">
                  <c:v>40.991</c:v>
                </c:pt>
                <c:pt idx="1028">
                  <c:v>40.896000000000001</c:v>
                </c:pt>
                <c:pt idx="1029">
                  <c:v>41.567</c:v>
                </c:pt>
                <c:pt idx="1030">
                  <c:v>41.182000000000002</c:v>
                </c:pt>
                <c:pt idx="1031">
                  <c:v>41.277999999999999</c:v>
                </c:pt>
                <c:pt idx="1032">
                  <c:v>41.277999999999999</c:v>
                </c:pt>
                <c:pt idx="1033">
                  <c:v>41.277999999999999</c:v>
                </c:pt>
                <c:pt idx="1034">
                  <c:v>40.991</c:v>
                </c:pt>
                <c:pt idx="1035">
                  <c:v>41.182000000000002</c:v>
                </c:pt>
                <c:pt idx="1036">
                  <c:v>41.277999999999999</c:v>
                </c:pt>
                <c:pt idx="1037">
                  <c:v>41.567</c:v>
                </c:pt>
                <c:pt idx="1038">
                  <c:v>40.991</c:v>
                </c:pt>
                <c:pt idx="1039">
                  <c:v>41.375999999999998</c:v>
                </c:pt>
                <c:pt idx="1040">
                  <c:v>41.087000000000003</c:v>
                </c:pt>
                <c:pt idx="1041">
                  <c:v>41.567</c:v>
                </c:pt>
                <c:pt idx="1042">
                  <c:v>41.087000000000003</c:v>
                </c:pt>
                <c:pt idx="1043">
                  <c:v>40.896000000000001</c:v>
                </c:pt>
                <c:pt idx="1044">
                  <c:v>40.991</c:v>
                </c:pt>
                <c:pt idx="1045">
                  <c:v>41.277999999999999</c:v>
                </c:pt>
                <c:pt idx="1046">
                  <c:v>41.182000000000002</c:v>
                </c:pt>
                <c:pt idx="1047">
                  <c:v>41.277999999999999</c:v>
                </c:pt>
                <c:pt idx="1048">
                  <c:v>41.277999999999999</c:v>
                </c:pt>
                <c:pt idx="1049">
                  <c:v>41.182000000000002</c:v>
                </c:pt>
                <c:pt idx="1050">
                  <c:v>41.375999999999998</c:v>
                </c:pt>
                <c:pt idx="1051">
                  <c:v>40.798000000000002</c:v>
                </c:pt>
                <c:pt idx="1052">
                  <c:v>41.375999999999998</c:v>
                </c:pt>
                <c:pt idx="1053">
                  <c:v>40.991</c:v>
                </c:pt>
                <c:pt idx="1054">
                  <c:v>40.701999999999998</c:v>
                </c:pt>
                <c:pt idx="1055">
                  <c:v>41.087000000000003</c:v>
                </c:pt>
                <c:pt idx="1056">
                  <c:v>40.991</c:v>
                </c:pt>
                <c:pt idx="1057">
                  <c:v>41.182000000000002</c:v>
                </c:pt>
                <c:pt idx="1058">
                  <c:v>41.277999999999999</c:v>
                </c:pt>
                <c:pt idx="1059">
                  <c:v>41.087000000000003</c:v>
                </c:pt>
                <c:pt idx="1060">
                  <c:v>41.470999999999997</c:v>
                </c:pt>
                <c:pt idx="1061">
                  <c:v>41.182000000000002</c:v>
                </c:pt>
                <c:pt idx="1062">
                  <c:v>41.087000000000003</c:v>
                </c:pt>
                <c:pt idx="1063">
                  <c:v>41.277999999999999</c:v>
                </c:pt>
                <c:pt idx="1064">
                  <c:v>40.896000000000001</c:v>
                </c:pt>
                <c:pt idx="1065">
                  <c:v>40.896000000000001</c:v>
                </c:pt>
                <c:pt idx="1066">
                  <c:v>41.182000000000002</c:v>
                </c:pt>
                <c:pt idx="1067">
                  <c:v>41.567</c:v>
                </c:pt>
                <c:pt idx="1068">
                  <c:v>41.277999999999999</c:v>
                </c:pt>
                <c:pt idx="1069">
                  <c:v>40.991</c:v>
                </c:pt>
                <c:pt idx="1070">
                  <c:v>41.182000000000002</c:v>
                </c:pt>
                <c:pt idx="1071">
                  <c:v>40.991</c:v>
                </c:pt>
                <c:pt idx="1072">
                  <c:v>41.182000000000002</c:v>
                </c:pt>
                <c:pt idx="1073">
                  <c:v>41.182000000000002</c:v>
                </c:pt>
                <c:pt idx="1074">
                  <c:v>41.277999999999999</c:v>
                </c:pt>
                <c:pt idx="1075">
                  <c:v>40.896000000000001</c:v>
                </c:pt>
                <c:pt idx="1076">
                  <c:v>40.896000000000001</c:v>
                </c:pt>
                <c:pt idx="1077">
                  <c:v>41.375999999999998</c:v>
                </c:pt>
                <c:pt idx="1078">
                  <c:v>41.567</c:v>
                </c:pt>
                <c:pt idx="1079">
                  <c:v>41.182000000000002</c:v>
                </c:pt>
                <c:pt idx="1080">
                  <c:v>41.277999999999999</c:v>
                </c:pt>
                <c:pt idx="1081">
                  <c:v>40.606999999999999</c:v>
                </c:pt>
                <c:pt idx="1082">
                  <c:v>41.661999999999999</c:v>
                </c:pt>
                <c:pt idx="1083">
                  <c:v>41.375999999999998</c:v>
                </c:pt>
                <c:pt idx="1084">
                  <c:v>41.277999999999999</c:v>
                </c:pt>
                <c:pt idx="1085">
                  <c:v>40.896000000000001</c:v>
                </c:pt>
                <c:pt idx="1086">
                  <c:v>41.375999999999998</c:v>
                </c:pt>
                <c:pt idx="1087">
                  <c:v>41.277999999999999</c:v>
                </c:pt>
                <c:pt idx="1088">
                  <c:v>41.661999999999999</c:v>
                </c:pt>
                <c:pt idx="1089">
                  <c:v>41.470999999999997</c:v>
                </c:pt>
                <c:pt idx="1090">
                  <c:v>40.991</c:v>
                </c:pt>
                <c:pt idx="1091">
                  <c:v>41.661999999999999</c:v>
                </c:pt>
                <c:pt idx="1092">
                  <c:v>41.182000000000002</c:v>
                </c:pt>
                <c:pt idx="1093">
                  <c:v>41.182000000000002</c:v>
                </c:pt>
                <c:pt idx="1094">
                  <c:v>41.087000000000003</c:v>
                </c:pt>
                <c:pt idx="1095">
                  <c:v>41.087000000000003</c:v>
                </c:pt>
                <c:pt idx="1096">
                  <c:v>41.182000000000002</c:v>
                </c:pt>
                <c:pt idx="1097">
                  <c:v>40.991</c:v>
                </c:pt>
                <c:pt idx="1098">
                  <c:v>41.375999999999998</c:v>
                </c:pt>
                <c:pt idx="1099">
                  <c:v>40.991</c:v>
                </c:pt>
                <c:pt idx="1100">
                  <c:v>41.277999999999999</c:v>
                </c:pt>
                <c:pt idx="1101">
                  <c:v>41.470999999999997</c:v>
                </c:pt>
                <c:pt idx="1102">
                  <c:v>41.567</c:v>
                </c:pt>
                <c:pt idx="1103">
                  <c:v>41.182000000000002</c:v>
                </c:pt>
                <c:pt idx="1104">
                  <c:v>41.470999999999997</c:v>
                </c:pt>
                <c:pt idx="1105">
                  <c:v>41.375999999999998</c:v>
                </c:pt>
                <c:pt idx="1106">
                  <c:v>41.182000000000002</c:v>
                </c:pt>
                <c:pt idx="1107">
                  <c:v>41.087000000000003</c:v>
                </c:pt>
                <c:pt idx="1108">
                  <c:v>40.991</c:v>
                </c:pt>
                <c:pt idx="1109">
                  <c:v>40.896000000000001</c:v>
                </c:pt>
                <c:pt idx="1110">
                  <c:v>41.087000000000003</c:v>
                </c:pt>
                <c:pt idx="1111">
                  <c:v>41.087000000000003</c:v>
                </c:pt>
                <c:pt idx="1112">
                  <c:v>41.277999999999999</c:v>
                </c:pt>
                <c:pt idx="1113">
                  <c:v>41.182000000000002</c:v>
                </c:pt>
                <c:pt idx="1114">
                  <c:v>40.798000000000002</c:v>
                </c:pt>
                <c:pt idx="1115">
                  <c:v>41.470999999999997</c:v>
                </c:pt>
                <c:pt idx="1116">
                  <c:v>41.277999999999999</c:v>
                </c:pt>
                <c:pt idx="1117">
                  <c:v>41.470999999999997</c:v>
                </c:pt>
                <c:pt idx="1118">
                  <c:v>40.991</c:v>
                </c:pt>
                <c:pt idx="1119">
                  <c:v>40.896000000000001</c:v>
                </c:pt>
                <c:pt idx="1120">
                  <c:v>41.375999999999998</c:v>
                </c:pt>
                <c:pt idx="1121">
                  <c:v>41.375999999999998</c:v>
                </c:pt>
                <c:pt idx="1122">
                  <c:v>41.182000000000002</c:v>
                </c:pt>
                <c:pt idx="1123">
                  <c:v>41.277999999999999</c:v>
                </c:pt>
                <c:pt idx="1124">
                  <c:v>40.991</c:v>
                </c:pt>
                <c:pt idx="1125">
                  <c:v>40.798000000000002</c:v>
                </c:pt>
                <c:pt idx="1126">
                  <c:v>41.182000000000002</c:v>
                </c:pt>
                <c:pt idx="1127">
                  <c:v>41.277999999999999</c:v>
                </c:pt>
                <c:pt idx="1128">
                  <c:v>41.277999999999999</c:v>
                </c:pt>
                <c:pt idx="1129">
                  <c:v>41.470999999999997</c:v>
                </c:pt>
                <c:pt idx="1130">
                  <c:v>40.701999999999998</c:v>
                </c:pt>
                <c:pt idx="1131">
                  <c:v>41.277999999999999</c:v>
                </c:pt>
                <c:pt idx="1132">
                  <c:v>40.991</c:v>
                </c:pt>
                <c:pt idx="1133">
                  <c:v>41.087000000000003</c:v>
                </c:pt>
                <c:pt idx="1134">
                  <c:v>41.087000000000003</c:v>
                </c:pt>
                <c:pt idx="1135">
                  <c:v>41.087000000000003</c:v>
                </c:pt>
                <c:pt idx="1136">
                  <c:v>41.087000000000003</c:v>
                </c:pt>
                <c:pt idx="1137">
                  <c:v>41.087000000000003</c:v>
                </c:pt>
                <c:pt idx="1138">
                  <c:v>41.661999999999999</c:v>
                </c:pt>
                <c:pt idx="1139">
                  <c:v>41.375999999999998</c:v>
                </c:pt>
                <c:pt idx="1140">
                  <c:v>40.991</c:v>
                </c:pt>
                <c:pt idx="1141">
                  <c:v>41.087000000000003</c:v>
                </c:pt>
                <c:pt idx="1142">
                  <c:v>41.087000000000003</c:v>
                </c:pt>
                <c:pt idx="1143">
                  <c:v>41.375999999999998</c:v>
                </c:pt>
                <c:pt idx="1144">
                  <c:v>41.375999999999998</c:v>
                </c:pt>
                <c:pt idx="1145">
                  <c:v>41.470999999999997</c:v>
                </c:pt>
                <c:pt idx="1146">
                  <c:v>41.758000000000003</c:v>
                </c:pt>
                <c:pt idx="1147">
                  <c:v>41.375999999999998</c:v>
                </c:pt>
                <c:pt idx="1148">
                  <c:v>40.798000000000002</c:v>
                </c:pt>
                <c:pt idx="1149">
                  <c:v>40.798000000000002</c:v>
                </c:pt>
                <c:pt idx="1150">
                  <c:v>40.991</c:v>
                </c:pt>
                <c:pt idx="1151">
                  <c:v>41.277999999999999</c:v>
                </c:pt>
                <c:pt idx="1152">
                  <c:v>40.991</c:v>
                </c:pt>
                <c:pt idx="1153">
                  <c:v>41.087000000000003</c:v>
                </c:pt>
                <c:pt idx="1154">
                  <c:v>41.567</c:v>
                </c:pt>
                <c:pt idx="1155">
                  <c:v>41.277999999999999</c:v>
                </c:pt>
                <c:pt idx="1156">
                  <c:v>41.087000000000003</c:v>
                </c:pt>
                <c:pt idx="1157">
                  <c:v>41.087000000000003</c:v>
                </c:pt>
                <c:pt idx="1158">
                  <c:v>41.182000000000002</c:v>
                </c:pt>
                <c:pt idx="1159">
                  <c:v>41.375999999999998</c:v>
                </c:pt>
                <c:pt idx="1160">
                  <c:v>41.277999999999999</c:v>
                </c:pt>
                <c:pt idx="1161">
                  <c:v>41.375999999999998</c:v>
                </c:pt>
                <c:pt idx="1162">
                  <c:v>40.991</c:v>
                </c:pt>
                <c:pt idx="1163">
                  <c:v>41.182000000000002</c:v>
                </c:pt>
                <c:pt idx="1164">
                  <c:v>40.798000000000002</c:v>
                </c:pt>
                <c:pt idx="1165">
                  <c:v>40.896000000000001</c:v>
                </c:pt>
                <c:pt idx="1166">
                  <c:v>41.182000000000002</c:v>
                </c:pt>
                <c:pt idx="1167">
                  <c:v>41.375999999999998</c:v>
                </c:pt>
                <c:pt idx="1168">
                  <c:v>40.991</c:v>
                </c:pt>
                <c:pt idx="1169">
                  <c:v>41.087000000000003</c:v>
                </c:pt>
                <c:pt idx="1170">
                  <c:v>40.991</c:v>
                </c:pt>
                <c:pt idx="1171">
                  <c:v>41.182000000000002</c:v>
                </c:pt>
                <c:pt idx="1172">
                  <c:v>41.182000000000002</c:v>
                </c:pt>
                <c:pt idx="1173">
                  <c:v>41.087000000000003</c:v>
                </c:pt>
                <c:pt idx="1174">
                  <c:v>41.087000000000003</c:v>
                </c:pt>
                <c:pt idx="1175">
                  <c:v>40.798000000000002</c:v>
                </c:pt>
                <c:pt idx="1176">
                  <c:v>41.277999999999999</c:v>
                </c:pt>
                <c:pt idx="1177">
                  <c:v>41.087000000000003</c:v>
                </c:pt>
                <c:pt idx="1178">
                  <c:v>40.798000000000002</c:v>
                </c:pt>
                <c:pt idx="1179">
                  <c:v>40.896000000000001</c:v>
                </c:pt>
                <c:pt idx="1180">
                  <c:v>41.277999999999999</c:v>
                </c:pt>
                <c:pt idx="1181">
                  <c:v>41.375999999999998</c:v>
                </c:pt>
                <c:pt idx="1182">
                  <c:v>41.375999999999998</c:v>
                </c:pt>
                <c:pt idx="1183">
                  <c:v>41.182000000000002</c:v>
                </c:pt>
                <c:pt idx="1184">
                  <c:v>41.375999999999998</c:v>
                </c:pt>
                <c:pt idx="1185">
                  <c:v>40.991</c:v>
                </c:pt>
                <c:pt idx="1186">
                  <c:v>41.182000000000002</c:v>
                </c:pt>
                <c:pt idx="1187">
                  <c:v>41.087000000000003</c:v>
                </c:pt>
                <c:pt idx="1188">
                  <c:v>40.701999999999998</c:v>
                </c:pt>
                <c:pt idx="1189">
                  <c:v>41.567</c:v>
                </c:pt>
                <c:pt idx="1190">
                  <c:v>40.991</c:v>
                </c:pt>
                <c:pt idx="1191">
                  <c:v>41.182000000000002</c:v>
                </c:pt>
                <c:pt idx="1192">
                  <c:v>41.277999999999999</c:v>
                </c:pt>
                <c:pt idx="1193">
                  <c:v>41.277999999999999</c:v>
                </c:pt>
                <c:pt idx="1194">
                  <c:v>40.798000000000002</c:v>
                </c:pt>
                <c:pt idx="1195">
                  <c:v>41.375999999999998</c:v>
                </c:pt>
                <c:pt idx="1196">
                  <c:v>41.470999999999997</c:v>
                </c:pt>
                <c:pt idx="1197">
                  <c:v>41.087000000000003</c:v>
                </c:pt>
                <c:pt idx="1198">
                  <c:v>41.087000000000003</c:v>
                </c:pt>
                <c:pt idx="1199">
                  <c:v>40.991</c:v>
                </c:pt>
                <c:pt idx="1200">
                  <c:v>41.087000000000003</c:v>
                </c:pt>
                <c:pt idx="1201">
                  <c:v>41.758000000000003</c:v>
                </c:pt>
                <c:pt idx="1202">
                  <c:v>41.661999999999999</c:v>
                </c:pt>
                <c:pt idx="1203">
                  <c:v>41.567</c:v>
                </c:pt>
                <c:pt idx="1204">
                  <c:v>41.087000000000003</c:v>
                </c:pt>
                <c:pt idx="1205">
                  <c:v>41.567</c:v>
                </c:pt>
                <c:pt idx="1206">
                  <c:v>41.182000000000002</c:v>
                </c:pt>
                <c:pt idx="1207">
                  <c:v>41.182000000000002</c:v>
                </c:pt>
                <c:pt idx="1208">
                  <c:v>41.470999999999997</c:v>
                </c:pt>
                <c:pt idx="1209">
                  <c:v>41.567</c:v>
                </c:pt>
                <c:pt idx="1210">
                  <c:v>41.087000000000003</c:v>
                </c:pt>
                <c:pt idx="1211">
                  <c:v>41.087000000000003</c:v>
                </c:pt>
                <c:pt idx="1212">
                  <c:v>40.991</c:v>
                </c:pt>
                <c:pt idx="1213">
                  <c:v>41.375999999999998</c:v>
                </c:pt>
                <c:pt idx="1214">
                  <c:v>41.470999999999997</c:v>
                </c:pt>
                <c:pt idx="1215">
                  <c:v>41.182000000000002</c:v>
                </c:pt>
                <c:pt idx="1216">
                  <c:v>41.087000000000003</c:v>
                </c:pt>
                <c:pt idx="1217">
                  <c:v>41.182000000000002</c:v>
                </c:pt>
                <c:pt idx="1218">
                  <c:v>41.182000000000002</c:v>
                </c:pt>
                <c:pt idx="1219">
                  <c:v>41.470999999999997</c:v>
                </c:pt>
                <c:pt idx="1220">
                  <c:v>41.087000000000003</c:v>
                </c:pt>
                <c:pt idx="1221">
                  <c:v>40.991</c:v>
                </c:pt>
                <c:pt idx="1222">
                  <c:v>41.470999999999997</c:v>
                </c:pt>
                <c:pt idx="1223">
                  <c:v>41.375999999999998</c:v>
                </c:pt>
                <c:pt idx="1224">
                  <c:v>40.896000000000001</c:v>
                </c:pt>
                <c:pt idx="1225">
                  <c:v>41.277999999999999</c:v>
                </c:pt>
                <c:pt idx="1226">
                  <c:v>41.182000000000002</c:v>
                </c:pt>
                <c:pt idx="1227">
                  <c:v>41.277999999999999</c:v>
                </c:pt>
                <c:pt idx="1228">
                  <c:v>40.798000000000002</c:v>
                </c:pt>
                <c:pt idx="1229">
                  <c:v>41.182000000000002</c:v>
                </c:pt>
                <c:pt idx="1230">
                  <c:v>41.277999999999999</c:v>
                </c:pt>
                <c:pt idx="1231">
                  <c:v>41.087000000000003</c:v>
                </c:pt>
                <c:pt idx="1232">
                  <c:v>41.470999999999997</c:v>
                </c:pt>
                <c:pt idx="1233">
                  <c:v>41.375999999999998</c:v>
                </c:pt>
                <c:pt idx="1234">
                  <c:v>41.375999999999998</c:v>
                </c:pt>
                <c:pt idx="1235">
                  <c:v>41.758000000000003</c:v>
                </c:pt>
                <c:pt idx="1236">
                  <c:v>41.277999999999999</c:v>
                </c:pt>
                <c:pt idx="1237">
                  <c:v>41.567</c:v>
                </c:pt>
                <c:pt idx="1238">
                  <c:v>41.277999999999999</c:v>
                </c:pt>
                <c:pt idx="1239">
                  <c:v>40.896000000000001</c:v>
                </c:pt>
                <c:pt idx="1240">
                  <c:v>41.375999999999998</c:v>
                </c:pt>
                <c:pt idx="1241">
                  <c:v>41.087000000000003</c:v>
                </c:pt>
                <c:pt idx="1242">
                  <c:v>40.991</c:v>
                </c:pt>
                <c:pt idx="1243">
                  <c:v>41.182000000000002</c:v>
                </c:pt>
                <c:pt idx="1244">
                  <c:v>41.470999999999997</c:v>
                </c:pt>
                <c:pt idx="1245">
                  <c:v>41.375999999999998</c:v>
                </c:pt>
                <c:pt idx="1246">
                  <c:v>41.567</c:v>
                </c:pt>
                <c:pt idx="1247">
                  <c:v>41.375999999999998</c:v>
                </c:pt>
                <c:pt idx="1248">
                  <c:v>41.277999999999999</c:v>
                </c:pt>
                <c:pt idx="1249">
                  <c:v>41.470999999999997</c:v>
                </c:pt>
                <c:pt idx="1250">
                  <c:v>41.277999999999999</c:v>
                </c:pt>
                <c:pt idx="1251">
                  <c:v>41.087000000000003</c:v>
                </c:pt>
                <c:pt idx="1252">
                  <c:v>41.470999999999997</c:v>
                </c:pt>
                <c:pt idx="1253">
                  <c:v>41.375999999999998</c:v>
                </c:pt>
                <c:pt idx="1254">
                  <c:v>41.277999999999999</c:v>
                </c:pt>
                <c:pt idx="1255">
                  <c:v>41.567</c:v>
                </c:pt>
                <c:pt idx="1256">
                  <c:v>41.277999999999999</c:v>
                </c:pt>
                <c:pt idx="1257">
                  <c:v>40.991</c:v>
                </c:pt>
                <c:pt idx="1258">
                  <c:v>41.375999999999998</c:v>
                </c:pt>
                <c:pt idx="1259">
                  <c:v>41.182000000000002</c:v>
                </c:pt>
                <c:pt idx="1260">
                  <c:v>41.087000000000003</c:v>
                </c:pt>
                <c:pt idx="1261">
                  <c:v>41.375999999999998</c:v>
                </c:pt>
                <c:pt idx="1262">
                  <c:v>41.277999999999999</c:v>
                </c:pt>
                <c:pt idx="1263">
                  <c:v>41.087000000000003</c:v>
                </c:pt>
                <c:pt idx="1264">
                  <c:v>41.277999999999999</c:v>
                </c:pt>
                <c:pt idx="1265">
                  <c:v>41.470999999999997</c:v>
                </c:pt>
                <c:pt idx="1266">
                  <c:v>41.567</c:v>
                </c:pt>
                <c:pt idx="1267">
                  <c:v>41.182000000000002</c:v>
                </c:pt>
                <c:pt idx="1268">
                  <c:v>41.375999999999998</c:v>
                </c:pt>
                <c:pt idx="1269">
                  <c:v>41.375999999999998</c:v>
                </c:pt>
                <c:pt idx="1270">
                  <c:v>41.375999999999998</c:v>
                </c:pt>
                <c:pt idx="1271">
                  <c:v>41.856000000000002</c:v>
                </c:pt>
                <c:pt idx="1272">
                  <c:v>41.277999999999999</c:v>
                </c:pt>
                <c:pt idx="1273">
                  <c:v>40.991</c:v>
                </c:pt>
                <c:pt idx="1274">
                  <c:v>41.661999999999999</c:v>
                </c:pt>
                <c:pt idx="1275">
                  <c:v>41.375999999999998</c:v>
                </c:pt>
                <c:pt idx="1276">
                  <c:v>41.567</c:v>
                </c:pt>
                <c:pt idx="1277">
                  <c:v>41.470999999999997</c:v>
                </c:pt>
                <c:pt idx="1278">
                  <c:v>41.375999999999998</c:v>
                </c:pt>
                <c:pt idx="1279">
                  <c:v>41.087000000000003</c:v>
                </c:pt>
                <c:pt idx="1280">
                  <c:v>41.661999999999999</c:v>
                </c:pt>
                <c:pt idx="1281">
                  <c:v>41.375999999999998</c:v>
                </c:pt>
                <c:pt idx="1282">
                  <c:v>41.277999999999999</c:v>
                </c:pt>
                <c:pt idx="1283">
                  <c:v>41.470999999999997</c:v>
                </c:pt>
                <c:pt idx="1284">
                  <c:v>41.856000000000002</c:v>
                </c:pt>
                <c:pt idx="1285">
                  <c:v>41.182000000000002</c:v>
                </c:pt>
                <c:pt idx="1286">
                  <c:v>41.470999999999997</c:v>
                </c:pt>
                <c:pt idx="1287">
                  <c:v>41.661999999999999</c:v>
                </c:pt>
                <c:pt idx="1288">
                  <c:v>41.087000000000003</c:v>
                </c:pt>
                <c:pt idx="1289">
                  <c:v>40.991</c:v>
                </c:pt>
                <c:pt idx="1290">
                  <c:v>40.798000000000002</c:v>
                </c:pt>
                <c:pt idx="1291">
                  <c:v>41.087000000000003</c:v>
                </c:pt>
                <c:pt idx="1292">
                  <c:v>41.567</c:v>
                </c:pt>
                <c:pt idx="1293">
                  <c:v>41.567</c:v>
                </c:pt>
                <c:pt idx="1294">
                  <c:v>41.087000000000003</c:v>
                </c:pt>
                <c:pt idx="1295">
                  <c:v>41.182000000000002</c:v>
                </c:pt>
                <c:pt idx="1296">
                  <c:v>41.182000000000002</c:v>
                </c:pt>
                <c:pt idx="1297">
                  <c:v>41.470999999999997</c:v>
                </c:pt>
                <c:pt idx="1298">
                  <c:v>41.375999999999998</c:v>
                </c:pt>
                <c:pt idx="1299">
                  <c:v>41.087000000000003</c:v>
                </c:pt>
                <c:pt idx="1300">
                  <c:v>41.375999999999998</c:v>
                </c:pt>
                <c:pt idx="1301">
                  <c:v>41.182000000000002</c:v>
                </c:pt>
                <c:pt idx="1302">
                  <c:v>41.277999999999999</c:v>
                </c:pt>
                <c:pt idx="1303">
                  <c:v>41.470999999999997</c:v>
                </c:pt>
                <c:pt idx="1304">
                  <c:v>41.375999999999998</c:v>
                </c:pt>
                <c:pt idx="1305">
                  <c:v>41.470999999999997</c:v>
                </c:pt>
                <c:pt idx="1306">
                  <c:v>40.991</c:v>
                </c:pt>
                <c:pt idx="1307">
                  <c:v>41.375999999999998</c:v>
                </c:pt>
                <c:pt idx="1308">
                  <c:v>41.277999999999999</c:v>
                </c:pt>
                <c:pt idx="1309">
                  <c:v>41.470999999999997</c:v>
                </c:pt>
                <c:pt idx="1310">
                  <c:v>41.856000000000002</c:v>
                </c:pt>
                <c:pt idx="1311">
                  <c:v>41.182000000000002</c:v>
                </c:pt>
                <c:pt idx="1312">
                  <c:v>40.896000000000001</c:v>
                </c:pt>
                <c:pt idx="1313">
                  <c:v>41.758000000000003</c:v>
                </c:pt>
                <c:pt idx="1314">
                  <c:v>41.661999999999999</c:v>
                </c:pt>
                <c:pt idx="1315">
                  <c:v>41.087000000000003</c:v>
                </c:pt>
                <c:pt idx="1316">
                  <c:v>41.375999999999998</c:v>
                </c:pt>
                <c:pt idx="1317">
                  <c:v>41.375999999999998</c:v>
                </c:pt>
                <c:pt idx="1318">
                  <c:v>41.375999999999998</c:v>
                </c:pt>
                <c:pt idx="1319">
                  <c:v>41.277999999999999</c:v>
                </c:pt>
                <c:pt idx="1320">
                  <c:v>41.087000000000003</c:v>
                </c:pt>
                <c:pt idx="1321">
                  <c:v>41.470999999999997</c:v>
                </c:pt>
                <c:pt idx="1322">
                  <c:v>41.758000000000003</c:v>
                </c:pt>
                <c:pt idx="1323">
                  <c:v>41.277999999999999</c:v>
                </c:pt>
                <c:pt idx="1324">
                  <c:v>41.277999999999999</c:v>
                </c:pt>
                <c:pt idx="1325">
                  <c:v>41.856000000000002</c:v>
                </c:pt>
                <c:pt idx="1326">
                  <c:v>41.470999999999997</c:v>
                </c:pt>
                <c:pt idx="1327">
                  <c:v>41.470999999999997</c:v>
                </c:pt>
                <c:pt idx="1328">
                  <c:v>41.567</c:v>
                </c:pt>
                <c:pt idx="1329">
                  <c:v>41.567</c:v>
                </c:pt>
                <c:pt idx="1330">
                  <c:v>41.277999999999999</c:v>
                </c:pt>
                <c:pt idx="1331">
                  <c:v>41.567</c:v>
                </c:pt>
                <c:pt idx="1332">
                  <c:v>41.567</c:v>
                </c:pt>
                <c:pt idx="1333">
                  <c:v>41.661999999999999</c:v>
                </c:pt>
                <c:pt idx="1334">
                  <c:v>41.375999999999998</c:v>
                </c:pt>
                <c:pt idx="1335">
                  <c:v>41.375999999999998</c:v>
                </c:pt>
                <c:pt idx="1336">
                  <c:v>41.470999999999997</c:v>
                </c:pt>
                <c:pt idx="1337">
                  <c:v>41.087000000000003</c:v>
                </c:pt>
                <c:pt idx="1338">
                  <c:v>41.182000000000002</c:v>
                </c:pt>
                <c:pt idx="1339">
                  <c:v>41.087000000000003</c:v>
                </c:pt>
                <c:pt idx="1340">
                  <c:v>41.567</c:v>
                </c:pt>
                <c:pt idx="1341">
                  <c:v>41.567</c:v>
                </c:pt>
                <c:pt idx="1342">
                  <c:v>40.896000000000001</c:v>
                </c:pt>
                <c:pt idx="1343">
                  <c:v>41.087000000000003</c:v>
                </c:pt>
                <c:pt idx="1344">
                  <c:v>41.661999999999999</c:v>
                </c:pt>
                <c:pt idx="1345">
                  <c:v>41.277999999999999</c:v>
                </c:pt>
                <c:pt idx="1346">
                  <c:v>41.375999999999998</c:v>
                </c:pt>
                <c:pt idx="1347">
                  <c:v>41.087000000000003</c:v>
                </c:pt>
                <c:pt idx="1348">
                  <c:v>41.758000000000003</c:v>
                </c:pt>
                <c:pt idx="1349">
                  <c:v>41.470999999999997</c:v>
                </c:pt>
                <c:pt idx="1350">
                  <c:v>41.182000000000002</c:v>
                </c:pt>
                <c:pt idx="1351">
                  <c:v>41.087000000000003</c:v>
                </c:pt>
                <c:pt idx="1352">
                  <c:v>41.470999999999997</c:v>
                </c:pt>
                <c:pt idx="1353">
                  <c:v>41.375999999999998</c:v>
                </c:pt>
                <c:pt idx="1354">
                  <c:v>41.856000000000002</c:v>
                </c:pt>
                <c:pt idx="1355">
                  <c:v>41.470999999999997</c:v>
                </c:pt>
                <c:pt idx="1356">
                  <c:v>41.661999999999999</c:v>
                </c:pt>
                <c:pt idx="1357">
                  <c:v>41.470999999999997</c:v>
                </c:pt>
                <c:pt idx="1358">
                  <c:v>41.567</c:v>
                </c:pt>
                <c:pt idx="1359">
                  <c:v>41.375999999999998</c:v>
                </c:pt>
                <c:pt idx="1360">
                  <c:v>41.758000000000003</c:v>
                </c:pt>
                <c:pt idx="1361">
                  <c:v>41.567</c:v>
                </c:pt>
                <c:pt idx="1362">
                  <c:v>41.470999999999997</c:v>
                </c:pt>
                <c:pt idx="1363">
                  <c:v>41.277999999999999</c:v>
                </c:pt>
                <c:pt idx="1364">
                  <c:v>41.951000000000001</c:v>
                </c:pt>
                <c:pt idx="1365">
                  <c:v>41.375999999999998</c:v>
                </c:pt>
                <c:pt idx="1366">
                  <c:v>40.991</c:v>
                </c:pt>
                <c:pt idx="1367">
                  <c:v>41.661999999999999</c:v>
                </c:pt>
                <c:pt idx="1368">
                  <c:v>41.951000000000001</c:v>
                </c:pt>
                <c:pt idx="1369">
                  <c:v>41.375999999999998</c:v>
                </c:pt>
                <c:pt idx="1370">
                  <c:v>41.661999999999999</c:v>
                </c:pt>
                <c:pt idx="1371">
                  <c:v>41.661999999999999</c:v>
                </c:pt>
                <c:pt idx="1372">
                  <c:v>41.375999999999998</c:v>
                </c:pt>
                <c:pt idx="1373">
                  <c:v>41.567</c:v>
                </c:pt>
                <c:pt idx="1374">
                  <c:v>41.375999999999998</c:v>
                </c:pt>
                <c:pt idx="1375">
                  <c:v>41.567</c:v>
                </c:pt>
                <c:pt idx="1376">
                  <c:v>41.470999999999997</c:v>
                </c:pt>
                <c:pt idx="1377">
                  <c:v>41.470999999999997</c:v>
                </c:pt>
                <c:pt idx="1378">
                  <c:v>41.277999999999999</c:v>
                </c:pt>
                <c:pt idx="1379">
                  <c:v>41.470999999999997</c:v>
                </c:pt>
                <c:pt idx="1380">
                  <c:v>41.758000000000003</c:v>
                </c:pt>
                <c:pt idx="1381">
                  <c:v>41.277999999999999</c:v>
                </c:pt>
                <c:pt idx="1382">
                  <c:v>41.182000000000002</c:v>
                </c:pt>
                <c:pt idx="1383">
                  <c:v>41.277999999999999</c:v>
                </c:pt>
                <c:pt idx="1384">
                  <c:v>41.758000000000003</c:v>
                </c:pt>
                <c:pt idx="1385">
                  <c:v>41.470999999999997</c:v>
                </c:pt>
                <c:pt idx="1386">
                  <c:v>41.470999999999997</c:v>
                </c:pt>
                <c:pt idx="1387">
                  <c:v>41.661999999999999</c:v>
                </c:pt>
                <c:pt idx="1388">
                  <c:v>41.567</c:v>
                </c:pt>
                <c:pt idx="1389">
                  <c:v>41.567</c:v>
                </c:pt>
                <c:pt idx="1390">
                  <c:v>41.951000000000001</c:v>
                </c:pt>
                <c:pt idx="1391">
                  <c:v>41.470999999999997</c:v>
                </c:pt>
                <c:pt idx="1392">
                  <c:v>41.375999999999998</c:v>
                </c:pt>
                <c:pt idx="1393">
                  <c:v>41.470999999999997</c:v>
                </c:pt>
                <c:pt idx="1394">
                  <c:v>41.182000000000002</c:v>
                </c:pt>
                <c:pt idx="1395">
                  <c:v>41.856000000000002</c:v>
                </c:pt>
                <c:pt idx="1396">
                  <c:v>41.375999999999998</c:v>
                </c:pt>
                <c:pt idx="1397">
                  <c:v>41.375999999999998</c:v>
                </c:pt>
                <c:pt idx="1398">
                  <c:v>41.758000000000003</c:v>
                </c:pt>
                <c:pt idx="1399">
                  <c:v>41.951000000000001</c:v>
                </c:pt>
                <c:pt idx="1400">
                  <c:v>41.470999999999997</c:v>
                </c:pt>
                <c:pt idx="1401">
                  <c:v>41.277999999999999</c:v>
                </c:pt>
                <c:pt idx="1402">
                  <c:v>41.375999999999998</c:v>
                </c:pt>
                <c:pt idx="1403">
                  <c:v>41.856000000000002</c:v>
                </c:pt>
                <c:pt idx="1404">
                  <c:v>41.951000000000001</c:v>
                </c:pt>
                <c:pt idx="1405">
                  <c:v>41.567</c:v>
                </c:pt>
                <c:pt idx="1406">
                  <c:v>41.567</c:v>
                </c:pt>
                <c:pt idx="1407">
                  <c:v>41.470999999999997</c:v>
                </c:pt>
                <c:pt idx="1408">
                  <c:v>41.567</c:v>
                </c:pt>
                <c:pt idx="1409">
                  <c:v>41.375999999999998</c:v>
                </c:pt>
                <c:pt idx="1410">
                  <c:v>41.951000000000001</c:v>
                </c:pt>
                <c:pt idx="1411">
                  <c:v>41.661999999999999</c:v>
                </c:pt>
                <c:pt idx="1412">
                  <c:v>41.567</c:v>
                </c:pt>
                <c:pt idx="1413">
                  <c:v>41.375999999999998</c:v>
                </c:pt>
                <c:pt idx="1414">
                  <c:v>41.758000000000003</c:v>
                </c:pt>
                <c:pt idx="1415">
                  <c:v>41.375999999999998</c:v>
                </c:pt>
                <c:pt idx="1416">
                  <c:v>41.470999999999997</c:v>
                </c:pt>
                <c:pt idx="1417">
                  <c:v>41.661999999999999</c:v>
                </c:pt>
                <c:pt idx="1418">
                  <c:v>41.087000000000003</c:v>
                </c:pt>
                <c:pt idx="1419">
                  <c:v>41.856000000000002</c:v>
                </c:pt>
                <c:pt idx="1420">
                  <c:v>41.661999999999999</c:v>
                </c:pt>
                <c:pt idx="1421">
                  <c:v>41.277999999999999</c:v>
                </c:pt>
                <c:pt idx="1422">
                  <c:v>42.046999999999997</c:v>
                </c:pt>
                <c:pt idx="1423">
                  <c:v>41.758000000000003</c:v>
                </c:pt>
                <c:pt idx="1424">
                  <c:v>42.046999999999997</c:v>
                </c:pt>
                <c:pt idx="1425">
                  <c:v>41.277999999999999</c:v>
                </c:pt>
                <c:pt idx="1426">
                  <c:v>41.951000000000001</c:v>
                </c:pt>
                <c:pt idx="1427">
                  <c:v>41.856000000000002</c:v>
                </c:pt>
                <c:pt idx="1428">
                  <c:v>41.567</c:v>
                </c:pt>
                <c:pt idx="1429">
                  <c:v>41.951000000000001</c:v>
                </c:pt>
                <c:pt idx="1430">
                  <c:v>41.567</c:v>
                </c:pt>
                <c:pt idx="1431">
                  <c:v>41.470999999999997</c:v>
                </c:pt>
                <c:pt idx="1432">
                  <c:v>41.277999999999999</c:v>
                </c:pt>
                <c:pt idx="1433">
                  <c:v>41.567</c:v>
                </c:pt>
                <c:pt idx="1434">
                  <c:v>41.758000000000003</c:v>
                </c:pt>
                <c:pt idx="1435">
                  <c:v>41.182000000000002</c:v>
                </c:pt>
                <c:pt idx="1436">
                  <c:v>41.470999999999997</c:v>
                </c:pt>
                <c:pt idx="1437">
                  <c:v>41.758000000000003</c:v>
                </c:pt>
                <c:pt idx="1438">
                  <c:v>41.470999999999997</c:v>
                </c:pt>
                <c:pt idx="1439">
                  <c:v>41.661999999999999</c:v>
                </c:pt>
                <c:pt idx="1440">
                  <c:v>41.567</c:v>
                </c:pt>
                <c:pt idx="1441">
                  <c:v>41.375999999999998</c:v>
                </c:pt>
                <c:pt idx="1442">
                  <c:v>41.567</c:v>
                </c:pt>
                <c:pt idx="1443">
                  <c:v>41.758000000000003</c:v>
                </c:pt>
                <c:pt idx="1444">
                  <c:v>41.661999999999999</c:v>
                </c:pt>
                <c:pt idx="1445">
                  <c:v>41.375999999999998</c:v>
                </c:pt>
                <c:pt idx="1446">
                  <c:v>41.856000000000002</c:v>
                </c:pt>
                <c:pt idx="1447">
                  <c:v>41.661999999999999</c:v>
                </c:pt>
                <c:pt idx="1448">
                  <c:v>41.856000000000002</c:v>
                </c:pt>
                <c:pt idx="1449">
                  <c:v>41.758000000000003</c:v>
                </c:pt>
                <c:pt idx="1450">
                  <c:v>41.758000000000003</c:v>
                </c:pt>
                <c:pt idx="1451">
                  <c:v>41.758000000000003</c:v>
                </c:pt>
                <c:pt idx="1452">
                  <c:v>41.758000000000003</c:v>
                </c:pt>
                <c:pt idx="1453">
                  <c:v>42.046999999999997</c:v>
                </c:pt>
                <c:pt idx="1454">
                  <c:v>42.622999999999998</c:v>
                </c:pt>
                <c:pt idx="1455">
                  <c:v>41.567</c:v>
                </c:pt>
                <c:pt idx="1456">
                  <c:v>41.375999999999998</c:v>
                </c:pt>
                <c:pt idx="1457">
                  <c:v>41.182000000000002</c:v>
                </c:pt>
                <c:pt idx="1458">
                  <c:v>41.951000000000001</c:v>
                </c:pt>
                <c:pt idx="1459">
                  <c:v>41.758000000000003</c:v>
                </c:pt>
                <c:pt idx="1460">
                  <c:v>41.567</c:v>
                </c:pt>
                <c:pt idx="1461">
                  <c:v>41.661999999999999</c:v>
                </c:pt>
                <c:pt idx="1462">
                  <c:v>41.470999999999997</c:v>
                </c:pt>
                <c:pt idx="1463">
                  <c:v>41.567</c:v>
                </c:pt>
                <c:pt idx="1464">
                  <c:v>41.661999999999999</c:v>
                </c:pt>
                <c:pt idx="1465">
                  <c:v>41.470999999999997</c:v>
                </c:pt>
                <c:pt idx="1466">
                  <c:v>41.856000000000002</c:v>
                </c:pt>
                <c:pt idx="1467">
                  <c:v>41.856000000000002</c:v>
                </c:pt>
                <c:pt idx="1468">
                  <c:v>41.758000000000003</c:v>
                </c:pt>
                <c:pt idx="1469">
                  <c:v>41.661999999999999</c:v>
                </c:pt>
                <c:pt idx="1470">
                  <c:v>41.856000000000002</c:v>
                </c:pt>
                <c:pt idx="1471">
                  <c:v>41.470999999999997</c:v>
                </c:pt>
                <c:pt idx="1472">
                  <c:v>41.856000000000002</c:v>
                </c:pt>
                <c:pt idx="1473">
                  <c:v>41.856000000000002</c:v>
                </c:pt>
                <c:pt idx="1474">
                  <c:v>41.661999999999999</c:v>
                </c:pt>
                <c:pt idx="1475">
                  <c:v>41.758000000000003</c:v>
                </c:pt>
                <c:pt idx="1476">
                  <c:v>41.758000000000003</c:v>
                </c:pt>
                <c:pt idx="1477">
                  <c:v>41.661999999999999</c:v>
                </c:pt>
                <c:pt idx="1478">
                  <c:v>41.856000000000002</c:v>
                </c:pt>
                <c:pt idx="1479">
                  <c:v>42.238</c:v>
                </c:pt>
                <c:pt idx="1480">
                  <c:v>41.856000000000002</c:v>
                </c:pt>
                <c:pt idx="1481">
                  <c:v>41.758000000000003</c:v>
                </c:pt>
                <c:pt idx="1482">
                  <c:v>41.758000000000003</c:v>
                </c:pt>
                <c:pt idx="1483">
                  <c:v>41.758000000000003</c:v>
                </c:pt>
                <c:pt idx="1484">
                  <c:v>41.758000000000003</c:v>
                </c:pt>
                <c:pt idx="1485">
                  <c:v>41.758000000000003</c:v>
                </c:pt>
                <c:pt idx="1486">
                  <c:v>41.758000000000003</c:v>
                </c:pt>
                <c:pt idx="1487">
                  <c:v>42.046999999999997</c:v>
                </c:pt>
                <c:pt idx="1488">
                  <c:v>41.758000000000003</c:v>
                </c:pt>
                <c:pt idx="1489">
                  <c:v>42.046999999999997</c:v>
                </c:pt>
                <c:pt idx="1490">
                  <c:v>41.856000000000002</c:v>
                </c:pt>
                <c:pt idx="1491">
                  <c:v>41.567</c:v>
                </c:pt>
                <c:pt idx="1492">
                  <c:v>42.046999999999997</c:v>
                </c:pt>
                <c:pt idx="1493">
                  <c:v>41.856000000000002</c:v>
                </c:pt>
                <c:pt idx="1494">
                  <c:v>41.758000000000003</c:v>
                </c:pt>
                <c:pt idx="1495">
                  <c:v>41.661999999999999</c:v>
                </c:pt>
                <c:pt idx="1496">
                  <c:v>41.470999999999997</c:v>
                </c:pt>
                <c:pt idx="1497">
                  <c:v>42.046999999999997</c:v>
                </c:pt>
                <c:pt idx="1498">
                  <c:v>41.567</c:v>
                </c:pt>
                <c:pt idx="1499">
                  <c:v>41.567</c:v>
                </c:pt>
                <c:pt idx="1500">
                  <c:v>40.991</c:v>
                </c:pt>
                <c:pt idx="1501">
                  <c:v>41.661999999999999</c:v>
                </c:pt>
                <c:pt idx="1502">
                  <c:v>41.567</c:v>
                </c:pt>
                <c:pt idx="1503">
                  <c:v>41.470999999999997</c:v>
                </c:pt>
                <c:pt idx="1504">
                  <c:v>41.661999999999999</c:v>
                </c:pt>
                <c:pt idx="1505">
                  <c:v>41.951000000000001</c:v>
                </c:pt>
                <c:pt idx="1506">
                  <c:v>41.661999999999999</c:v>
                </c:pt>
                <c:pt idx="1507">
                  <c:v>41.758000000000003</c:v>
                </c:pt>
                <c:pt idx="1508">
                  <c:v>41.661999999999999</c:v>
                </c:pt>
                <c:pt idx="1509">
                  <c:v>41.856000000000002</c:v>
                </c:pt>
                <c:pt idx="1510">
                  <c:v>41.661999999999999</c:v>
                </c:pt>
                <c:pt idx="1511">
                  <c:v>41.661999999999999</c:v>
                </c:pt>
                <c:pt idx="1512">
                  <c:v>41.758000000000003</c:v>
                </c:pt>
                <c:pt idx="1513">
                  <c:v>41.758000000000003</c:v>
                </c:pt>
                <c:pt idx="1514">
                  <c:v>41.856000000000002</c:v>
                </c:pt>
                <c:pt idx="1515">
                  <c:v>41.375999999999998</c:v>
                </c:pt>
                <c:pt idx="1516">
                  <c:v>41.661999999999999</c:v>
                </c:pt>
                <c:pt idx="1517">
                  <c:v>41.375999999999998</c:v>
                </c:pt>
                <c:pt idx="1518">
                  <c:v>41.856000000000002</c:v>
                </c:pt>
                <c:pt idx="1519">
                  <c:v>41.661999999999999</c:v>
                </c:pt>
                <c:pt idx="1520">
                  <c:v>41.567</c:v>
                </c:pt>
                <c:pt idx="1521">
                  <c:v>41.758000000000003</c:v>
                </c:pt>
                <c:pt idx="1522">
                  <c:v>41.951000000000001</c:v>
                </c:pt>
                <c:pt idx="1523">
                  <c:v>41.758000000000003</c:v>
                </c:pt>
                <c:pt idx="1524">
                  <c:v>41.375999999999998</c:v>
                </c:pt>
                <c:pt idx="1525">
                  <c:v>41.661999999999999</c:v>
                </c:pt>
                <c:pt idx="1526">
                  <c:v>42.046999999999997</c:v>
                </c:pt>
                <c:pt idx="1527">
                  <c:v>42.046999999999997</c:v>
                </c:pt>
                <c:pt idx="1528">
                  <c:v>41.758000000000003</c:v>
                </c:pt>
                <c:pt idx="1529">
                  <c:v>41.758000000000003</c:v>
                </c:pt>
                <c:pt idx="1530">
                  <c:v>41.470999999999997</c:v>
                </c:pt>
                <c:pt idx="1531">
                  <c:v>41.567</c:v>
                </c:pt>
                <c:pt idx="1532">
                  <c:v>42.143000000000001</c:v>
                </c:pt>
                <c:pt idx="1533">
                  <c:v>42.046999999999997</c:v>
                </c:pt>
                <c:pt idx="1534">
                  <c:v>41.661999999999999</c:v>
                </c:pt>
                <c:pt idx="1535">
                  <c:v>41.758000000000003</c:v>
                </c:pt>
                <c:pt idx="1536">
                  <c:v>41.951000000000001</c:v>
                </c:pt>
                <c:pt idx="1537">
                  <c:v>41.856000000000002</c:v>
                </c:pt>
                <c:pt idx="1538">
                  <c:v>41.567</c:v>
                </c:pt>
                <c:pt idx="1539">
                  <c:v>42.238</c:v>
                </c:pt>
                <c:pt idx="1540">
                  <c:v>41.951000000000001</c:v>
                </c:pt>
                <c:pt idx="1541">
                  <c:v>41.758000000000003</c:v>
                </c:pt>
                <c:pt idx="1542">
                  <c:v>42.046999999999997</c:v>
                </c:pt>
                <c:pt idx="1543">
                  <c:v>41.951000000000001</c:v>
                </c:pt>
                <c:pt idx="1544">
                  <c:v>42.238</c:v>
                </c:pt>
                <c:pt idx="1545">
                  <c:v>42.430999999999997</c:v>
                </c:pt>
                <c:pt idx="1546">
                  <c:v>41.758000000000003</c:v>
                </c:pt>
                <c:pt idx="1547">
                  <c:v>41.567</c:v>
                </c:pt>
                <c:pt idx="1548">
                  <c:v>41.661999999999999</c:v>
                </c:pt>
                <c:pt idx="1549">
                  <c:v>41.758000000000003</c:v>
                </c:pt>
                <c:pt idx="1550">
                  <c:v>42.046999999999997</c:v>
                </c:pt>
                <c:pt idx="1551">
                  <c:v>42.143000000000001</c:v>
                </c:pt>
                <c:pt idx="1552">
                  <c:v>41.758000000000003</c:v>
                </c:pt>
                <c:pt idx="1553">
                  <c:v>42.238</c:v>
                </c:pt>
                <c:pt idx="1554">
                  <c:v>41.758000000000003</c:v>
                </c:pt>
                <c:pt idx="1555">
                  <c:v>42.046999999999997</c:v>
                </c:pt>
                <c:pt idx="1556">
                  <c:v>41.758000000000003</c:v>
                </c:pt>
                <c:pt idx="1557">
                  <c:v>41.951000000000001</c:v>
                </c:pt>
                <c:pt idx="1558">
                  <c:v>41.375999999999998</c:v>
                </c:pt>
                <c:pt idx="1559">
                  <c:v>41.661999999999999</c:v>
                </c:pt>
                <c:pt idx="1560">
                  <c:v>41.661999999999999</c:v>
                </c:pt>
                <c:pt idx="1561">
                  <c:v>41.951000000000001</c:v>
                </c:pt>
                <c:pt idx="1562">
                  <c:v>41.661999999999999</c:v>
                </c:pt>
                <c:pt idx="1563">
                  <c:v>41.758000000000003</c:v>
                </c:pt>
                <c:pt idx="1564">
                  <c:v>41.856000000000002</c:v>
                </c:pt>
                <c:pt idx="1565">
                  <c:v>41.951000000000001</c:v>
                </c:pt>
                <c:pt idx="1566">
                  <c:v>42.046999999999997</c:v>
                </c:pt>
                <c:pt idx="1567">
                  <c:v>41.951000000000001</c:v>
                </c:pt>
                <c:pt idx="1568">
                  <c:v>41.951000000000001</c:v>
                </c:pt>
                <c:pt idx="1569">
                  <c:v>41.856000000000002</c:v>
                </c:pt>
                <c:pt idx="1570">
                  <c:v>41.856000000000002</c:v>
                </c:pt>
                <c:pt idx="1571">
                  <c:v>41.567</c:v>
                </c:pt>
                <c:pt idx="1572">
                  <c:v>41.758000000000003</c:v>
                </c:pt>
                <c:pt idx="1573">
                  <c:v>41.567</c:v>
                </c:pt>
                <c:pt idx="1574">
                  <c:v>41.856000000000002</c:v>
                </c:pt>
                <c:pt idx="1575">
                  <c:v>41.856000000000002</c:v>
                </c:pt>
                <c:pt idx="1576">
                  <c:v>42.430999999999997</c:v>
                </c:pt>
                <c:pt idx="1577">
                  <c:v>41.951000000000001</c:v>
                </c:pt>
                <c:pt idx="1578">
                  <c:v>42.143000000000001</c:v>
                </c:pt>
                <c:pt idx="1579">
                  <c:v>42.046999999999997</c:v>
                </c:pt>
                <c:pt idx="1580">
                  <c:v>41.856000000000002</c:v>
                </c:pt>
                <c:pt idx="1581">
                  <c:v>42.046999999999997</c:v>
                </c:pt>
                <c:pt idx="1582">
                  <c:v>41.856000000000002</c:v>
                </c:pt>
                <c:pt idx="1583">
                  <c:v>41.856000000000002</c:v>
                </c:pt>
                <c:pt idx="1584">
                  <c:v>41.661999999999999</c:v>
                </c:pt>
                <c:pt idx="1585">
                  <c:v>41.661999999999999</c:v>
                </c:pt>
                <c:pt idx="1586">
                  <c:v>41.758000000000003</c:v>
                </c:pt>
                <c:pt idx="1587">
                  <c:v>41.856000000000002</c:v>
                </c:pt>
                <c:pt idx="1588">
                  <c:v>41.856000000000002</c:v>
                </c:pt>
                <c:pt idx="1589">
                  <c:v>41.856000000000002</c:v>
                </c:pt>
                <c:pt idx="1590">
                  <c:v>42.046999999999997</c:v>
                </c:pt>
                <c:pt idx="1591">
                  <c:v>41.951000000000001</c:v>
                </c:pt>
                <c:pt idx="1592">
                  <c:v>41.661999999999999</c:v>
                </c:pt>
                <c:pt idx="1593">
                  <c:v>41.758000000000003</c:v>
                </c:pt>
                <c:pt idx="1594">
                  <c:v>41.758000000000003</c:v>
                </c:pt>
                <c:pt idx="1595">
                  <c:v>41.661999999999999</c:v>
                </c:pt>
                <c:pt idx="1596">
                  <c:v>41.758000000000003</c:v>
                </c:pt>
                <c:pt idx="1597">
                  <c:v>42.143000000000001</c:v>
                </c:pt>
                <c:pt idx="1598">
                  <c:v>41.856000000000002</c:v>
                </c:pt>
                <c:pt idx="1599">
                  <c:v>41.951000000000001</c:v>
                </c:pt>
                <c:pt idx="1600">
                  <c:v>41.951000000000001</c:v>
                </c:pt>
                <c:pt idx="1601">
                  <c:v>41.856000000000002</c:v>
                </c:pt>
                <c:pt idx="1602">
                  <c:v>42.046999999999997</c:v>
                </c:pt>
                <c:pt idx="1603">
                  <c:v>41.758000000000003</c:v>
                </c:pt>
                <c:pt idx="1604">
                  <c:v>42.143000000000001</c:v>
                </c:pt>
                <c:pt idx="1605">
                  <c:v>41.758000000000003</c:v>
                </c:pt>
                <c:pt idx="1606">
                  <c:v>42.046999999999997</c:v>
                </c:pt>
                <c:pt idx="1607">
                  <c:v>41.951000000000001</c:v>
                </c:pt>
                <c:pt idx="1608">
                  <c:v>42.046999999999997</c:v>
                </c:pt>
                <c:pt idx="1609">
                  <c:v>42.238</c:v>
                </c:pt>
                <c:pt idx="1610">
                  <c:v>42.143000000000001</c:v>
                </c:pt>
                <c:pt idx="1611">
                  <c:v>42.143000000000001</c:v>
                </c:pt>
                <c:pt idx="1612">
                  <c:v>42.046999999999997</c:v>
                </c:pt>
                <c:pt idx="1613">
                  <c:v>42.238</c:v>
                </c:pt>
                <c:pt idx="1614">
                  <c:v>41.951000000000001</c:v>
                </c:pt>
                <c:pt idx="1615">
                  <c:v>42.046999999999997</c:v>
                </c:pt>
                <c:pt idx="1616">
                  <c:v>42.046999999999997</c:v>
                </c:pt>
                <c:pt idx="1617">
                  <c:v>42.046999999999997</c:v>
                </c:pt>
                <c:pt idx="1618">
                  <c:v>42.046999999999997</c:v>
                </c:pt>
                <c:pt idx="1619">
                  <c:v>42.238</c:v>
                </c:pt>
                <c:pt idx="1620">
                  <c:v>42.143000000000001</c:v>
                </c:pt>
                <c:pt idx="1621">
                  <c:v>41.661999999999999</c:v>
                </c:pt>
                <c:pt idx="1622">
                  <c:v>41.951000000000001</c:v>
                </c:pt>
                <c:pt idx="1623">
                  <c:v>42.238</c:v>
                </c:pt>
                <c:pt idx="1624">
                  <c:v>42.143000000000001</c:v>
                </c:pt>
                <c:pt idx="1625">
                  <c:v>41.951000000000001</c:v>
                </c:pt>
                <c:pt idx="1626">
                  <c:v>42.335999999999999</c:v>
                </c:pt>
                <c:pt idx="1627">
                  <c:v>41.951000000000001</c:v>
                </c:pt>
                <c:pt idx="1628">
                  <c:v>42.238</c:v>
                </c:pt>
                <c:pt idx="1629">
                  <c:v>42.046999999999997</c:v>
                </c:pt>
                <c:pt idx="1630">
                  <c:v>41.856000000000002</c:v>
                </c:pt>
                <c:pt idx="1631">
                  <c:v>41.661999999999999</c:v>
                </c:pt>
                <c:pt idx="1632">
                  <c:v>42.046999999999997</c:v>
                </c:pt>
                <c:pt idx="1633">
                  <c:v>42.238</c:v>
                </c:pt>
                <c:pt idx="1634">
                  <c:v>41.951000000000001</c:v>
                </c:pt>
                <c:pt idx="1635">
                  <c:v>42.046999999999997</c:v>
                </c:pt>
                <c:pt idx="1636">
                  <c:v>41.661999999999999</c:v>
                </c:pt>
                <c:pt idx="1637">
                  <c:v>42.143000000000001</c:v>
                </c:pt>
                <c:pt idx="1638">
                  <c:v>42.143000000000001</c:v>
                </c:pt>
                <c:pt idx="1639">
                  <c:v>41.951000000000001</c:v>
                </c:pt>
                <c:pt idx="1640">
                  <c:v>41.856000000000002</c:v>
                </c:pt>
                <c:pt idx="1641">
                  <c:v>42.335999999999999</c:v>
                </c:pt>
                <c:pt idx="1642">
                  <c:v>41.856000000000002</c:v>
                </c:pt>
                <c:pt idx="1643">
                  <c:v>41.856000000000002</c:v>
                </c:pt>
                <c:pt idx="1644">
                  <c:v>42.143000000000001</c:v>
                </c:pt>
                <c:pt idx="1645">
                  <c:v>42.143000000000001</c:v>
                </c:pt>
                <c:pt idx="1646">
                  <c:v>42.143000000000001</c:v>
                </c:pt>
                <c:pt idx="1647">
                  <c:v>41.856000000000002</c:v>
                </c:pt>
                <c:pt idx="1648">
                  <c:v>41.758000000000003</c:v>
                </c:pt>
                <c:pt idx="1649">
                  <c:v>42.238</c:v>
                </c:pt>
                <c:pt idx="1650">
                  <c:v>41.758000000000003</c:v>
                </c:pt>
                <c:pt idx="1651">
                  <c:v>41.951000000000001</c:v>
                </c:pt>
                <c:pt idx="1652">
                  <c:v>42.238</c:v>
                </c:pt>
                <c:pt idx="1653">
                  <c:v>41.856000000000002</c:v>
                </c:pt>
                <c:pt idx="1654">
                  <c:v>42.238</c:v>
                </c:pt>
                <c:pt idx="1655">
                  <c:v>42.046999999999997</c:v>
                </c:pt>
                <c:pt idx="1656">
                  <c:v>41.951000000000001</c:v>
                </c:pt>
                <c:pt idx="1657">
                  <c:v>42.622999999999998</c:v>
                </c:pt>
                <c:pt idx="1658">
                  <c:v>42.046999999999997</c:v>
                </c:pt>
                <c:pt idx="1659">
                  <c:v>41.951000000000001</c:v>
                </c:pt>
                <c:pt idx="1660">
                  <c:v>41.856000000000002</c:v>
                </c:pt>
                <c:pt idx="1661">
                  <c:v>42.335999999999999</c:v>
                </c:pt>
                <c:pt idx="1662">
                  <c:v>42.238</c:v>
                </c:pt>
                <c:pt idx="1663">
                  <c:v>42.046999999999997</c:v>
                </c:pt>
                <c:pt idx="1664">
                  <c:v>42.046999999999997</c:v>
                </c:pt>
                <c:pt idx="1665">
                  <c:v>41.951000000000001</c:v>
                </c:pt>
                <c:pt idx="1666">
                  <c:v>42.143000000000001</c:v>
                </c:pt>
                <c:pt idx="1667">
                  <c:v>42.143000000000001</c:v>
                </c:pt>
                <c:pt idx="1668">
                  <c:v>41.661999999999999</c:v>
                </c:pt>
                <c:pt idx="1669">
                  <c:v>41.758000000000003</c:v>
                </c:pt>
                <c:pt idx="1670">
                  <c:v>42.046999999999997</c:v>
                </c:pt>
                <c:pt idx="1671">
                  <c:v>41.856000000000002</c:v>
                </c:pt>
                <c:pt idx="1672">
                  <c:v>41.856000000000002</c:v>
                </c:pt>
                <c:pt idx="1673">
                  <c:v>41.856000000000002</c:v>
                </c:pt>
                <c:pt idx="1674">
                  <c:v>41.951000000000001</c:v>
                </c:pt>
                <c:pt idx="1675">
                  <c:v>41.856000000000002</c:v>
                </c:pt>
                <c:pt idx="1676">
                  <c:v>41.567</c:v>
                </c:pt>
                <c:pt idx="1677">
                  <c:v>42.335999999999999</c:v>
                </c:pt>
                <c:pt idx="1678">
                  <c:v>42.430999999999997</c:v>
                </c:pt>
                <c:pt idx="1679">
                  <c:v>41.951000000000001</c:v>
                </c:pt>
                <c:pt idx="1680">
                  <c:v>41.951000000000001</c:v>
                </c:pt>
                <c:pt idx="1681">
                  <c:v>42.238</c:v>
                </c:pt>
                <c:pt idx="1682">
                  <c:v>42.335999999999999</c:v>
                </c:pt>
                <c:pt idx="1683">
                  <c:v>41.758000000000003</c:v>
                </c:pt>
                <c:pt idx="1684">
                  <c:v>42.238</c:v>
                </c:pt>
                <c:pt idx="1685">
                  <c:v>41.951000000000001</c:v>
                </c:pt>
                <c:pt idx="1686">
                  <c:v>42.238</c:v>
                </c:pt>
                <c:pt idx="1687">
                  <c:v>41.856000000000002</c:v>
                </c:pt>
                <c:pt idx="1688">
                  <c:v>41.951000000000001</c:v>
                </c:pt>
                <c:pt idx="1689">
                  <c:v>42.238</c:v>
                </c:pt>
                <c:pt idx="1690">
                  <c:v>41.951000000000001</c:v>
                </c:pt>
                <c:pt idx="1691">
                  <c:v>42.238</c:v>
                </c:pt>
                <c:pt idx="1692">
                  <c:v>41.951000000000001</c:v>
                </c:pt>
                <c:pt idx="1693">
                  <c:v>41.951000000000001</c:v>
                </c:pt>
                <c:pt idx="1694">
                  <c:v>41.856000000000002</c:v>
                </c:pt>
                <c:pt idx="1695">
                  <c:v>41.951000000000001</c:v>
                </c:pt>
                <c:pt idx="1696">
                  <c:v>42.143000000000001</c:v>
                </c:pt>
                <c:pt idx="1697">
                  <c:v>42.143000000000001</c:v>
                </c:pt>
                <c:pt idx="1698">
                  <c:v>42.046999999999997</c:v>
                </c:pt>
                <c:pt idx="1699">
                  <c:v>41.856000000000002</c:v>
                </c:pt>
                <c:pt idx="1700">
                  <c:v>41.951000000000001</c:v>
                </c:pt>
                <c:pt idx="1701">
                  <c:v>41.856000000000002</c:v>
                </c:pt>
                <c:pt idx="1702">
                  <c:v>42.238</c:v>
                </c:pt>
                <c:pt idx="1703">
                  <c:v>41.758000000000003</c:v>
                </c:pt>
                <c:pt idx="1704">
                  <c:v>42.622999999999998</c:v>
                </c:pt>
                <c:pt idx="1705">
                  <c:v>42.430999999999997</c:v>
                </c:pt>
                <c:pt idx="1706">
                  <c:v>42.238</c:v>
                </c:pt>
                <c:pt idx="1707">
                  <c:v>42.143000000000001</c:v>
                </c:pt>
                <c:pt idx="1708">
                  <c:v>41.951000000000001</c:v>
                </c:pt>
                <c:pt idx="1709">
                  <c:v>41.856000000000002</c:v>
                </c:pt>
                <c:pt idx="1710">
                  <c:v>41.951000000000001</c:v>
                </c:pt>
                <c:pt idx="1711">
                  <c:v>41.951000000000001</c:v>
                </c:pt>
                <c:pt idx="1712">
                  <c:v>41.758000000000003</c:v>
                </c:pt>
                <c:pt idx="1713">
                  <c:v>42.335999999999999</c:v>
                </c:pt>
                <c:pt idx="1714">
                  <c:v>41.951000000000001</c:v>
                </c:pt>
                <c:pt idx="1715">
                  <c:v>41.758000000000003</c:v>
                </c:pt>
                <c:pt idx="1716">
                  <c:v>42.430999999999997</c:v>
                </c:pt>
                <c:pt idx="1717">
                  <c:v>42.430999999999997</c:v>
                </c:pt>
                <c:pt idx="1718">
                  <c:v>42.335999999999999</c:v>
                </c:pt>
                <c:pt idx="1719">
                  <c:v>42.046999999999997</c:v>
                </c:pt>
                <c:pt idx="1720">
                  <c:v>42.143000000000001</c:v>
                </c:pt>
                <c:pt idx="1721">
                  <c:v>41.567</c:v>
                </c:pt>
                <c:pt idx="1722">
                  <c:v>42.046999999999997</c:v>
                </c:pt>
                <c:pt idx="1723">
                  <c:v>41.758000000000003</c:v>
                </c:pt>
                <c:pt idx="1724">
                  <c:v>42.046999999999997</c:v>
                </c:pt>
                <c:pt idx="1725">
                  <c:v>42.143000000000001</c:v>
                </c:pt>
                <c:pt idx="1726">
                  <c:v>42.718000000000004</c:v>
                </c:pt>
                <c:pt idx="1727">
                  <c:v>41.856000000000002</c:v>
                </c:pt>
                <c:pt idx="1728">
                  <c:v>42.430999999999997</c:v>
                </c:pt>
                <c:pt idx="1729">
                  <c:v>41.951000000000001</c:v>
                </c:pt>
                <c:pt idx="1730">
                  <c:v>42.143000000000001</c:v>
                </c:pt>
                <c:pt idx="1731">
                  <c:v>42.527000000000001</c:v>
                </c:pt>
                <c:pt idx="1732">
                  <c:v>42.430999999999997</c:v>
                </c:pt>
                <c:pt idx="1733">
                  <c:v>41.856000000000002</c:v>
                </c:pt>
                <c:pt idx="1734">
                  <c:v>41.856000000000002</c:v>
                </c:pt>
                <c:pt idx="1735">
                  <c:v>42.046999999999997</c:v>
                </c:pt>
                <c:pt idx="1736">
                  <c:v>42.238</c:v>
                </c:pt>
                <c:pt idx="1737">
                  <c:v>42.430999999999997</c:v>
                </c:pt>
                <c:pt idx="1738">
                  <c:v>42.622999999999998</c:v>
                </c:pt>
                <c:pt idx="1739">
                  <c:v>42.046999999999997</c:v>
                </c:pt>
                <c:pt idx="1740">
                  <c:v>42.143000000000001</c:v>
                </c:pt>
                <c:pt idx="1741">
                  <c:v>42.143000000000001</c:v>
                </c:pt>
                <c:pt idx="1742">
                  <c:v>42.527000000000001</c:v>
                </c:pt>
                <c:pt idx="1743">
                  <c:v>41.951000000000001</c:v>
                </c:pt>
                <c:pt idx="1744">
                  <c:v>42.143000000000001</c:v>
                </c:pt>
                <c:pt idx="1745">
                  <c:v>42.430999999999997</c:v>
                </c:pt>
                <c:pt idx="1746">
                  <c:v>42.335999999999999</c:v>
                </c:pt>
                <c:pt idx="1747">
                  <c:v>42.143000000000001</c:v>
                </c:pt>
                <c:pt idx="1748">
                  <c:v>42.046999999999997</c:v>
                </c:pt>
                <c:pt idx="1749">
                  <c:v>42.527000000000001</c:v>
                </c:pt>
                <c:pt idx="1750">
                  <c:v>42.527000000000001</c:v>
                </c:pt>
                <c:pt idx="1751">
                  <c:v>42.238</c:v>
                </c:pt>
                <c:pt idx="1752">
                  <c:v>42.143000000000001</c:v>
                </c:pt>
                <c:pt idx="1753">
                  <c:v>42.143000000000001</c:v>
                </c:pt>
                <c:pt idx="1754">
                  <c:v>42.143000000000001</c:v>
                </c:pt>
                <c:pt idx="1755">
                  <c:v>42.238</c:v>
                </c:pt>
                <c:pt idx="1756">
                  <c:v>42.430999999999997</c:v>
                </c:pt>
                <c:pt idx="1757">
                  <c:v>42.430999999999997</c:v>
                </c:pt>
                <c:pt idx="1758">
                  <c:v>42.238</c:v>
                </c:pt>
                <c:pt idx="1759">
                  <c:v>42.335999999999999</c:v>
                </c:pt>
                <c:pt idx="1760">
                  <c:v>42.335999999999999</c:v>
                </c:pt>
                <c:pt idx="1761">
                  <c:v>42.527000000000001</c:v>
                </c:pt>
                <c:pt idx="1762">
                  <c:v>42.143000000000001</c:v>
                </c:pt>
                <c:pt idx="1763">
                  <c:v>42.430999999999997</c:v>
                </c:pt>
                <c:pt idx="1764">
                  <c:v>42.143000000000001</c:v>
                </c:pt>
                <c:pt idx="1765">
                  <c:v>42.238</c:v>
                </c:pt>
                <c:pt idx="1766">
                  <c:v>42.238</c:v>
                </c:pt>
                <c:pt idx="1767">
                  <c:v>41.951000000000001</c:v>
                </c:pt>
                <c:pt idx="1768">
                  <c:v>42.430999999999997</c:v>
                </c:pt>
                <c:pt idx="1769">
                  <c:v>42.335999999999999</c:v>
                </c:pt>
                <c:pt idx="1770">
                  <c:v>41.856000000000002</c:v>
                </c:pt>
                <c:pt idx="1771">
                  <c:v>42.046999999999997</c:v>
                </c:pt>
                <c:pt idx="1772">
                  <c:v>42.335999999999999</c:v>
                </c:pt>
                <c:pt idx="1773">
                  <c:v>42.238</c:v>
                </c:pt>
                <c:pt idx="1774">
                  <c:v>42.238</c:v>
                </c:pt>
                <c:pt idx="1775">
                  <c:v>42.527000000000001</c:v>
                </c:pt>
                <c:pt idx="1776">
                  <c:v>42.527000000000001</c:v>
                </c:pt>
                <c:pt idx="1777">
                  <c:v>42.046999999999997</c:v>
                </c:pt>
                <c:pt idx="1778">
                  <c:v>42.046999999999997</c:v>
                </c:pt>
                <c:pt idx="1779">
                  <c:v>41.856000000000002</c:v>
                </c:pt>
                <c:pt idx="1780">
                  <c:v>42.143000000000001</c:v>
                </c:pt>
                <c:pt idx="1781">
                  <c:v>42.046999999999997</c:v>
                </c:pt>
                <c:pt idx="1782">
                  <c:v>42.527000000000001</c:v>
                </c:pt>
                <c:pt idx="1783">
                  <c:v>42.143000000000001</c:v>
                </c:pt>
                <c:pt idx="1784">
                  <c:v>42.143000000000001</c:v>
                </c:pt>
                <c:pt idx="1785">
                  <c:v>42.718000000000004</c:v>
                </c:pt>
                <c:pt idx="1786">
                  <c:v>42.430999999999997</c:v>
                </c:pt>
                <c:pt idx="1787">
                  <c:v>42.238</c:v>
                </c:pt>
                <c:pt idx="1788">
                  <c:v>42.335999999999999</c:v>
                </c:pt>
                <c:pt idx="1789">
                  <c:v>42.046999999999997</c:v>
                </c:pt>
                <c:pt idx="1790">
                  <c:v>42.143000000000001</c:v>
                </c:pt>
                <c:pt idx="1791">
                  <c:v>42.143000000000001</c:v>
                </c:pt>
                <c:pt idx="1792">
                  <c:v>42.143000000000001</c:v>
                </c:pt>
                <c:pt idx="1793">
                  <c:v>42.046999999999997</c:v>
                </c:pt>
                <c:pt idx="1794">
                  <c:v>42.143000000000001</c:v>
                </c:pt>
                <c:pt idx="1795">
                  <c:v>42.238</c:v>
                </c:pt>
                <c:pt idx="1796">
                  <c:v>42.527000000000001</c:v>
                </c:pt>
                <c:pt idx="1797">
                  <c:v>42.143000000000001</c:v>
                </c:pt>
                <c:pt idx="1798">
                  <c:v>41.758000000000003</c:v>
                </c:pt>
                <c:pt idx="1799">
                  <c:v>42.046999999999997</c:v>
                </c:pt>
                <c:pt idx="1800">
                  <c:v>42.335999999999999</c:v>
                </c:pt>
                <c:pt idx="1801">
                  <c:v>42.238</c:v>
                </c:pt>
                <c:pt idx="1802">
                  <c:v>42.143000000000001</c:v>
                </c:pt>
                <c:pt idx="1803">
                  <c:v>42.143000000000001</c:v>
                </c:pt>
                <c:pt idx="1804">
                  <c:v>42.335999999999999</c:v>
                </c:pt>
                <c:pt idx="1805">
                  <c:v>42.622999999999998</c:v>
                </c:pt>
                <c:pt idx="1806">
                  <c:v>42.335999999999999</c:v>
                </c:pt>
                <c:pt idx="1807">
                  <c:v>42.335999999999999</c:v>
                </c:pt>
                <c:pt idx="1808">
                  <c:v>42.527000000000001</c:v>
                </c:pt>
                <c:pt idx="1809">
                  <c:v>42.143000000000001</c:v>
                </c:pt>
                <c:pt idx="1810">
                  <c:v>42.430999999999997</c:v>
                </c:pt>
                <c:pt idx="1811">
                  <c:v>42.143000000000001</c:v>
                </c:pt>
                <c:pt idx="1812">
                  <c:v>42.335999999999999</c:v>
                </c:pt>
                <c:pt idx="1813">
                  <c:v>42.622999999999998</c:v>
                </c:pt>
                <c:pt idx="1814">
                  <c:v>42.238</c:v>
                </c:pt>
                <c:pt idx="1815">
                  <c:v>42.238</c:v>
                </c:pt>
                <c:pt idx="1816">
                  <c:v>41.758000000000003</c:v>
                </c:pt>
                <c:pt idx="1817">
                  <c:v>42.335999999999999</c:v>
                </c:pt>
                <c:pt idx="1818">
                  <c:v>42.238</c:v>
                </c:pt>
                <c:pt idx="1819">
                  <c:v>42.335999999999999</c:v>
                </c:pt>
                <c:pt idx="1820">
                  <c:v>41.951000000000001</c:v>
                </c:pt>
                <c:pt idx="1821">
                  <c:v>42.046999999999997</c:v>
                </c:pt>
                <c:pt idx="1822">
                  <c:v>41.856000000000002</c:v>
                </c:pt>
                <c:pt idx="1823">
                  <c:v>42.335999999999999</c:v>
                </c:pt>
                <c:pt idx="1824">
                  <c:v>42.430999999999997</c:v>
                </c:pt>
                <c:pt idx="1825">
                  <c:v>42.622999999999998</c:v>
                </c:pt>
                <c:pt idx="1826">
                  <c:v>42.143000000000001</c:v>
                </c:pt>
                <c:pt idx="1827">
                  <c:v>42.143000000000001</c:v>
                </c:pt>
                <c:pt idx="1828">
                  <c:v>42.527000000000001</c:v>
                </c:pt>
                <c:pt idx="1829">
                  <c:v>42.143000000000001</c:v>
                </c:pt>
                <c:pt idx="1830">
                  <c:v>42.622999999999998</c:v>
                </c:pt>
                <c:pt idx="1831">
                  <c:v>42.238</c:v>
                </c:pt>
                <c:pt idx="1832">
                  <c:v>42.335999999999999</c:v>
                </c:pt>
                <c:pt idx="1833">
                  <c:v>42.527000000000001</c:v>
                </c:pt>
                <c:pt idx="1834">
                  <c:v>41.951000000000001</c:v>
                </c:pt>
                <c:pt idx="1835">
                  <c:v>42.622999999999998</c:v>
                </c:pt>
                <c:pt idx="1836">
                  <c:v>42.527000000000001</c:v>
                </c:pt>
                <c:pt idx="1837">
                  <c:v>42.335999999999999</c:v>
                </c:pt>
                <c:pt idx="1838">
                  <c:v>42.335999999999999</c:v>
                </c:pt>
                <c:pt idx="1839">
                  <c:v>42.335999999999999</c:v>
                </c:pt>
                <c:pt idx="1840">
                  <c:v>42.527000000000001</c:v>
                </c:pt>
                <c:pt idx="1841">
                  <c:v>42.335999999999999</c:v>
                </c:pt>
                <c:pt idx="1842">
                  <c:v>42.622999999999998</c:v>
                </c:pt>
                <c:pt idx="1843">
                  <c:v>42.430999999999997</c:v>
                </c:pt>
                <c:pt idx="1844">
                  <c:v>42.527000000000001</c:v>
                </c:pt>
                <c:pt idx="1845">
                  <c:v>42.622999999999998</c:v>
                </c:pt>
                <c:pt idx="1846">
                  <c:v>42.238</c:v>
                </c:pt>
                <c:pt idx="1847">
                  <c:v>42.430999999999997</c:v>
                </c:pt>
                <c:pt idx="1848">
                  <c:v>42.527000000000001</c:v>
                </c:pt>
                <c:pt idx="1849">
                  <c:v>42.046999999999997</c:v>
                </c:pt>
                <c:pt idx="1850">
                  <c:v>42.335999999999999</c:v>
                </c:pt>
                <c:pt idx="1851">
                  <c:v>42.430999999999997</c:v>
                </c:pt>
                <c:pt idx="1852">
                  <c:v>42.143000000000001</c:v>
                </c:pt>
                <c:pt idx="1853">
                  <c:v>42.335999999999999</c:v>
                </c:pt>
                <c:pt idx="1854">
                  <c:v>42.238</c:v>
                </c:pt>
                <c:pt idx="1855">
                  <c:v>42.046999999999997</c:v>
                </c:pt>
                <c:pt idx="1856">
                  <c:v>42.527000000000001</c:v>
                </c:pt>
                <c:pt idx="1857">
                  <c:v>42.046999999999997</c:v>
                </c:pt>
                <c:pt idx="1858">
                  <c:v>42.335999999999999</c:v>
                </c:pt>
                <c:pt idx="1859">
                  <c:v>42.238</c:v>
                </c:pt>
                <c:pt idx="1860">
                  <c:v>42.718000000000004</c:v>
                </c:pt>
                <c:pt idx="1861">
                  <c:v>42.911000000000001</c:v>
                </c:pt>
                <c:pt idx="1862">
                  <c:v>42.718000000000004</c:v>
                </c:pt>
                <c:pt idx="1863">
                  <c:v>42.527000000000001</c:v>
                </c:pt>
                <c:pt idx="1864">
                  <c:v>42.527000000000001</c:v>
                </c:pt>
                <c:pt idx="1865">
                  <c:v>41.758000000000003</c:v>
                </c:pt>
                <c:pt idx="1866">
                  <c:v>42.335999999999999</c:v>
                </c:pt>
                <c:pt idx="1867">
                  <c:v>42.238</c:v>
                </c:pt>
                <c:pt idx="1868">
                  <c:v>42.527000000000001</c:v>
                </c:pt>
                <c:pt idx="1869">
                  <c:v>42.143000000000001</c:v>
                </c:pt>
                <c:pt idx="1870">
                  <c:v>42.718000000000004</c:v>
                </c:pt>
                <c:pt idx="1871">
                  <c:v>42.527000000000001</c:v>
                </c:pt>
                <c:pt idx="1872">
                  <c:v>42.430999999999997</c:v>
                </c:pt>
                <c:pt idx="1873">
                  <c:v>42.238</c:v>
                </c:pt>
                <c:pt idx="1874">
                  <c:v>42.335999999999999</c:v>
                </c:pt>
                <c:pt idx="1875">
                  <c:v>41.951000000000001</c:v>
                </c:pt>
                <c:pt idx="1876">
                  <c:v>42.622999999999998</c:v>
                </c:pt>
                <c:pt idx="1877">
                  <c:v>42.527000000000001</c:v>
                </c:pt>
                <c:pt idx="1878">
                  <c:v>42.527000000000001</c:v>
                </c:pt>
                <c:pt idx="1879">
                  <c:v>42.238</c:v>
                </c:pt>
                <c:pt idx="1880">
                  <c:v>42.718000000000004</c:v>
                </c:pt>
                <c:pt idx="1881">
                  <c:v>42.430999999999997</c:v>
                </c:pt>
                <c:pt idx="1882">
                  <c:v>42.238</c:v>
                </c:pt>
                <c:pt idx="1883">
                  <c:v>42.622999999999998</c:v>
                </c:pt>
                <c:pt idx="1884">
                  <c:v>42.335999999999999</c:v>
                </c:pt>
                <c:pt idx="1885">
                  <c:v>42.430999999999997</c:v>
                </c:pt>
                <c:pt idx="1886">
                  <c:v>42.622999999999998</c:v>
                </c:pt>
                <c:pt idx="1887">
                  <c:v>42.238</c:v>
                </c:pt>
                <c:pt idx="1888">
                  <c:v>42.527000000000001</c:v>
                </c:pt>
                <c:pt idx="1889">
                  <c:v>42.527000000000001</c:v>
                </c:pt>
                <c:pt idx="1890">
                  <c:v>42.335999999999999</c:v>
                </c:pt>
                <c:pt idx="1891">
                  <c:v>42.911000000000001</c:v>
                </c:pt>
                <c:pt idx="1892">
                  <c:v>42.816000000000003</c:v>
                </c:pt>
                <c:pt idx="1893">
                  <c:v>42.622999999999998</c:v>
                </c:pt>
                <c:pt idx="1894">
                  <c:v>42.430999999999997</c:v>
                </c:pt>
                <c:pt idx="1895">
                  <c:v>42.335999999999999</c:v>
                </c:pt>
                <c:pt idx="1896">
                  <c:v>42.622999999999998</c:v>
                </c:pt>
                <c:pt idx="1897">
                  <c:v>42.816000000000003</c:v>
                </c:pt>
                <c:pt idx="1898">
                  <c:v>42.816000000000003</c:v>
                </c:pt>
                <c:pt idx="1899">
                  <c:v>42.335999999999999</c:v>
                </c:pt>
                <c:pt idx="1900">
                  <c:v>42.527000000000001</c:v>
                </c:pt>
                <c:pt idx="1901">
                  <c:v>42.718000000000004</c:v>
                </c:pt>
                <c:pt idx="1902">
                  <c:v>42.430999999999997</c:v>
                </c:pt>
                <c:pt idx="1903">
                  <c:v>42.527000000000001</c:v>
                </c:pt>
                <c:pt idx="1904">
                  <c:v>42.335999999999999</c:v>
                </c:pt>
                <c:pt idx="1905">
                  <c:v>43.006999999999998</c:v>
                </c:pt>
                <c:pt idx="1906">
                  <c:v>42.718000000000004</c:v>
                </c:pt>
                <c:pt idx="1907">
                  <c:v>42.143000000000001</c:v>
                </c:pt>
                <c:pt idx="1908">
                  <c:v>42.430999999999997</c:v>
                </c:pt>
                <c:pt idx="1909">
                  <c:v>42.527000000000001</c:v>
                </c:pt>
                <c:pt idx="1910">
                  <c:v>42.911000000000001</c:v>
                </c:pt>
                <c:pt idx="1911">
                  <c:v>42.143000000000001</c:v>
                </c:pt>
                <c:pt idx="1912">
                  <c:v>42.430999999999997</c:v>
                </c:pt>
                <c:pt idx="1913">
                  <c:v>42.718000000000004</c:v>
                </c:pt>
                <c:pt idx="1914">
                  <c:v>42.430999999999997</c:v>
                </c:pt>
                <c:pt idx="1915">
                  <c:v>42.718000000000004</c:v>
                </c:pt>
                <c:pt idx="1916">
                  <c:v>42.238</c:v>
                </c:pt>
                <c:pt idx="1917">
                  <c:v>42.718000000000004</c:v>
                </c:pt>
                <c:pt idx="1918">
                  <c:v>42.335999999999999</c:v>
                </c:pt>
                <c:pt idx="1919">
                  <c:v>42.718000000000004</c:v>
                </c:pt>
                <c:pt idx="1920">
                  <c:v>42.622999999999998</c:v>
                </c:pt>
                <c:pt idx="1921">
                  <c:v>42.335999999999999</c:v>
                </c:pt>
                <c:pt idx="1922">
                  <c:v>42.622999999999998</c:v>
                </c:pt>
                <c:pt idx="1923">
                  <c:v>42.718000000000004</c:v>
                </c:pt>
                <c:pt idx="1924">
                  <c:v>42.718000000000004</c:v>
                </c:pt>
                <c:pt idx="1925">
                  <c:v>42.527000000000001</c:v>
                </c:pt>
                <c:pt idx="1926">
                  <c:v>42.238</c:v>
                </c:pt>
                <c:pt idx="1927">
                  <c:v>42.238</c:v>
                </c:pt>
                <c:pt idx="1928">
                  <c:v>42.430999999999997</c:v>
                </c:pt>
                <c:pt idx="1929">
                  <c:v>42.622999999999998</c:v>
                </c:pt>
                <c:pt idx="1930">
                  <c:v>42.430999999999997</c:v>
                </c:pt>
                <c:pt idx="1931">
                  <c:v>42.622999999999998</c:v>
                </c:pt>
                <c:pt idx="1932">
                  <c:v>42.335999999999999</c:v>
                </c:pt>
                <c:pt idx="1933">
                  <c:v>42.430999999999997</c:v>
                </c:pt>
                <c:pt idx="1934">
                  <c:v>42.527000000000001</c:v>
                </c:pt>
                <c:pt idx="1935">
                  <c:v>42.143000000000001</c:v>
                </c:pt>
                <c:pt idx="1936">
                  <c:v>42.816000000000003</c:v>
                </c:pt>
                <c:pt idx="1937">
                  <c:v>42.335999999999999</c:v>
                </c:pt>
                <c:pt idx="1938">
                  <c:v>42.143000000000001</c:v>
                </c:pt>
                <c:pt idx="1939">
                  <c:v>42.046999999999997</c:v>
                </c:pt>
                <c:pt idx="1940">
                  <c:v>42.335999999999999</c:v>
                </c:pt>
                <c:pt idx="1941">
                  <c:v>42.718000000000004</c:v>
                </c:pt>
                <c:pt idx="1942">
                  <c:v>42.430999999999997</c:v>
                </c:pt>
                <c:pt idx="1943">
                  <c:v>42.718000000000004</c:v>
                </c:pt>
                <c:pt idx="1944">
                  <c:v>42.430999999999997</c:v>
                </c:pt>
                <c:pt idx="1945">
                  <c:v>42.622999999999998</c:v>
                </c:pt>
                <c:pt idx="1946">
                  <c:v>42.718000000000004</c:v>
                </c:pt>
                <c:pt idx="1947">
                  <c:v>42.911000000000001</c:v>
                </c:pt>
                <c:pt idx="1948">
                  <c:v>42.335999999999999</c:v>
                </c:pt>
                <c:pt idx="1949">
                  <c:v>42.622999999999998</c:v>
                </c:pt>
                <c:pt idx="1950">
                  <c:v>42.718000000000004</c:v>
                </c:pt>
                <c:pt idx="1951">
                  <c:v>42.046999999999997</c:v>
                </c:pt>
                <c:pt idx="1952">
                  <c:v>42.718000000000004</c:v>
                </c:pt>
                <c:pt idx="1953">
                  <c:v>43.103000000000002</c:v>
                </c:pt>
                <c:pt idx="1954">
                  <c:v>42.718000000000004</c:v>
                </c:pt>
                <c:pt idx="1955">
                  <c:v>42.718000000000004</c:v>
                </c:pt>
                <c:pt idx="1956">
                  <c:v>42.718000000000004</c:v>
                </c:pt>
                <c:pt idx="1957">
                  <c:v>42.816000000000003</c:v>
                </c:pt>
                <c:pt idx="1958">
                  <c:v>42.911000000000001</c:v>
                </c:pt>
                <c:pt idx="1959">
                  <c:v>42.816000000000003</c:v>
                </c:pt>
                <c:pt idx="1960">
                  <c:v>42.046999999999997</c:v>
                </c:pt>
                <c:pt idx="1961">
                  <c:v>42.430999999999997</c:v>
                </c:pt>
                <c:pt idx="1962">
                  <c:v>42.622999999999998</c:v>
                </c:pt>
                <c:pt idx="1963">
                  <c:v>42.430999999999997</c:v>
                </c:pt>
                <c:pt idx="1964">
                  <c:v>42.622999999999998</c:v>
                </c:pt>
                <c:pt idx="1965">
                  <c:v>42.622999999999998</c:v>
                </c:pt>
                <c:pt idx="1966">
                  <c:v>42.527000000000001</c:v>
                </c:pt>
                <c:pt idx="1967">
                  <c:v>42.622999999999998</c:v>
                </c:pt>
                <c:pt idx="1968">
                  <c:v>42.335999999999999</c:v>
                </c:pt>
                <c:pt idx="1969">
                  <c:v>42.335999999999999</c:v>
                </c:pt>
                <c:pt idx="1970">
                  <c:v>42.718000000000004</c:v>
                </c:pt>
                <c:pt idx="1971">
                  <c:v>42.816000000000003</c:v>
                </c:pt>
                <c:pt idx="1972">
                  <c:v>42.718000000000004</c:v>
                </c:pt>
                <c:pt idx="1973">
                  <c:v>43.103000000000002</c:v>
                </c:pt>
                <c:pt idx="1974">
                  <c:v>42.527000000000001</c:v>
                </c:pt>
                <c:pt idx="1975">
                  <c:v>42.718000000000004</c:v>
                </c:pt>
                <c:pt idx="1976">
                  <c:v>42.816000000000003</c:v>
                </c:pt>
                <c:pt idx="1977">
                  <c:v>42.816000000000003</c:v>
                </c:pt>
                <c:pt idx="1978">
                  <c:v>42.816000000000003</c:v>
                </c:pt>
                <c:pt idx="1979">
                  <c:v>42.718000000000004</c:v>
                </c:pt>
                <c:pt idx="1980">
                  <c:v>42.718000000000004</c:v>
                </c:pt>
                <c:pt idx="1981">
                  <c:v>42.911000000000001</c:v>
                </c:pt>
                <c:pt idx="1982">
                  <c:v>42.143000000000001</c:v>
                </c:pt>
                <c:pt idx="1983">
                  <c:v>43.103000000000002</c:v>
                </c:pt>
                <c:pt idx="1984">
                  <c:v>42.335999999999999</c:v>
                </c:pt>
                <c:pt idx="1985">
                  <c:v>42.816000000000003</c:v>
                </c:pt>
                <c:pt idx="1986">
                  <c:v>42.143000000000001</c:v>
                </c:pt>
                <c:pt idx="1987">
                  <c:v>42.718000000000004</c:v>
                </c:pt>
                <c:pt idx="1988">
                  <c:v>42.718000000000004</c:v>
                </c:pt>
                <c:pt idx="1989">
                  <c:v>42.622999999999998</c:v>
                </c:pt>
                <c:pt idx="1990">
                  <c:v>42.622999999999998</c:v>
                </c:pt>
                <c:pt idx="1991">
                  <c:v>42.335999999999999</c:v>
                </c:pt>
                <c:pt idx="1992">
                  <c:v>42.816000000000003</c:v>
                </c:pt>
                <c:pt idx="1993">
                  <c:v>42.718000000000004</c:v>
                </c:pt>
                <c:pt idx="1994">
                  <c:v>42.430999999999997</c:v>
                </c:pt>
                <c:pt idx="1995">
                  <c:v>42.718000000000004</c:v>
                </c:pt>
                <c:pt idx="1996">
                  <c:v>42.527000000000001</c:v>
                </c:pt>
                <c:pt idx="1997">
                  <c:v>42.622999999999998</c:v>
                </c:pt>
                <c:pt idx="1998">
                  <c:v>43.198</c:v>
                </c:pt>
                <c:pt idx="1999">
                  <c:v>42.622999999999998</c:v>
                </c:pt>
                <c:pt idx="2000">
                  <c:v>42.622999999999998</c:v>
                </c:pt>
                <c:pt idx="2001">
                  <c:v>42.622999999999998</c:v>
                </c:pt>
                <c:pt idx="2002">
                  <c:v>42.911000000000001</c:v>
                </c:pt>
                <c:pt idx="2003">
                  <c:v>42.622999999999998</c:v>
                </c:pt>
                <c:pt idx="2004">
                  <c:v>42.816000000000003</c:v>
                </c:pt>
                <c:pt idx="2005">
                  <c:v>42.527000000000001</c:v>
                </c:pt>
                <c:pt idx="2006">
                  <c:v>43.006999999999998</c:v>
                </c:pt>
                <c:pt idx="2007">
                  <c:v>42.527000000000001</c:v>
                </c:pt>
                <c:pt idx="2008">
                  <c:v>42.816000000000003</c:v>
                </c:pt>
                <c:pt idx="2009">
                  <c:v>42.718000000000004</c:v>
                </c:pt>
                <c:pt idx="2010">
                  <c:v>43.006999999999998</c:v>
                </c:pt>
                <c:pt idx="2011">
                  <c:v>42.527000000000001</c:v>
                </c:pt>
                <c:pt idx="2012">
                  <c:v>43.006999999999998</c:v>
                </c:pt>
                <c:pt idx="2013">
                  <c:v>42.718000000000004</c:v>
                </c:pt>
                <c:pt idx="2014">
                  <c:v>42.622999999999998</c:v>
                </c:pt>
                <c:pt idx="2015">
                  <c:v>42.527000000000001</c:v>
                </c:pt>
                <c:pt idx="2016">
                  <c:v>42.622999999999998</c:v>
                </c:pt>
                <c:pt idx="2017">
                  <c:v>42.622999999999998</c:v>
                </c:pt>
                <c:pt idx="2018">
                  <c:v>42.527000000000001</c:v>
                </c:pt>
                <c:pt idx="2019">
                  <c:v>42.622999999999998</c:v>
                </c:pt>
                <c:pt idx="2020">
                  <c:v>42.622999999999998</c:v>
                </c:pt>
                <c:pt idx="2021">
                  <c:v>42.527000000000001</c:v>
                </c:pt>
                <c:pt idx="2022">
                  <c:v>42.816000000000003</c:v>
                </c:pt>
                <c:pt idx="2023">
                  <c:v>42.622999999999998</c:v>
                </c:pt>
                <c:pt idx="2024">
                  <c:v>43.103000000000002</c:v>
                </c:pt>
                <c:pt idx="2025">
                  <c:v>42.911000000000001</c:v>
                </c:pt>
                <c:pt idx="2026">
                  <c:v>43.006999999999998</c:v>
                </c:pt>
                <c:pt idx="2027">
                  <c:v>42.527000000000001</c:v>
                </c:pt>
                <c:pt idx="2028">
                  <c:v>42.718000000000004</c:v>
                </c:pt>
                <c:pt idx="2029">
                  <c:v>42.527000000000001</c:v>
                </c:pt>
                <c:pt idx="2030">
                  <c:v>42.622999999999998</c:v>
                </c:pt>
                <c:pt idx="2031">
                  <c:v>43.006999999999998</c:v>
                </c:pt>
                <c:pt idx="2032">
                  <c:v>42.911000000000001</c:v>
                </c:pt>
                <c:pt idx="2033">
                  <c:v>42.911000000000001</c:v>
                </c:pt>
                <c:pt idx="2034">
                  <c:v>43.006999999999998</c:v>
                </c:pt>
                <c:pt idx="2035">
                  <c:v>42.527000000000001</c:v>
                </c:pt>
                <c:pt idx="2036">
                  <c:v>42.622999999999998</c:v>
                </c:pt>
                <c:pt idx="2037">
                  <c:v>42.718000000000004</c:v>
                </c:pt>
                <c:pt idx="2038">
                  <c:v>43.103000000000002</c:v>
                </c:pt>
                <c:pt idx="2039">
                  <c:v>42.911000000000001</c:v>
                </c:pt>
                <c:pt idx="2040">
                  <c:v>42.718000000000004</c:v>
                </c:pt>
                <c:pt idx="2041">
                  <c:v>42.622999999999998</c:v>
                </c:pt>
                <c:pt idx="2042">
                  <c:v>42.527000000000001</c:v>
                </c:pt>
                <c:pt idx="2043">
                  <c:v>42.911000000000001</c:v>
                </c:pt>
                <c:pt idx="2044">
                  <c:v>42.527000000000001</c:v>
                </c:pt>
                <c:pt idx="2045">
                  <c:v>42.622999999999998</c:v>
                </c:pt>
                <c:pt idx="2046">
                  <c:v>42.622999999999998</c:v>
                </c:pt>
                <c:pt idx="2047">
                  <c:v>42.718000000000004</c:v>
                </c:pt>
                <c:pt idx="2048">
                  <c:v>42.816000000000003</c:v>
                </c:pt>
                <c:pt idx="2049">
                  <c:v>42.816000000000003</c:v>
                </c:pt>
                <c:pt idx="2050">
                  <c:v>43.006999999999998</c:v>
                </c:pt>
                <c:pt idx="2051">
                  <c:v>42.622999999999998</c:v>
                </c:pt>
                <c:pt idx="2052">
                  <c:v>43.006999999999998</c:v>
                </c:pt>
                <c:pt idx="2053">
                  <c:v>42.816000000000003</c:v>
                </c:pt>
                <c:pt idx="2054">
                  <c:v>42.911000000000001</c:v>
                </c:pt>
                <c:pt idx="2055">
                  <c:v>42.816000000000003</c:v>
                </c:pt>
                <c:pt idx="2056">
                  <c:v>42.430999999999997</c:v>
                </c:pt>
                <c:pt idx="2057">
                  <c:v>42.816000000000003</c:v>
                </c:pt>
                <c:pt idx="2058">
                  <c:v>43.103000000000002</c:v>
                </c:pt>
                <c:pt idx="2059">
                  <c:v>42.816000000000003</c:v>
                </c:pt>
                <c:pt idx="2060">
                  <c:v>43.006999999999998</c:v>
                </c:pt>
                <c:pt idx="2061">
                  <c:v>42.622999999999998</c:v>
                </c:pt>
                <c:pt idx="2062">
                  <c:v>42.718000000000004</c:v>
                </c:pt>
                <c:pt idx="2063">
                  <c:v>42.816000000000003</c:v>
                </c:pt>
                <c:pt idx="2064">
                  <c:v>42.816000000000003</c:v>
                </c:pt>
                <c:pt idx="2065">
                  <c:v>42.816000000000003</c:v>
                </c:pt>
                <c:pt idx="2066">
                  <c:v>42.816000000000003</c:v>
                </c:pt>
                <c:pt idx="2067">
                  <c:v>42.911000000000001</c:v>
                </c:pt>
                <c:pt idx="2068">
                  <c:v>42.527000000000001</c:v>
                </c:pt>
                <c:pt idx="2069">
                  <c:v>43.103000000000002</c:v>
                </c:pt>
                <c:pt idx="2070">
                  <c:v>42.622999999999998</c:v>
                </c:pt>
                <c:pt idx="2071">
                  <c:v>42.816000000000003</c:v>
                </c:pt>
                <c:pt idx="2072">
                  <c:v>42.911000000000001</c:v>
                </c:pt>
                <c:pt idx="2073">
                  <c:v>42.718000000000004</c:v>
                </c:pt>
                <c:pt idx="2074">
                  <c:v>42.622999999999998</c:v>
                </c:pt>
                <c:pt idx="2075">
                  <c:v>42.911000000000001</c:v>
                </c:pt>
                <c:pt idx="2076">
                  <c:v>42.718000000000004</c:v>
                </c:pt>
                <c:pt idx="2077">
                  <c:v>42.622999999999998</c:v>
                </c:pt>
                <c:pt idx="2078">
                  <c:v>42.911000000000001</c:v>
                </c:pt>
                <c:pt idx="2079">
                  <c:v>42.718000000000004</c:v>
                </c:pt>
                <c:pt idx="2080">
                  <c:v>42.816000000000003</c:v>
                </c:pt>
                <c:pt idx="2081">
                  <c:v>42.718000000000004</c:v>
                </c:pt>
                <c:pt idx="2082">
                  <c:v>43.006999999999998</c:v>
                </c:pt>
                <c:pt idx="2083">
                  <c:v>43.006999999999998</c:v>
                </c:pt>
                <c:pt idx="2084">
                  <c:v>42.911000000000001</c:v>
                </c:pt>
                <c:pt idx="2085">
                  <c:v>42.816000000000003</c:v>
                </c:pt>
                <c:pt idx="2086">
                  <c:v>43.006999999999998</c:v>
                </c:pt>
                <c:pt idx="2087">
                  <c:v>42.718000000000004</c:v>
                </c:pt>
                <c:pt idx="2088">
                  <c:v>42.911000000000001</c:v>
                </c:pt>
                <c:pt idx="2089">
                  <c:v>42.527000000000001</c:v>
                </c:pt>
                <c:pt idx="2090">
                  <c:v>42.911000000000001</c:v>
                </c:pt>
                <c:pt idx="2091">
                  <c:v>42.622999999999998</c:v>
                </c:pt>
                <c:pt idx="2092">
                  <c:v>42.718000000000004</c:v>
                </c:pt>
                <c:pt idx="2093">
                  <c:v>42.911000000000001</c:v>
                </c:pt>
                <c:pt idx="2094">
                  <c:v>42.718000000000004</c:v>
                </c:pt>
                <c:pt idx="2095">
                  <c:v>42.816000000000003</c:v>
                </c:pt>
                <c:pt idx="2096">
                  <c:v>42.911000000000001</c:v>
                </c:pt>
                <c:pt idx="2097">
                  <c:v>42.816000000000003</c:v>
                </c:pt>
                <c:pt idx="2098">
                  <c:v>43.103000000000002</c:v>
                </c:pt>
                <c:pt idx="2099">
                  <c:v>42.718000000000004</c:v>
                </c:pt>
                <c:pt idx="2100">
                  <c:v>42.911000000000001</c:v>
                </c:pt>
                <c:pt idx="2101">
                  <c:v>43.390999999999998</c:v>
                </c:pt>
                <c:pt idx="2102">
                  <c:v>43.390999999999998</c:v>
                </c:pt>
                <c:pt idx="2103">
                  <c:v>43.006999999999998</c:v>
                </c:pt>
                <c:pt idx="2104">
                  <c:v>42.527000000000001</c:v>
                </c:pt>
                <c:pt idx="2105">
                  <c:v>42.718000000000004</c:v>
                </c:pt>
                <c:pt idx="2106">
                  <c:v>42.622999999999998</c:v>
                </c:pt>
                <c:pt idx="2107">
                  <c:v>42.718000000000004</c:v>
                </c:pt>
                <c:pt idx="2108">
                  <c:v>42.622999999999998</c:v>
                </c:pt>
                <c:pt idx="2109">
                  <c:v>42.816000000000003</c:v>
                </c:pt>
                <c:pt idx="2110">
                  <c:v>42.718000000000004</c:v>
                </c:pt>
                <c:pt idx="2111">
                  <c:v>42.911000000000001</c:v>
                </c:pt>
                <c:pt idx="2112">
                  <c:v>42.527000000000001</c:v>
                </c:pt>
                <c:pt idx="2113">
                  <c:v>42.622999999999998</c:v>
                </c:pt>
                <c:pt idx="2114">
                  <c:v>42.911000000000001</c:v>
                </c:pt>
                <c:pt idx="2115">
                  <c:v>42.622999999999998</c:v>
                </c:pt>
                <c:pt idx="2116">
                  <c:v>43.390999999999998</c:v>
                </c:pt>
                <c:pt idx="2117">
                  <c:v>42.718000000000004</c:v>
                </c:pt>
                <c:pt idx="2118">
                  <c:v>43.006999999999998</c:v>
                </c:pt>
                <c:pt idx="2119">
                  <c:v>43.006999999999998</c:v>
                </c:pt>
                <c:pt idx="2120">
                  <c:v>42.816000000000003</c:v>
                </c:pt>
                <c:pt idx="2121">
                  <c:v>43.006999999999998</c:v>
                </c:pt>
                <c:pt idx="2122">
                  <c:v>42.622999999999998</c:v>
                </c:pt>
                <c:pt idx="2123">
                  <c:v>43.487000000000002</c:v>
                </c:pt>
                <c:pt idx="2124">
                  <c:v>43.198</c:v>
                </c:pt>
                <c:pt idx="2125">
                  <c:v>42.816000000000003</c:v>
                </c:pt>
                <c:pt idx="2126">
                  <c:v>42.718000000000004</c:v>
                </c:pt>
                <c:pt idx="2127">
                  <c:v>42.911000000000001</c:v>
                </c:pt>
                <c:pt idx="2128">
                  <c:v>42.718000000000004</c:v>
                </c:pt>
                <c:pt idx="2129">
                  <c:v>42.911000000000001</c:v>
                </c:pt>
                <c:pt idx="2130">
                  <c:v>42.816000000000003</c:v>
                </c:pt>
                <c:pt idx="2131">
                  <c:v>43.006999999999998</c:v>
                </c:pt>
                <c:pt idx="2132">
                  <c:v>42.911000000000001</c:v>
                </c:pt>
                <c:pt idx="2133">
                  <c:v>43.006999999999998</c:v>
                </c:pt>
                <c:pt idx="2134">
                  <c:v>42.816000000000003</c:v>
                </c:pt>
                <c:pt idx="2135">
                  <c:v>42.718000000000004</c:v>
                </c:pt>
                <c:pt idx="2136">
                  <c:v>42.622999999999998</c:v>
                </c:pt>
                <c:pt idx="2137">
                  <c:v>42.816000000000003</c:v>
                </c:pt>
                <c:pt idx="2138">
                  <c:v>42.718000000000004</c:v>
                </c:pt>
                <c:pt idx="2139">
                  <c:v>42.911000000000001</c:v>
                </c:pt>
                <c:pt idx="2140">
                  <c:v>42.527000000000001</c:v>
                </c:pt>
                <c:pt idx="2141">
                  <c:v>42.718000000000004</c:v>
                </c:pt>
                <c:pt idx="2142">
                  <c:v>43.487000000000002</c:v>
                </c:pt>
                <c:pt idx="2143">
                  <c:v>43.103000000000002</c:v>
                </c:pt>
                <c:pt idx="2144">
                  <c:v>42.718000000000004</c:v>
                </c:pt>
                <c:pt idx="2145">
                  <c:v>43.295999999999999</c:v>
                </c:pt>
                <c:pt idx="2146">
                  <c:v>43.295999999999999</c:v>
                </c:pt>
                <c:pt idx="2147">
                  <c:v>42.816000000000003</c:v>
                </c:pt>
                <c:pt idx="2148">
                  <c:v>43.198</c:v>
                </c:pt>
                <c:pt idx="2149">
                  <c:v>43.006999999999998</c:v>
                </c:pt>
                <c:pt idx="2150">
                  <c:v>42.911000000000001</c:v>
                </c:pt>
                <c:pt idx="2151">
                  <c:v>43.006999999999998</c:v>
                </c:pt>
                <c:pt idx="2152">
                  <c:v>42.911000000000001</c:v>
                </c:pt>
                <c:pt idx="2153">
                  <c:v>43.103000000000002</c:v>
                </c:pt>
                <c:pt idx="2154">
                  <c:v>43.198</c:v>
                </c:pt>
                <c:pt idx="2155">
                  <c:v>43.295999999999999</c:v>
                </c:pt>
                <c:pt idx="2156">
                  <c:v>43.006999999999998</c:v>
                </c:pt>
                <c:pt idx="2157">
                  <c:v>43.103000000000002</c:v>
                </c:pt>
                <c:pt idx="2158">
                  <c:v>42.718000000000004</c:v>
                </c:pt>
                <c:pt idx="2159">
                  <c:v>43.295999999999999</c:v>
                </c:pt>
                <c:pt idx="2160">
                  <c:v>43.103000000000002</c:v>
                </c:pt>
                <c:pt idx="2161">
                  <c:v>42.816000000000003</c:v>
                </c:pt>
                <c:pt idx="2162">
                  <c:v>42.816000000000003</c:v>
                </c:pt>
                <c:pt idx="2163">
                  <c:v>42.911000000000001</c:v>
                </c:pt>
                <c:pt idx="2164">
                  <c:v>42.911000000000001</c:v>
                </c:pt>
                <c:pt idx="2165">
                  <c:v>43.198</c:v>
                </c:pt>
                <c:pt idx="2166">
                  <c:v>43.103000000000002</c:v>
                </c:pt>
                <c:pt idx="2167">
                  <c:v>42.911000000000001</c:v>
                </c:pt>
                <c:pt idx="2168">
                  <c:v>42.911000000000001</c:v>
                </c:pt>
                <c:pt idx="2169">
                  <c:v>43.295999999999999</c:v>
                </c:pt>
                <c:pt idx="2170">
                  <c:v>43.295999999999999</c:v>
                </c:pt>
                <c:pt idx="2171">
                  <c:v>42.816000000000003</c:v>
                </c:pt>
                <c:pt idx="2172">
                  <c:v>43.390999999999998</c:v>
                </c:pt>
                <c:pt idx="2173">
                  <c:v>43.295999999999999</c:v>
                </c:pt>
                <c:pt idx="2174">
                  <c:v>43.103000000000002</c:v>
                </c:pt>
                <c:pt idx="2175">
                  <c:v>43.198</c:v>
                </c:pt>
                <c:pt idx="2176">
                  <c:v>43.198</c:v>
                </c:pt>
                <c:pt idx="2177">
                  <c:v>43.103000000000002</c:v>
                </c:pt>
                <c:pt idx="2178">
                  <c:v>42.911000000000001</c:v>
                </c:pt>
                <c:pt idx="2179">
                  <c:v>43.103000000000002</c:v>
                </c:pt>
                <c:pt idx="2180">
                  <c:v>42.718000000000004</c:v>
                </c:pt>
                <c:pt idx="2181">
                  <c:v>43.198</c:v>
                </c:pt>
                <c:pt idx="2182">
                  <c:v>43.295999999999999</c:v>
                </c:pt>
                <c:pt idx="2183">
                  <c:v>43.006999999999998</c:v>
                </c:pt>
                <c:pt idx="2184">
                  <c:v>43.103000000000002</c:v>
                </c:pt>
                <c:pt idx="2185">
                  <c:v>43.198</c:v>
                </c:pt>
                <c:pt idx="2186">
                  <c:v>42.718000000000004</c:v>
                </c:pt>
                <c:pt idx="2187">
                  <c:v>43.198</c:v>
                </c:pt>
                <c:pt idx="2188">
                  <c:v>43.390999999999998</c:v>
                </c:pt>
                <c:pt idx="2189">
                  <c:v>43.006999999999998</c:v>
                </c:pt>
                <c:pt idx="2190">
                  <c:v>43.295999999999999</c:v>
                </c:pt>
                <c:pt idx="2191">
                  <c:v>42.911000000000001</c:v>
                </c:pt>
                <c:pt idx="2192">
                  <c:v>43.198</c:v>
                </c:pt>
                <c:pt idx="2193">
                  <c:v>43.006999999999998</c:v>
                </c:pt>
                <c:pt idx="2194">
                  <c:v>43.198</c:v>
                </c:pt>
                <c:pt idx="2195">
                  <c:v>42.911000000000001</c:v>
                </c:pt>
                <c:pt idx="2196">
                  <c:v>43.295999999999999</c:v>
                </c:pt>
                <c:pt idx="2197">
                  <c:v>42.911000000000001</c:v>
                </c:pt>
                <c:pt idx="2198">
                  <c:v>42.430999999999997</c:v>
                </c:pt>
                <c:pt idx="2199">
                  <c:v>43.198</c:v>
                </c:pt>
                <c:pt idx="2200">
                  <c:v>43.198</c:v>
                </c:pt>
                <c:pt idx="2201">
                  <c:v>42.911000000000001</c:v>
                </c:pt>
                <c:pt idx="2202">
                  <c:v>42.911000000000001</c:v>
                </c:pt>
                <c:pt idx="2203">
                  <c:v>42.911000000000001</c:v>
                </c:pt>
                <c:pt idx="2204">
                  <c:v>43.198</c:v>
                </c:pt>
                <c:pt idx="2205">
                  <c:v>43.390999999999998</c:v>
                </c:pt>
                <c:pt idx="2206">
                  <c:v>43.390999999999998</c:v>
                </c:pt>
                <c:pt idx="2207">
                  <c:v>43.198</c:v>
                </c:pt>
                <c:pt idx="2208">
                  <c:v>43.390999999999998</c:v>
                </c:pt>
                <c:pt idx="2209">
                  <c:v>43.103000000000002</c:v>
                </c:pt>
                <c:pt idx="2210">
                  <c:v>42.718000000000004</c:v>
                </c:pt>
                <c:pt idx="2211">
                  <c:v>42.911000000000001</c:v>
                </c:pt>
                <c:pt idx="2212">
                  <c:v>43.198</c:v>
                </c:pt>
                <c:pt idx="2213">
                  <c:v>42.911000000000001</c:v>
                </c:pt>
                <c:pt idx="2214">
                  <c:v>43.006999999999998</c:v>
                </c:pt>
                <c:pt idx="2215">
                  <c:v>43.198</c:v>
                </c:pt>
                <c:pt idx="2216">
                  <c:v>43.103000000000002</c:v>
                </c:pt>
                <c:pt idx="2217">
                  <c:v>43.198</c:v>
                </c:pt>
                <c:pt idx="2218">
                  <c:v>43.103000000000002</c:v>
                </c:pt>
                <c:pt idx="2219">
                  <c:v>43.390999999999998</c:v>
                </c:pt>
                <c:pt idx="2220">
                  <c:v>43.295999999999999</c:v>
                </c:pt>
                <c:pt idx="2221">
                  <c:v>43.390999999999998</c:v>
                </c:pt>
                <c:pt idx="2222">
                  <c:v>43.103000000000002</c:v>
                </c:pt>
                <c:pt idx="2223">
                  <c:v>43.006999999999998</c:v>
                </c:pt>
                <c:pt idx="2224">
                  <c:v>43.006999999999998</c:v>
                </c:pt>
                <c:pt idx="2225">
                  <c:v>43.103000000000002</c:v>
                </c:pt>
                <c:pt idx="2226">
                  <c:v>43.295999999999999</c:v>
                </c:pt>
                <c:pt idx="2227">
                  <c:v>42.911000000000001</c:v>
                </c:pt>
                <c:pt idx="2228">
                  <c:v>43.295999999999999</c:v>
                </c:pt>
                <c:pt idx="2229">
                  <c:v>42.718000000000004</c:v>
                </c:pt>
                <c:pt idx="2230">
                  <c:v>42.911000000000001</c:v>
                </c:pt>
                <c:pt idx="2231">
                  <c:v>43.487000000000002</c:v>
                </c:pt>
                <c:pt idx="2232">
                  <c:v>43.487000000000002</c:v>
                </c:pt>
                <c:pt idx="2233">
                  <c:v>43.006999999999998</c:v>
                </c:pt>
                <c:pt idx="2234">
                  <c:v>43.006999999999998</c:v>
                </c:pt>
                <c:pt idx="2235">
                  <c:v>42.816000000000003</c:v>
                </c:pt>
                <c:pt idx="2236">
                  <c:v>43.295999999999999</c:v>
                </c:pt>
                <c:pt idx="2237">
                  <c:v>43.198</c:v>
                </c:pt>
                <c:pt idx="2238">
                  <c:v>43.198</c:v>
                </c:pt>
                <c:pt idx="2239">
                  <c:v>43.103000000000002</c:v>
                </c:pt>
                <c:pt idx="2240">
                  <c:v>42.911000000000001</c:v>
                </c:pt>
                <c:pt idx="2241">
                  <c:v>43.582999999999998</c:v>
                </c:pt>
                <c:pt idx="2242">
                  <c:v>43.295999999999999</c:v>
                </c:pt>
                <c:pt idx="2243">
                  <c:v>43.582999999999998</c:v>
                </c:pt>
                <c:pt idx="2244">
                  <c:v>43.295999999999999</c:v>
                </c:pt>
                <c:pt idx="2245">
                  <c:v>43.103000000000002</c:v>
                </c:pt>
                <c:pt idx="2246">
                  <c:v>42.911000000000001</c:v>
                </c:pt>
                <c:pt idx="2247">
                  <c:v>43.103000000000002</c:v>
                </c:pt>
                <c:pt idx="2248">
                  <c:v>42.911000000000001</c:v>
                </c:pt>
                <c:pt idx="2249">
                  <c:v>43.390999999999998</c:v>
                </c:pt>
                <c:pt idx="2250">
                  <c:v>43.103000000000002</c:v>
                </c:pt>
                <c:pt idx="2251">
                  <c:v>43.006999999999998</c:v>
                </c:pt>
                <c:pt idx="2252">
                  <c:v>42.911000000000001</c:v>
                </c:pt>
                <c:pt idx="2253">
                  <c:v>43.487000000000002</c:v>
                </c:pt>
                <c:pt idx="2254">
                  <c:v>43.006999999999998</c:v>
                </c:pt>
                <c:pt idx="2255">
                  <c:v>43.487000000000002</c:v>
                </c:pt>
                <c:pt idx="2256">
                  <c:v>42.911000000000001</c:v>
                </c:pt>
                <c:pt idx="2257">
                  <c:v>42.718000000000004</c:v>
                </c:pt>
                <c:pt idx="2258">
                  <c:v>43.295999999999999</c:v>
                </c:pt>
                <c:pt idx="2259">
                  <c:v>43.487000000000002</c:v>
                </c:pt>
                <c:pt idx="2260">
                  <c:v>43.198</c:v>
                </c:pt>
                <c:pt idx="2261">
                  <c:v>43.390999999999998</c:v>
                </c:pt>
                <c:pt idx="2262">
                  <c:v>43.390999999999998</c:v>
                </c:pt>
                <c:pt idx="2263">
                  <c:v>43.295999999999999</c:v>
                </c:pt>
                <c:pt idx="2264">
                  <c:v>43.103000000000002</c:v>
                </c:pt>
                <c:pt idx="2265">
                  <c:v>42.911000000000001</c:v>
                </c:pt>
                <c:pt idx="2266">
                  <c:v>43.198</c:v>
                </c:pt>
                <c:pt idx="2267">
                  <c:v>43.006999999999998</c:v>
                </c:pt>
                <c:pt idx="2268">
                  <c:v>43.103000000000002</c:v>
                </c:pt>
                <c:pt idx="2269">
                  <c:v>43.103000000000002</c:v>
                </c:pt>
                <c:pt idx="2270">
                  <c:v>42.911000000000001</c:v>
                </c:pt>
                <c:pt idx="2271">
                  <c:v>43.295999999999999</c:v>
                </c:pt>
                <c:pt idx="2272">
                  <c:v>43.006999999999998</c:v>
                </c:pt>
                <c:pt idx="2273">
                  <c:v>43.295999999999999</c:v>
                </c:pt>
                <c:pt idx="2274">
                  <c:v>43.198</c:v>
                </c:pt>
                <c:pt idx="2275">
                  <c:v>43.390999999999998</c:v>
                </c:pt>
                <c:pt idx="2276">
                  <c:v>43.006999999999998</c:v>
                </c:pt>
                <c:pt idx="2277">
                  <c:v>43.103000000000002</c:v>
                </c:pt>
                <c:pt idx="2278">
                  <c:v>43.295999999999999</c:v>
                </c:pt>
                <c:pt idx="2279">
                  <c:v>43.487000000000002</c:v>
                </c:pt>
                <c:pt idx="2280">
                  <c:v>43.006999999999998</c:v>
                </c:pt>
                <c:pt idx="2281">
                  <c:v>43.390999999999998</c:v>
                </c:pt>
                <c:pt idx="2282">
                  <c:v>43.487000000000002</c:v>
                </c:pt>
                <c:pt idx="2283">
                  <c:v>43.390999999999998</c:v>
                </c:pt>
                <c:pt idx="2284">
                  <c:v>43.198</c:v>
                </c:pt>
                <c:pt idx="2285">
                  <c:v>43.295999999999999</c:v>
                </c:pt>
                <c:pt idx="2286">
                  <c:v>43.103000000000002</c:v>
                </c:pt>
                <c:pt idx="2287">
                  <c:v>42.911000000000001</c:v>
                </c:pt>
                <c:pt idx="2288">
                  <c:v>43.103000000000002</c:v>
                </c:pt>
                <c:pt idx="2289">
                  <c:v>43.006999999999998</c:v>
                </c:pt>
                <c:pt idx="2290">
                  <c:v>43.006999999999998</c:v>
                </c:pt>
                <c:pt idx="2291">
                  <c:v>43.103000000000002</c:v>
                </c:pt>
                <c:pt idx="2292">
                  <c:v>43.198</c:v>
                </c:pt>
                <c:pt idx="2293">
                  <c:v>43.390999999999998</c:v>
                </c:pt>
                <c:pt idx="2294">
                  <c:v>43.295999999999999</c:v>
                </c:pt>
                <c:pt idx="2295">
                  <c:v>42.911000000000001</c:v>
                </c:pt>
                <c:pt idx="2296">
                  <c:v>43.390999999999998</c:v>
                </c:pt>
                <c:pt idx="2297">
                  <c:v>43.006999999999998</c:v>
                </c:pt>
                <c:pt idx="2298">
                  <c:v>43.103000000000002</c:v>
                </c:pt>
                <c:pt idx="2299">
                  <c:v>43.390999999999998</c:v>
                </c:pt>
                <c:pt idx="2300">
                  <c:v>43.582999999999998</c:v>
                </c:pt>
                <c:pt idx="2301">
                  <c:v>43.390999999999998</c:v>
                </c:pt>
                <c:pt idx="2302">
                  <c:v>43.006999999999998</c:v>
                </c:pt>
                <c:pt idx="2303">
                  <c:v>43.677999999999997</c:v>
                </c:pt>
                <c:pt idx="2304">
                  <c:v>43.677999999999997</c:v>
                </c:pt>
                <c:pt idx="2305">
                  <c:v>43.295999999999999</c:v>
                </c:pt>
                <c:pt idx="2306">
                  <c:v>42.911000000000001</c:v>
                </c:pt>
                <c:pt idx="2307">
                  <c:v>43.103000000000002</c:v>
                </c:pt>
                <c:pt idx="2308">
                  <c:v>43.582999999999998</c:v>
                </c:pt>
                <c:pt idx="2309">
                  <c:v>42.816000000000003</c:v>
                </c:pt>
                <c:pt idx="2310">
                  <c:v>43.006999999999998</c:v>
                </c:pt>
                <c:pt idx="2311">
                  <c:v>43.198</c:v>
                </c:pt>
                <c:pt idx="2312">
                  <c:v>43.487000000000002</c:v>
                </c:pt>
                <c:pt idx="2313">
                  <c:v>43.295999999999999</c:v>
                </c:pt>
                <c:pt idx="2314">
                  <c:v>43.198</c:v>
                </c:pt>
                <c:pt idx="2315">
                  <c:v>43.295999999999999</c:v>
                </c:pt>
                <c:pt idx="2316">
                  <c:v>43.198</c:v>
                </c:pt>
                <c:pt idx="2317">
                  <c:v>43.295999999999999</c:v>
                </c:pt>
                <c:pt idx="2318">
                  <c:v>43.582999999999998</c:v>
                </c:pt>
                <c:pt idx="2319">
                  <c:v>43.487000000000002</c:v>
                </c:pt>
                <c:pt idx="2320">
                  <c:v>43.677999999999997</c:v>
                </c:pt>
                <c:pt idx="2321">
                  <c:v>43.006999999999998</c:v>
                </c:pt>
                <c:pt idx="2322">
                  <c:v>43.295999999999999</c:v>
                </c:pt>
                <c:pt idx="2323">
                  <c:v>43.487000000000002</c:v>
                </c:pt>
                <c:pt idx="2324">
                  <c:v>43.390999999999998</c:v>
                </c:pt>
                <c:pt idx="2325">
                  <c:v>43.295999999999999</c:v>
                </c:pt>
                <c:pt idx="2326">
                  <c:v>43.295999999999999</c:v>
                </c:pt>
                <c:pt idx="2327">
                  <c:v>42.911000000000001</c:v>
                </c:pt>
                <c:pt idx="2328">
                  <c:v>43.103000000000002</c:v>
                </c:pt>
                <c:pt idx="2329">
                  <c:v>43.295999999999999</c:v>
                </c:pt>
                <c:pt idx="2330">
                  <c:v>43.487000000000002</c:v>
                </c:pt>
                <c:pt idx="2331">
                  <c:v>43.390999999999998</c:v>
                </c:pt>
                <c:pt idx="2332">
                  <c:v>43.487000000000002</c:v>
                </c:pt>
                <c:pt idx="2333">
                  <c:v>43.295999999999999</c:v>
                </c:pt>
                <c:pt idx="2334">
                  <c:v>43.295999999999999</c:v>
                </c:pt>
                <c:pt idx="2335">
                  <c:v>43.582999999999998</c:v>
                </c:pt>
                <c:pt idx="2336">
                  <c:v>43.006999999999998</c:v>
                </c:pt>
                <c:pt idx="2337">
                  <c:v>43.582999999999998</c:v>
                </c:pt>
                <c:pt idx="2338">
                  <c:v>43.582999999999998</c:v>
                </c:pt>
                <c:pt idx="2339">
                  <c:v>42.816000000000003</c:v>
                </c:pt>
                <c:pt idx="2340">
                  <c:v>43.198</c:v>
                </c:pt>
                <c:pt idx="2341">
                  <c:v>43.006999999999998</c:v>
                </c:pt>
                <c:pt idx="2342">
                  <c:v>43.677999999999997</c:v>
                </c:pt>
                <c:pt idx="2343">
                  <c:v>43.295999999999999</c:v>
                </c:pt>
                <c:pt idx="2344">
                  <c:v>43.006999999999998</c:v>
                </c:pt>
                <c:pt idx="2345">
                  <c:v>43.295999999999999</c:v>
                </c:pt>
                <c:pt idx="2346">
                  <c:v>43.198</c:v>
                </c:pt>
                <c:pt idx="2347">
                  <c:v>42.911000000000001</c:v>
                </c:pt>
                <c:pt idx="2348">
                  <c:v>43.295999999999999</c:v>
                </c:pt>
                <c:pt idx="2349">
                  <c:v>43.776000000000003</c:v>
                </c:pt>
                <c:pt idx="2350">
                  <c:v>43.103000000000002</c:v>
                </c:pt>
                <c:pt idx="2351">
                  <c:v>43.103000000000002</c:v>
                </c:pt>
                <c:pt idx="2352">
                  <c:v>43.677999999999997</c:v>
                </c:pt>
                <c:pt idx="2353">
                  <c:v>43.198</c:v>
                </c:pt>
                <c:pt idx="2354">
                  <c:v>43.582999999999998</c:v>
                </c:pt>
                <c:pt idx="2355">
                  <c:v>43.487000000000002</c:v>
                </c:pt>
                <c:pt idx="2356">
                  <c:v>43.390999999999998</c:v>
                </c:pt>
                <c:pt idx="2357">
                  <c:v>43.390999999999998</c:v>
                </c:pt>
                <c:pt idx="2358">
                  <c:v>43.295999999999999</c:v>
                </c:pt>
                <c:pt idx="2359">
                  <c:v>43.582999999999998</c:v>
                </c:pt>
                <c:pt idx="2360">
                  <c:v>43.487000000000002</c:v>
                </c:pt>
                <c:pt idx="2361">
                  <c:v>43.582999999999998</c:v>
                </c:pt>
                <c:pt idx="2362">
                  <c:v>43.295999999999999</c:v>
                </c:pt>
                <c:pt idx="2363">
                  <c:v>43.582999999999998</c:v>
                </c:pt>
                <c:pt idx="2364">
                  <c:v>43.295999999999999</c:v>
                </c:pt>
                <c:pt idx="2365">
                  <c:v>43.295999999999999</c:v>
                </c:pt>
                <c:pt idx="2366">
                  <c:v>43.198</c:v>
                </c:pt>
                <c:pt idx="2367">
                  <c:v>43.198</c:v>
                </c:pt>
                <c:pt idx="2368">
                  <c:v>43.871000000000002</c:v>
                </c:pt>
                <c:pt idx="2369">
                  <c:v>43.677999999999997</c:v>
                </c:pt>
                <c:pt idx="2370">
                  <c:v>43.582999999999998</c:v>
                </c:pt>
                <c:pt idx="2371">
                  <c:v>43.390999999999998</c:v>
                </c:pt>
                <c:pt idx="2372">
                  <c:v>43.677999999999997</c:v>
                </c:pt>
                <c:pt idx="2373">
                  <c:v>43.103000000000002</c:v>
                </c:pt>
                <c:pt idx="2374">
                  <c:v>43.966999999999999</c:v>
                </c:pt>
                <c:pt idx="2375">
                  <c:v>43.677999999999997</c:v>
                </c:pt>
                <c:pt idx="2376">
                  <c:v>43.776000000000003</c:v>
                </c:pt>
                <c:pt idx="2377">
                  <c:v>43.198</c:v>
                </c:pt>
                <c:pt idx="2378">
                  <c:v>43.103000000000002</c:v>
                </c:pt>
                <c:pt idx="2379">
                  <c:v>43.677999999999997</c:v>
                </c:pt>
                <c:pt idx="2380">
                  <c:v>43.295999999999999</c:v>
                </c:pt>
                <c:pt idx="2381">
                  <c:v>43.006999999999998</c:v>
                </c:pt>
                <c:pt idx="2382">
                  <c:v>43.776000000000003</c:v>
                </c:pt>
                <c:pt idx="2383">
                  <c:v>43.198</c:v>
                </c:pt>
                <c:pt idx="2384">
                  <c:v>43.295999999999999</c:v>
                </c:pt>
                <c:pt idx="2385">
                  <c:v>43.103000000000002</c:v>
                </c:pt>
                <c:pt idx="2386">
                  <c:v>43.295999999999999</c:v>
                </c:pt>
                <c:pt idx="2387">
                  <c:v>43.198</c:v>
                </c:pt>
                <c:pt idx="2388">
                  <c:v>43.582999999999998</c:v>
                </c:pt>
                <c:pt idx="2389">
                  <c:v>43.582999999999998</c:v>
                </c:pt>
                <c:pt idx="2390">
                  <c:v>43.487000000000002</c:v>
                </c:pt>
                <c:pt idx="2391">
                  <c:v>43.198</c:v>
                </c:pt>
                <c:pt idx="2392">
                  <c:v>43.487000000000002</c:v>
                </c:pt>
                <c:pt idx="2393">
                  <c:v>43.198</c:v>
                </c:pt>
                <c:pt idx="2394">
                  <c:v>43.198</c:v>
                </c:pt>
                <c:pt idx="2395">
                  <c:v>43.390999999999998</c:v>
                </c:pt>
                <c:pt idx="2396">
                  <c:v>43.487000000000002</c:v>
                </c:pt>
                <c:pt idx="2397">
                  <c:v>43.677999999999997</c:v>
                </c:pt>
                <c:pt idx="2398">
                  <c:v>43.677999999999997</c:v>
                </c:pt>
                <c:pt idx="2399">
                  <c:v>43.198</c:v>
                </c:pt>
                <c:pt idx="2400">
                  <c:v>43.487000000000002</c:v>
                </c:pt>
                <c:pt idx="2401">
                  <c:v>43.295999999999999</c:v>
                </c:pt>
                <c:pt idx="2402">
                  <c:v>43.198</c:v>
                </c:pt>
                <c:pt idx="2403">
                  <c:v>43.198</c:v>
                </c:pt>
                <c:pt idx="2404">
                  <c:v>43.295999999999999</c:v>
                </c:pt>
                <c:pt idx="2405">
                  <c:v>43.677999999999997</c:v>
                </c:pt>
                <c:pt idx="2406">
                  <c:v>43.295999999999999</c:v>
                </c:pt>
                <c:pt idx="2407">
                  <c:v>43.582999999999998</c:v>
                </c:pt>
                <c:pt idx="2408">
                  <c:v>43.677999999999997</c:v>
                </c:pt>
                <c:pt idx="2409">
                  <c:v>43.390999999999998</c:v>
                </c:pt>
                <c:pt idx="2410">
                  <c:v>43.295999999999999</c:v>
                </c:pt>
                <c:pt idx="2411">
                  <c:v>43.966999999999999</c:v>
                </c:pt>
                <c:pt idx="2412">
                  <c:v>44.061999999999998</c:v>
                </c:pt>
                <c:pt idx="2413">
                  <c:v>42.911000000000001</c:v>
                </c:pt>
                <c:pt idx="2414">
                  <c:v>43.295999999999999</c:v>
                </c:pt>
                <c:pt idx="2415">
                  <c:v>43.390999999999998</c:v>
                </c:pt>
                <c:pt idx="2416">
                  <c:v>43.487000000000002</c:v>
                </c:pt>
                <c:pt idx="2417">
                  <c:v>43.776000000000003</c:v>
                </c:pt>
                <c:pt idx="2418">
                  <c:v>43.582999999999998</c:v>
                </c:pt>
                <c:pt idx="2419">
                  <c:v>43.871000000000002</c:v>
                </c:pt>
                <c:pt idx="2420">
                  <c:v>43.390999999999998</c:v>
                </c:pt>
                <c:pt idx="2421">
                  <c:v>43.295999999999999</c:v>
                </c:pt>
                <c:pt idx="2422">
                  <c:v>43.487000000000002</c:v>
                </c:pt>
                <c:pt idx="2423">
                  <c:v>43.776000000000003</c:v>
                </c:pt>
                <c:pt idx="2424">
                  <c:v>43.582999999999998</c:v>
                </c:pt>
                <c:pt idx="2425">
                  <c:v>43.487000000000002</c:v>
                </c:pt>
                <c:pt idx="2426">
                  <c:v>44.256</c:v>
                </c:pt>
                <c:pt idx="2427">
                  <c:v>43.582999999999998</c:v>
                </c:pt>
                <c:pt idx="2428">
                  <c:v>43.487000000000002</c:v>
                </c:pt>
                <c:pt idx="2429">
                  <c:v>43.103000000000002</c:v>
                </c:pt>
                <c:pt idx="2430">
                  <c:v>43.198</c:v>
                </c:pt>
                <c:pt idx="2431">
                  <c:v>43.103000000000002</c:v>
                </c:pt>
                <c:pt idx="2432">
                  <c:v>43.390999999999998</c:v>
                </c:pt>
                <c:pt idx="2433">
                  <c:v>43.487000000000002</c:v>
                </c:pt>
                <c:pt idx="2434">
                  <c:v>43.487000000000002</c:v>
                </c:pt>
                <c:pt idx="2435">
                  <c:v>43.295999999999999</c:v>
                </c:pt>
                <c:pt idx="2436">
                  <c:v>43.582999999999998</c:v>
                </c:pt>
                <c:pt idx="2437">
                  <c:v>43.390999999999998</c:v>
                </c:pt>
                <c:pt idx="2438">
                  <c:v>43.390999999999998</c:v>
                </c:pt>
                <c:pt idx="2439">
                  <c:v>43.390999999999998</c:v>
                </c:pt>
                <c:pt idx="2440">
                  <c:v>43.966999999999999</c:v>
                </c:pt>
                <c:pt idx="2441">
                  <c:v>43.103000000000002</c:v>
                </c:pt>
                <c:pt idx="2442">
                  <c:v>43.582999999999998</c:v>
                </c:pt>
                <c:pt idx="2443">
                  <c:v>43.582999999999998</c:v>
                </c:pt>
                <c:pt idx="2444">
                  <c:v>43.487000000000002</c:v>
                </c:pt>
                <c:pt idx="2445">
                  <c:v>43.776000000000003</c:v>
                </c:pt>
                <c:pt idx="2446">
                  <c:v>43.582999999999998</c:v>
                </c:pt>
                <c:pt idx="2447">
                  <c:v>43.677999999999997</c:v>
                </c:pt>
                <c:pt idx="2448">
                  <c:v>43.582999999999998</c:v>
                </c:pt>
                <c:pt idx="2449">
                  <c:v>43.582999999999998</c:v>
                </c:pt>
                <c:pt idx="2450">
                  <c:v>43.487000000000002</c:v>
                </c:pt>
                <c:pt idx="2451">
                  <c:v>43.582999999999998</c:v>
                </c:pt>
                <c:pt idx="2452">
                  <c:v>43.390999999999998</c:v>
                </c:pt>
                <c:pt idx="2453">
                  <c:v>43.677999999999997</c:v>
                </c:pt>
                <c:pt idx="2454">
                  <c:v>43.871000000000002</c:v>
                </c:pt>
                <c:pt idx="2455">
                  <c:v>43.390999999999998</c:v>
                </c:pt>
                <c:pt idx="2456">
                  <c:v>43.776000000000003</c:v>
                </c:pt>
                <c:pt idx="2457">
                  <c:v>43.390999999999998</c:v>
                </c:pt>
                <c:pt idx="2458">
                  <c:v>43.677999999999997</c:v>
                </c:pt>
                <c:pt idx="2459">
                  <c:v>43.390999999999998</c:v>
                </c:pt>
                <c:pt idx="2460">
                  <c:v>43.677999999999997</c:v>
                </c:pt>
                <c:pt idx="2461">
                  <c:v>43.966999999999999</c:v>
                </c:pt>
                <c:pt idx="2462">
                  <c:v>43.677999999999997</c:v>
                </c:pt>
                <c:pt idx="2463">
                  <c:v>43.390999999999998</c:v>
                </c:pt>
                <c:pt idx="2464">
                  <c:v>43.776000000000003</c:v>
                </c:pt>
                <c:pt idx="2465">
                  <c:v>43.198</c:v>
                </c:pt>
                <c:pt idx="2466">
                  <c:v>43.198</c:v>
                </c:pt>
                <c:pt idx="2467">
                  <c:v>43.677999999999997</c:v>
                </c:pt>
                <c:pt idx="2468">
                  <c:v>44.061999999999998</c:v>
                </c:pt>
                <c:pt idx="2469">
                  <c:v>43.198</c:v>
                </c:pt>
                <c:pt idx="2470">
                  <c:v>43.871000000000002</c:v>
                </c:pt>
                <c:pt idx="2471">
                  <c:v>43.871000000000002</c:v>
                </c:pt>
                <c:pt idx="2472">
                  <c:v>43.582999999999998</c:v>
                </c:pt>
                <c:pt idx="2473">
                  <c:v>43.582999999999998</c:v>
                </c:pt>
                <c:pt idx="2474">
                  <c:v>43.487000000000002</c:v>
                </c:pt>
                <c:pt idx="2475">
                  <c:v>43.677999999999997</c:v>
                </c:pt>
                <c:pt idx="2476">
                  <c:v>43.966999999999999</c:v>
                </c:pt>
                <c:pt idx="2477">
                  <c:v>43.966999999999999</c:v>
                </c:pt>
                <c:pt idx="2478">
                  <c:v>43.871000000000002</c:v>
                </c:pt>
                <c:pt idx="2479">
                  <c:v>43.487000000000002</c:v>
                </c:pt>
                <c:pt idx="2480">
                  <c:v>43.582999999999998</c:v>
                </c:pt>
                <c:pt idx="2481">
                  <c:v>43.677999999999997</c:v>
                </c:pt>
                <c:pt idx="2482">
                  <c:v>43.776000000000003</c:v>
                </c:pt>
                <c:pt idx="2483">
                  <c:v>43.776000000000003</c:v>
                </c:pt>
                <c:pt idx="2484">
                  <c:v>43.776000000000003</c:v>
                </c:pt>
                <c:pt idx="2485">
                  <c:v>43.295999999999999</c:v>
                </c:pt>
                <c:pt idx="2486">
                  <c:v>43.487000000000002</c:v>
                </c:pt>
                <c:pt idx="2487">
                  <c:v>44.061999999999998</c:v>
                </c:pt>
                <c:pt idx="2488">
                  <c:v>43.582999999999998</c:v>
                </c:pt>
                <c:pt idx="2489">
                  <c:v>43.582999999999998</c:v>
                </c:pt>
                <c:pt idx="2490">
                  <c:v>43.871000000000002</c:v>
                </c:pt>
                <c:pt idx="2491">
                  <c:v>43.390999999999998</c:v>
                </c:pt>
                <c:pt idx="2492">
                  <c:v>43.677999999999997</c:v>
                </c:pt>
                <c:pt idx="2493">
                  <c:v>43.390999999999998</c:v>
                </c:pt>
                <c:pt idx="2494">
                  <c:v>43.487000000000002</c:v>
                </c:pt>
                <c:pt idx="2495">
                  <c:v>43.871000000000002</c:v>
                </c:pt>
                <c:pt idx="2496">
                  <c:v>43.487000000000002</c:v>
                </c:pt>
                <c:pt idx="2497">
                  <c:v>43.677999999999997</c:v>
                </c:pt>
                <c:pt idx="2498">
                  <c:v>43.487000000000002</c:v>
                </c:pt>
                <c:pt idx="2499">
                  <c:v>43.677999999999997</c:v>
                </c:pt>
                <c:pt idx="2500">
                  <c:v>43.871000000000002</c:v>
                </c:pt>
                <c:pt idx="2501">
                  <c:v>43.871000000000002</c:v>
                </c:pt>
                <c:pt idx="2502">
                  <c:v>43.390999999999998</c:v>
                </c:pt>
                <c:pt idx="2503">
                  <c:v>43.677999999999997</c:v>
                </c:pt>
                <c:pt idx="2504">
                  <c:v>43.677999999999997</c:v>
                </c:pt>
                <c:pt idx="2505">
                  <c:v>43.582999999999998</c:v>
                </c:pt>
                <c:pt idx="2506">
                  <c:v>43.487000000000002</c:v>
                </c:pt>
                <c:pt idx="2507">
                  <c:v>43.871000000000002</c:v>
                </c:pt>
                <c:pt idx="2508">
                  <c:v>43.966999999999999</c:v>
                </c:pt>
                <c:pt idx="2509">
                  <c:v>43.487000000000002</c:v>
                </c:pt>
                <c:pt idx="2510">
                  <c:v>43.871000000000002</c:v>
                </c:pt>
                <c:pt idx="2511">
                  <c:v>43.871000000000002</c:v>
                </c:pt>
                <c:pt idx="2512">
                  <c:v>43.871000000000002</c:v>
                </c:pt>
                <c:pt idx="2513">
                  <c:v>43.677999999999997</c:v>
                </c:pt>
                <c:pt idx="2514">
                  <c:v>43.677999999999997</c:v>
                </c:pt>
                <c:pt idx="2515">
                  <c:v>43.487000000000002</c:v>
                </c:pt>
                <c:pt idx="2516">
                  <c:v>43.776000000000003</c:v>
                </c:pt>
                <c:pt idx="2517">
                  <c:v>43.966999999999999</c:v>
                </c:pt>
                <c:pt idx="2518">
                  <c:v>43.390999999999998</c:v>
                </c:pt>
                <c:pt idx="2519">
                  <c:v>43.295999999999999</c:v>
                </c:pt>
                <c:pt idx="2520">
                  <c:v>43.871000000000002</c:v>
                </c:pt>
                <c:pt idx="2521">
                  <c:v>43.871000000000002</c:v>
                </c:pt>
                <c:pt idx="2522">
                  <c:v>43.871000000000002</c:v>
                </c:pt>
                <c:pt idx="2523">
                  <c:v>43.677999999999997</c:v>
                </c:pt>
                <c:pt idx="2524">
                  <c:v>43.487000000000002</c:v>
                </c:pt>
                <c:pt idx="2525">
                  <c:v>43.871000000000002</c:v>
                </c:pt>
                <c:pt idx="2526">
                  <c:v>44.061999999999998</c:v>
                </c:pt>
                <c:pt idx="2527">
                  <c:v>44.158000000000001</c:v>
                </c:pt>
                <c:pt idx="2528">
                  <c:v>43.871000000000002</c:v>
                </c:pt>
                <c:pt idx="2529">
                  <c:v>43.677999999999997</c:v>
                </c:pt>
                <c:pt idx="2530">
                  <c:v>43.871000000000002</c:v>
                </c:pt>
                <c:pt idx="2531">
                  <c:v>43.582999999999998</c:v>
                </c:pt>
                <c:pt idx="2532">
                  <c:v>43.487000000000002</c:v>
                </c:pt>
                <c:pt idx="2533">
                  <c:v>43.487000000000002</c:v>
                </c:pt>
                <c:pt idx="2534">
                  <c:v>43.871000000000002</c:v>
                </c:pt>
                <c:pt idx="2535">
                  <c:v>44.061999999999998</c:v>
                </c:pt>
                <c:pt idx="2536">
                  <c:v>43.582999999999998</c:v>
                </c:pt>
                <c:pt idx="2537">
                  <c:v>43.776000000000003</c:v>
                </c:pt>
                <c:pt idx="2538">
                  <c:v>43.776000000000003</c:v>
                </c:pt>
                <c:pt idx="2539">
                  <c:v>44.061999999999998</c:v>
                </c:pt>
                <c:pt idx="2540">
                  <c:v>43.776000000000003</c:v>
                </c:pt>
                <c:pt idx="2541">
                  <c:v>43.390999999999998</c:v>
                </c:pt>
                <c:pt idx="2542">
                  <c:v>43.677999999999997</c:v>
                </c:pt>
                <c:pt idx="2543">
                  <c:v>43.390999999999998</c:v>
                </c:pt>
                <c:pt idx="2544">
                  <c:v>43.776000000000003</c:v>
                </c:pt>
                <c:pt idx="2545">
                  <c:v>43.966999999999999</c:v>
                </c:pt>
                <c:pt idx="2546">
                  <c:v>43.677999999999997</c:v>
                </c:pt>
                <c:pt idx="2547">
                  <c:v>43.966999999999999</c:v>
                </c:pt>
                <c:pt idx="2548">
                  <c:v>43.871000000000002</c:v>
                </c:pt>
                <c:pt idx="2549">
                  <c:v>43.677999999999997</c:v>
                </c:pt>
                <c:pt idx="2550">
                  <c:v>43.871000000000002</c:v>
                </c:pt>
                <c:pt idx="2551">
                  <c:v>43.677999999999997</c:v>
                </c:pt>
                <c:pt idx="2552">
                  <c:v>44.158000000000001</c:v>
                </c:pt>
                <c:pt idx="2553">
                  <c:v>43.582999999999998</c:v>
                </c:pt>
                <c:pt idx="2554">
                  <c:v>44.158000000000001</c:v>
                </c:pt>
                <c:pt idx="2555">
                  <c:v>43.677999999999997</c:v>
                </c:pt>
                <c:pt idx="2556">
                  <c:v>43.966999999999999</c:v>
                </c:pt>
                <c:pt idx="2557">
                  <c:v>43.776000000000003</c:v>
                </c:pt>
                <c:pt idx="2558">
                  <c:v>43.677999999999997</c:v>
                </c:pt>
                <c:pt idx="2559">
                  <c:v>43.871000000000002</c:v>
                </c:pt>
                <c:pt idx="2560">
                  <c:v>43.677999999999997</c:v>
                </c:pt>
                <c:pt idx="2561">
                  <c:v>43.871000000000002</c:v>
                </c:pt>
                <c:pt idx="2562">
                  <c:v>43.871000000000002</c:v>
                </c:pt>
                <c:pt idx="2563">
                  <c:v>43.390999999999998</c:v>
                </c:pt>
                <c:pt idx="2564">
                  <c:v>43.677999999999997</c:v>
                </c:pt>
                <c:pt idx="2565">
                  <c:v>43.582999999999998</c:v>
                </c:pt>
                <c:pt idx="2566">
                  <c:v>43.966999999999999</c:v>
                </c:pt>
                <c:pt idx="2567">
                  <c:v>43.677999999999997</c:v>
                </c:pt>
                <c:pt idx="2568">
                  <c:v>43.582999999999998</c:v>
                </c:pt>
                <c:pt idx="2569">
                  <c:v>43.677999999999997</c:v>
                </c:pt>
                <c:pt idx="2570">
                  <c:v>43.677999999999997</c:v>
                </c:pt>
                <c:pt idx="2571">
                  <c:v>43.966999999999999</c:v>
                </c:pt>
                <c:pt idx="2572">
                  <c:v>43.677999999999997</c:v>
                </c:pt>
                <c:pt idx="2573">
                  <c:v>43.871000000000002</c:v>
                </c:pt>
                <c:pt idx="2574">
                  <c:v>43.871000000000002</c:v>
                </c:pt>
                <c:pt idx="2575">
                  <c:v>43.776000000000003</c:v>
                </c:pt>
                <c:pt idx="2576">
                  <c:v>43.966999999999999</c:v>
                </c:pt>
                <c:pt idx="2577">
                  <c:v>44.256</c:v>
                </c:pt>
                <c:pt idx="2578">
                  <c:v>43.776000000000003</c:v>
                </c:pt>
                <c:pt idx="2579">
                  <c:v>43.487000000000002</c:v>
                </c:pt>
                <c:pt idx="2580">
                  <c:v>43.776000000000003</c:v>
                </c:pt>
                <c:pt idx="2581">
                  <c:v>44.061999999999998</c:v>
                </c:pt>
                <c:pt idx="2582">
                  <c:v>44.542000000000002</c:v>
                </c:pt>
                <c:pt idx="2583">
                  <c:v>43.677999999999997</c:v>
                </c:pt>
                <c:pt idx="2584">
                  <c:v>43.677999999999997</c:v>
                </c:pt>
                <c:pt idx="2585">
                  <c:v>43.776000000000003</c:v>
                </c:pt>
                <c:pt idx="2586">
                  <c:v>43.871000000000002</c:v>
                </c:pt>
                <c:pt idx="2587">
                  <c:v>43.487000000000002</c:v>
                </c:pt>
                <c:pt idx="2588">
                  <c:v>43.487000000000002</c:v>
                </c:pt>
                <c:pt idx="2589">
                  <c:v>43.677999999999997</c:v>
                </c:pt>
                <c:pt idx="2590">
                  <c:v>43.582999999999998</c:v>
                </c:pt>
                <c:pt idx="2591">
                  <c:v>43.871000000000002</c:v>
                </c:pt>
                <c:pt idx="2592">
                  <c:v>43.966999999999999</c:v>
                </c:pt>
                <c:pt idx="2593">
                  <c:v>43.776000000000003</c:v>
                </c:pt>
                <c:pt idx="2594">
                  <c:v>43.871000000000002</c:v>
                </c:pt>
                <c:pt idx="2595">
                  <c:v>44.061999999999998</c:v>
                </c:pt>
                <c:pt idx="2596">
                  <c:v>43.677999999999997</c:v>
                </c:pt>
                <c:pt idx="2597">
                  <c:v>43.871000000000002</c:v>
                </c:pt>
                <c:pt idx="2598">
                  <c:v>44.158000000000001</c:v>
                </c:pt>
                <c:pt idx="2599">
                  <c:v>43.677999999999997</c:v>
                </c:pt>
                <c:pt idx="2600">
                  <c:v>43.776000000000003</c:v>
                </c:pt>
                <c:pt idx="2601">
                  <c:v>43.776000000000003</c:v>
                </c:pt>
                <c:pt idx="2602">
                  <c:v>44.061999999999998</c:v>
                </c:pt>
                <c:pt idx="2603">
                  <c:v>43.776000000000003</c:v>
                </c:pt>
                <c:pt idx="2604">
                  <c:v>43.871000000000002</c:v>
                </c:pt>
                <c:pt idx="2605">
                  <c:v>43.966999999999999</c:v>
                </c:pt>
                <c:pt idx="2606">
                  <c:v>44.158000000000001</c:v>
                </c:pt>
                <c:pt idx="2607">
                  <c:v>43.295999999999999</c:v>
                </c:pt>
                <c:pt idx="2608">
                  <c:v>43.966999999999999</c:v>
                </c:pt>
                <c:pt idx="2609">
                  <c:v>44.158000000000001</c:v>
                </c:pt>
                <c:pt idx="2610">
                  <c:v>43.776000000000003</c:v>
                </c:pt>
                <c:pt idx="2611">
                  <c:v>44.158000000000001</c:v>
                </c:pt>
                <c:pt idx="2612">
                  <c:v>43.487000000000002</c:v>
                </c:pt>
                <c:pt idx="2613">
                  <c:v>43.871000000000002</c:v>
                </c:pt>
                <c:pt idx="2614">
                  <c:v>43.677999999999997</c:v>
                </c:pt>
                <c:pt idx="2615">
                  <c:v>43.966999999999999</c:v>
                </c:pt>
                <c:pt idx="2616">
                  <c:v>44.061999999999998</c:v>
                </c:pt>
                <c:pt idx="2617">
                  <c:v>44.061999999999998</c:v>
                </c:pt>
                <c:pt idx="2618">
                  <c:v>43.295999999999999</c:v>
                </c:pt>
                <c:pt idx="2619">
                  <c:v>43.776000000000003</c:v>
                </c:pt>
                <c:pt idx="2620">
                  <c:v>44.061999999999998</c:v>
                </c:pt>
                <c:pt idx="2621">
                  <c:v>44.350999999999999</c:v>
                </c:pt>
                <c:pt idx="2622">
                  <c:v>43.966999999999999</c:v>
                </c:pt>
                <c:pt idx="2623">
                  <c:v>43.966999999999999</c:v>
                </c:pt>
                <c:pt idx="2624">
                  <c:v>43.966999999999999</c:v>
                </c:pt>
                <c:pt idx="2625">
                  <c:v>43.966999999999999</c:v>
                </c:pt>
                <c:pt idx="2626">
                  <c:v>44.158000000000001</c:v>
                </c:pt>
                <c:pt idx="2627">
                  <c:v>43.776000000000003</c:v>
                </c:pt>
                <c:pt idx="2628">
                  <c:v>44.256</c:v>
                </c:pt>
                <c:pt idx="2629">
                  <c:v>43.677999999999997</c:v>
                </c:pt>
                <c:pt idx="2630">
                  <c:v>44.061999999999998</c:v>
                </c:pt>
                <c:pt idx="2631">
                  <c:v>43.966999999999999</c:v>
                </c:pt>
                <c:pt idx="2632">
                  <c:v>43.776000000000003</c:v>
                </c:pt>
                <c:pt idx="2633">
                  <c:v>43.582999999999998</c:v>
                </c:pt>
                <c:pt idx="2634">
                  <c:v>43.966999999999999</c:v>
                </c:pt>
                <c:pt idx="2635">
                  <c:v>44.061999999999998</c:v>
                </c:pt>
                <c:pt idx="2636">
                  <c:v>43.966999999999999</c:v>
                </c:pt>
                <c:pt idx="2637">
                  <c:v>44.158000000000001</c:v>
                </c:pt>
                <c:pt idx="2638">
                  <c:v>43.677999999999997</c:v>
                </c:pt>
                <c:pt idx="2639">
                  <c:v>44.158000000000001</c:v>
                </c:pt>
                <c:pt idx="2640">
                  <c:v>44.350999999999999</c:v>
                </c:pt>
                <c:pt idx="2641">
                  <c:v>44.061999999999998</c:v>
                </c:pt>
                <c:pt idx="2642">
                  <c:v>43.487000000000002</c:v>
                </c:pt>
                <c:pt idx="2643">
                  <c:v>44.061999999999998</c:v>
                </c:pt>
                <c:pt idx="2644">
                  <c:v>44.637999999999998</c:v>
                </c:pt>
                <c:pt idx="2645">
                  <c:v>43.871000000000002</c:v>
                </c:pt>
                <c:pt idx="2646">
                  <c:v>43.871000000000002</c:v>
                </c:pt>
                <c:pt idx="2647">
                  <c:v>44.256</c:v>
                </c:pt>
                <c:pt idx="2648">
                  <c:v>43.677999999999997</c:v>
                </c:pt>
                <c:pt idx="2649">
                  <c:v>43.487000000000002</c:v>
                </c:pt>
                <c:pt idx="2650">
                  <c:v>44.061999999999998</c:v>
                </c:pt>
                <c:pt idx="2651">
                  <c:v>43.966999999999999</c:v>
                </c:pt>
                <c:pt idx="2652">
                  <c:v>43.776000000000003</c:v>
                </c:pt>
                <c:pt idx="2653">
                  <c:v>44.158000000000001</c:v>
                </c:pt>
                <c:pt idx="2654">
                  <c:v>44.350999999999999</c:v>
                </c:pt>
                <c:pt idx="2655">
                  <c:v>44.061999999999998</c:v>
                </c:pt>
                <c:pt idx="2656">
                  <c:v>44.158000000000001</c:v>
                </c:pt>
                <c:pt idx="2657">
                  <c:v>44.256</c:v>
                </c:pt>
                <c:pt idx="2658">
                  <c:v>43.966999999999999</c:v>
                </c:pt>
                <c:pt idx="2659">
                  <c:v>43.776000000000003</c:v>
                </c:pt>
                <c:pt idx="2660">
                  <c:v>44.158000000000001</c:v>
                </c:pt>
                <c:pt idx="2661">
                  <c:v>43.871000000000002</c:v>
                </c:pt>
                <c:pt idx="2662">
                  <c:v>43.871000000000002</c:v>
                </c:pt>
                <c:pt idx="2663">
                  <c:v>43.966999999999999</c:v>
                </c:pt>
                <c:pt idx="2664">
                  <c:v>43.871000000000002</c:v>
                </c:pt>
                <c:pt idx="2665">
                  <c:v>44.061999999999998</c:v>
                </c:pt>
                <c:pt idx="2666">
                  <c:v>43.966999999999999</c:v>
                </c:pt>
                <c:pt idx="2667">
                  <c:v>44.350999999999999</c:v>
                </c:pt>
                <c:pt idx="2668">
                  <c:v>43.966999999999999</c:v>
                </c:pt>
                <c:pt idx="2669">
                  <c:v>43.966999999999999</c:v>
                </c:pt>
                <c:pt idx="2670">
                  <c:v>44.061999999999998</c:v>
                </c:pt>
                <c:pt idx="2671">
                  <c:v>44.061999999999998</c:v>
                </c:pt>
                <c:pt idx="2672">
                  <c:v>44.158000000000001</c:v>
                </c:pt>
                <c:pt idx="2673">
                  <c:v>43.677999999999997</c:v>
                </c:pt>
                <c:pt idx="2674">
                  <c:v>44.061999999999998</c:v>
                </c:pt>
                <c:pt idx="2675">
                  <c:v>44.158000000000001</c:v>
                </c:pt>
                <c:pt idx="2676">
                  <c:v>44.061999999999998</c:v>
                </c:pt>
                <c:pt idx="2677">
                  <c:v>44.256</c:v>
                </c:pt>
                <c:pt idx="2678">
                  <c:v>43.871000000000002</c:v>
                </c:pt>
                <c:pt idx="2679">
                  <c:v>44.350999999999999</c:v>
                </c:pt>
                <c:pt idx="2680">
                  <c:v>44.158000000000001</c:v>
                </c:pt>
                <c:pt idx="2681">
                  <c:v>44.061999999999998</c:v>
                </c:pt>
                <c:pt idx="2682">
                  <c:v>44.256</c:v>
                </c:pt>
                <c:pt idx="2683">
                  <c:v>43.776000000000003</c:v>
                </c:pt>
                <c:pt idx="2684">
                  <c:v>44.061999999999998</c:v>
                </c:pt>
                <c:pt idx="2685">
                  <c:v>44.061999999999998</c:v>
                </c:pt>
                <c:pt idx="2686">
                  <c:v>44.350999999999999</c:v>
                </c:pt>
                <c:pt idx="2687">
                  <c:v>43.677999999999997</c:v>
                </c:pt>
                <c:pt idx="2688">
                  <c:v>44.350999999999999</c:v>
                </c:pt>
                <c:pt idx="2689">
                  <c:v>44.256</c:v>
                </c:pt>
                <c:pt idx="2690">
                  <c:v>43.966999999999999</c:v>
                </c:pt>
                <c:pt idx="2691">
                  <c:v>43.966999999999999</c:v>
                </c:pt>
                <c:pt idx="2692">
                  <c:v>44.061999999999998</c:v>
                </c:pt>
                <c:pt idx="2693">
                  <c:v>43.871000000000002</c:v>
                </c:pt>
                <c:pt idx="2694">
                  <c:v>43.966999999999999</c:v>
                </c:pt>
                <c:pt idx="2695">
                  <c:v>44.158000000000001</c:v>
                </c:pt>
                <c:pt idx="2696">
                  <c:v>44.158000000000001</c:v>
                </c:pt>
                <c:pt idx="2697">
                  <c:v>44.061999999999998</c:v>
                </c:pt>
                <c:pt idx="2698">
                  <c:v>44.350999999999999</c:v>
                </c:pt>
                <c:pt idx="2699">
                  <c:v>43.871000000000002</c:v>
                </c:pt>
                <c:pt idx="2700">
                  <c:v>44.256</c:v>
                </c:pt>
                <c:pt idx="2701">
                  <c:v>44.061999999999998</c:v>
                </c:pt>
                <c:pt idx="2702">
                  <c:v>43.966999999999999</c:v>
                </c:pt>
                <c:pt idx="2703">
                  <c:v>44.158000000000001</c:v>
                </c:pt>
                <c:pt idx="2704">
                  <c:v>44.447000000000003</c:v>
                </c:pt>
                <c:pt idx="2705">
                  <c:v>44.256</c:v>
                </c:pt>
                <c:pt idx="2706">
                  <c:v>44.061999999999998</c:v>
                </c:pt>
                <c:pt idx="2707">
                  <c:v>43.776000000000003</c:v>
                </c:pt>
                <c:pt idx="2708">
                  <c:v>44.158000000000001</c:v>
                </c:pt>
                <c:pt idx="2709">
                  <c:v>44.158000000000001</c:v>
                </c:pt>
                <c:pt idx="2710">
                  <c:v>43.871000000000002</c:v>
                </c:pt>
                <c:pt idx="2711">
                  <c:v>44.158000000000001</c:v>
                </c:pt>
                <c:pt idx="2712">
                  <c:v>44.158000000000001</c:v>
                </c:pt>
                <c:pt idx="2713">
                  <c:v>44.061999999999998</c:v>
                </c:pt>
                <c:pt idx="2714">
                  <c:v>43.776000000000003</c:v>
                </c:pt>
                <c:pt idx="2715">
                  <c:v>43.871000000000002</c:v>
                </c:pt>
                <c:pt idx="2716">
                  <c:v>44.158000000000001</c:v>
                </c:pt>
                <c:pt idx="2717">
                  <c:v>44.350999999999999</c:v>
                </c:pt>
                <c:pt idx="2718">
                  <c:v>44.061999999999998</c:v>
                </c:pt>
                <c:pt idx="2719">
                  <c:v>43.966999999999999</c:v>
                </c:pt>
                <c:pt idx="2720">
                  <c:v>44.256</c:v>
                </c:pt>
                <c:pt idx="2721">
                  <c:v>44.061999999999998</c:v>
                </c:pt>
                <c:pt idx="2722">
                  <c:v>44.061999999999998</c:v>
                </c:pt>
                <c:pt idx="2723">
                  <c:v>43.871000000000002</c:v>
                </c:pt>
                <c:pt idx="2724">
                  <c:v>44.061999999999998</c:v>
                </c:pt>
                <c:pt idx="2725">
                  <c:v>43.871000000000002</c:v>
                </c:pt>
                <c:pt idx="2726">
                  <c:v>44.256</c:v>
                </c:pt>
                <c:pt idx="2727">
                  <c:v>44.256</c:v>
                </c:pt>
                <c:pt idx="2728">
                  <c:v>44.158000000000001</c:v>
                </c:pt>
                <c:pt idx="2729">
                  <c:v>43.776000000000003</c:v>
                </c:pt>
                <c:pt idx="2730">
                  <c:v>44.061999999999998</c:v>
                </c:pt>
                <c:pt idx="2731">
                  <c:v>44.061999999999998</c:v>
                </c:pt>
                <c:pt idx="2732">
                  <c:v>44.256</c:v>
                </c:pt>
                <c:pt idx="2733">
                  <c:v>44.256</c:v>
                </c:pt>
                <c:pt idx="2734">
                  <c:v>44.256</c:v>
                </c:pt>
                <c:pt idx="2735">
                  <c:v>43.871000000000002</c:v>
                </c:pt>
                <c:pt idx="2736">
                  <c:v>44.350999999999999</c:v>
                </c:pt>
                <c:pt idx="2737">
                  <c:v>44.350999999999999</c:v>
                </c:pt>
                <c:pt idx="2738">
                  <c:v>44.350999999999999</c:v>
                </c:pt>
                <c:pt idx="2739">
                  <c:v>44.447000000000003</c:v>
                </c:pt>
                <c:pt idx="2740">
                  <c:v>44.447000000000003</c:v>
                </c:pt>
                <c:pt idx="2741">
                  <c:v>43.776000000000003</c:v>
                </c:pt>
                <c:pt idx="2742">
                  <c:v>43.871000000000002</c:v>
                </c:pt>
                <c:pt idx="2743">
                  <c:v>44.158000000000001</c:v>
                </c:pt>
                <c:pt idx="2744">
                  <c:v>44.447000000000003</c:v>
                </c:pt>
                <c:pt idx="2745">
                  <c:v>44.350999999999999</c:v>
                </c:pt>
                <c:pt idx="2746">
                  <c:v>44.542000000000002</c:v>
                </c:pt>
                <c:pt idx="2747">
                  <c:v>44.256</c:v>
                </c:pt>
                <c:pt idx="2748">
                  <c:v>44.061999999999998</c:v>
                </c:pt>
                <c:pt idx="2749">
                  <c:v>44.447000000000003</c:v>
                </c:pt>
                <c:pt idx="2750">
                  <c:v>44.061999999999998</c:v>
                </c:pt>
                <c:pt idx="2751">
                  <c:v>44.061999999999998</c:v>
                </c:pt>
                <c:pt idx="2752">
                  <c:v>44.350999999999999</c:v>
                </c:pt>
                <c:pt idx="2753">
                  <c:v>44.447000000000003</c:v>
                </c:pt>
                <c:pt idx="2754">
                  <c:v>44.256</c:v>
                </c:pt>
                <c:pt idx="2755">
                  <c:v>43.871000000000002</c:v>
                </c:pt>
                <c:pt idx="2756">
                  <c:v>44.350999999999999</c:v>
                </c:pt>
                <c:pt idx="2757">
                  <c:v>43.966999999999999</c:v>
                </c:pt>
                <c:pt idx="2758">
                  <c:v>44.256</c:v>
                </c:pt>
                <c:pt idx="2759">
                  <c:v>43.871000000000002</c:v>
                </c:pt>
                <c:pt idx="2760">
                  <c:v>44.061999999999998</c:v>
                </c:pt>
                <c:pt idx="2761">
                  <c:v>44.350999999999999</c:v>
                </c:pt>
                <c:pt idx="2762">
                  <c:v>44.350999999999999</c:v>
                </c:pt>
                <c:pt idx="2763">
                  <c:v>44.256</c:v>
                </c:pt>
                <c:pt idx="2764">
                  <c:v>44.061999999999998</c:v>
                </c:pt>
                <c:pt idx="2765">
                  <c:v>44.447000000000003</c:v>
                </c:pt>
                <c:pt idx="2766">
                  <c:v>44.256</c:v>
                </c:pt>
                <c:pt idx="2767">
                  <c:v>44.350999999999999</c:v>
                </c:pt>
                <c:pt idx="2768">
                  <c:v>44.256</c:v>
                </c:pt>
                <c:pt idx="2769">
                  <c:v>44.350999999999999</c:v>
                </c:pt>
                <c:pt idx="2770">
                  <c:v>43.966999999999999</c:v>
                </c:pt>
                <c:pt idx="2771">
                  <c:v>44.061999999999998</c:v>
                </c:pt>
                <c:pt idx="2772">
                  <c:v>44.542000000000002</c:v>
                </c:pt>
                <c:pt idx="2773">
                  <c:v>44.256</c:v>
                </c:pt>
                <c:pt idx="2774">
                  <c:v>44.350999999999999</c:v>
                </c:pt>
                <c:pt idx="2775">
                  <c:v>43.582999999999998</c:v>
                </c:pt>
                <c:pt idx="2776">
                  <c:v>44.350999999999999</c:v>
                </c:pt>
                <c:pt idx="2777">
                  <c:v>43.966999999999999</c:v>
                </c:pt>
                <c:pt idx="2778">
                  <c:v>44.158000000000001</c:v>
                </c:pt>
                <c:pt idx="2779">
                  <c:v>44.256</c:v>
                </c:pt>
                <c:pt idx="2780">
                  <c:v>44.061999999999998</c:v>
                </c:pt>
                <c:pt idx="2781">
                  <c:v>44.158000000000001</c:v>
                </c:pt>
                <c:pt idx="2782">
                  <c:v>44.158000000000001</c:v>
                </c:pt>
                <c:pt idx="2783">
                  <c:v>44.061999999999998</c:v>
                </c:pt>
                <c:pt idx="2784">
                  <c:v>44.256</c:v>
                </c:pt>
                <c:pt idx="2785">
                  <c:v>44.447000000000003</c:v>
                </c:pt>
                <c:pt idx="2786">
                  <c:v>44.158000000000001</c:v>
                </c:pt>
                <c:pt idx="2787">
                  <c:v>44.158000000000001</c:v>
                </c:pt>
                <c:pt idx="2788">
                  <c:v>44.447000000000003</c:v>
                </c:pt>
                <c:pt idx="2789">
                  <c:v>44.256</c:v>
                </c:pt>
                <c:pt idx="2790">
                  <c:v>44.350999999999999</c:v>
                </c:pt>
                <c:pt idx="2791">
                  <c:v>43.677999999999997</c:v>
                </c:pt>
                <c:pt idx="2792">
                  <c:v>44.447000000000003</c:v>
                </c:pt>
                <c:pt idx="2793">
                  <c:v>44.350999999999999</c:v>
                </c:pt>
                <c:pt idx="2794">
                  <c:v>44.637999999999998</c:v>
                </c:pt>
                <c:pt idx="2795">
                  <c:v>44.447000000000003</c:v>
                </c:pt>
                <c:pt idx="2796">
                  <c:v>43.966999999999999</c:v>
                </c:pt>
                <c:pt idx="2797">
                  <c:v>44.256</c:v>
                </c:pt>
                <c:pt idx="2798">
                  <c:v>44.350999999999999</c:v>
                </c:pt>
                <c:pt idx="2799">
                  <c:v>44.158000000000001</c:v>
                </c:pt>
                <c:pt idx="2800">
                  <c:v>44.350999999999999</c:v>
                </c:pt>
                <c:pt idx="2801">
                  <c:v>44.637999999999998</c:v>
                </c:pt>
                <c:pt idx="2802">
                  <c:v>44.542000000000002</c:v>
                </c:pt>
                <c:pt idx="2803">
                  <c:v>44.061999999999998</c:v>
                </c:pt>
                <c:pt idx="2804">
                  <c:v>44.061999999999998</c:v>
                </c:pt>
                <c:pt idx="2805">
                  <c:v>44.447000000000003</c:v>
                </c:pt>
                <c:pt idx="2806">
                  <c:v>44.447000000000003</c:v>
                </c:pt>
                <c:pt idx="2807">
                  <c:v>43.966999999999999</c:v>
                </c:pt>
                <c:pt idx="2808">
                  <c:v>44.447000000000003</c:v>
                </c:pt>
                <c:pt idx="2809">
                  <c:v>44.542000000000002</c:v>
                </c:pt>
                <c:pt idx="2810">
                  <c:v>44.256</c:v>
                </c:pt>
                <c:pt idx="2811">
                  <c:v>44.158000000000001</c:v>
                </c:pt>
                <c:pt idx="2812">
                  <c:v>44.061999999999998</c:v>
                </c:pt>
                <c:pt idx="2813">
                  <c:v>44.447000000000003</c:v>
                </c:pt>
                <c:pt idx="2814">
                  <c:v>44.831000000000003</c:v>
                </c:pt>
                <c:pt idx="2815">
                  <c:v>44.447000000000003</c:v>
                </c:pt>
                <c:pt idx="2816">
                  <c:v>44.061999999999998</c:v>
                </c:pt>
                <c:pt idx="2817">
                  <c:v>43.776000000000003</c:v>
                </c:pt>
                <c:pt idx="2818">
                  <c:v>44.256</c:v>
                </c:pt>
                <c:pt idx="2819">
                  <c:v>44.061999999999998</c:v>
                </c:pt>
                <c:pt idx="2820">
                  <c:v>44.542000000000002</c:v>
                </c:pt>
                <c:pt idx="2821">
                  <c:v>44.350999999999999</c:v>
                </c:pt>
                <c:pt idx="2822">
                  <c:v>43.966999999999999</c:v>
                </c:pt>
                <c:pt idx="2823">
                  <c:v>44.542000000000002</c:v>
                </c:pt>
                <c:pt idx="2824">
                  <c:v>44.447000000000003</c:v>
                </c:pt>
                <c:pt idx="2825">
                  <c:v>44.542000000000002</c:v>
                </c:pt>
                <c:pt idx="2826">
                  <c:v>44.158000000000001</c:v>
                </c:pt>
                <c:pt idx="2827">
                  <c:v>43.871000000000002</c:v>
                </c:pt>
                <c:pt idx="2828">
                  <c:v>44.256</c:v>
                </c:pt>
                <c:pt idx="2829">
                  <c:v>43.966999999999999</c:v>
                </c:pt>
                <c:pt idx="2830">
                  <c:v>44.831000000000003</c:v>
                </c:pt>
                <c:pt idx="2831">
                  <c:v>44.350999999999999</c:v>
                </c:pt>
                <c:pt idx="2832">
                  <c:v>44.350999999999999</c:v>
                </c:pt>
                <c:pt idx="2833">
                  <c:v>44.256</c:v>
                </c:pt>
                <c:pt idx="2834">
                  <c:v>43.966999999999999</c:v>
                </c:pt>
                <c:pt idx="2835">
                  <c:v>44.542000000000002</c:v>
                </c:pt>
                <c:pt idx="2836">
                  <c:v>44.542000000000002</c:v>
                </c:pt>
                <c:pt idx="2837">
                  <c:v>44.542000000000002</c:v>
                </c:pt>
                <c:pt idx="2838">
                  <c:v>44.542000000000002</c:v>
                </c:pt>
                <c:pt idx="2839">
                  <c:v>44.158000000000001</c:v>
                </c:pt>
                <c:pt idx="2840">
                  <c:v>44.350999999999999</c:v>
                </c:pt>
                <c:pt idx="2841">
                  <c:v>44.350999999999999</c:v>
                </c:pt>
                <c:pt idx="2842">
                  <c:v>44.158000000000001</c:v>
                </c:pt>
                <c:pt idx="2843">
                  <c:v>44.256</c:v>
                </c:pt>
                <c:pt idx="2844">
                  <c:v>44.350999999999999</c:v>
                </c:pt>
                <c:pt idx="2845">
                  <c:v>43.966999999999999</c:v>
                </c:pt>
                <c:pt idx="2846">
                  <c:v>44.256</c:v>
                </c:pt>
                <c:pt idx="2847">
                  <c:v>44.542000000000002</c:v>
                </c:pt>
                <c:pt idx="2848">
                  <c:v>44.350999999999999</c:v>
                </c:pt>
                <c:pt idx="2849">
                  <c:v>44.350999999999999</c:v>
                </c:pt>
                <c:pt idx="2850">
                  <c:v>44.542000000000002</c:v>
                </c:pt>
                <c:pt idx="2851">
                  <c:v>45.021999999999998</c:v>
                </c:pt>
                <c:pt idx="2852">
                  <c:v>44.735999999999997</c:v>
                </c:pt>
                <c:pt idx="2853">
                  <c:v>44.158000000000001</c:v>
                </c:pt>
                <c:pt idx="2854">
                  <c:v>44.158000000000001</c:v>
                </c:pt>
                <c:pt idx="2855">
                  <c:v>44.637999999999998</c:v>
                </c:pt>
                <c:pt idx="2856">
                  <c:v>44.256</c:v>
                </c:pt>
                <c:pt idx="2857">
                  <c:v>44.447000000000003</c:v>
                </c:pt>
                <c:pt idx="2858">
                  <c:v>44.256</c:v>
                </c:pt>
                <c:pt idx="2859">
                  <c:v>44.350999999999999</c:v>
                </c:pt>
                <c:pt idx="2860">
                  <c:v>44.158000000000001</c:v>
                </c:pt>
                <c:pt idx="2861">
                  <c:v>44.061999999999998</c:v>
                </c:pt>
                <c:pt idx="2862">
                  <c:v>44.542000000000002</c:v>
                </c:pt>
                <c:pt idx="2863">
                  <c:v>44.735999999999997</c:v>
                </c:pt>
                <c:pt idx="2864">
                  <c:v>44.735999999999997</c:v>
                </c:pt>
                <c:pt idx="2865">
                  <c:v>44.447000000000003</c:v>
                </c:pt>
                <c:pt idx="2866">
                  <c:v>44.350999999999999</c:v>
                </c:pt>
                <c:pt idx="2867">
                  <c:v>44.061999999999998</c:v>
                </c:pt>
                <c:pt idx="2868">
                  <c:v>44.542000000000002</c:v>
                </c:pt>
                <c:pt idx="2869">
                  <c:v>44.447000000000003</c:v>
                </c:pt>
                <c:pt idx="2870">
                  <c:v>44.542000000000002</c:v>
                </c:pt>
                <c:pt idx="2871">
                  <c:v>43.776000000000003</c:v>
                </c:pt>
                <c:pt idx="2872">
                  <c:v>44.256</c:v>
                </c:pt>
                <c:pt idx="2873">
                  <c:v>44.831000000000003</c:v>
                </c:pt>
                <c:pt idx="2874">
                  <c:v>44.447000000000003</c:v>
                </c:pt>
                <c:pt idx="2875">
                  <c:v>44.542000000000002</c:v>
                </c:pt>
                <c:pt idx="2876">
                  <c:v>44.061999999999998</c:v>
                </c:pt>
                <c:pt idx="2877">
                  <c:v>44.256</c:v>
                </c:pt>
                <c:pt idx="2878">
                  <c:v>44.350999999999999</c:v>
                </c:pt>
                <c:pt idx="2879">
                  <c:v>44.542000000000002</c:v>
                </c:pt>
                <c:pt idx="2880">
                  <c:v>44.350999999999999</c:v>
                </c:pt>
                <c:pt idx="2881">
                  <c:v>44.637999999999998</c:v>
                </c:pt>
                <c:pt idx="2882">
                  <c:v>44.542000000000002</c:v>
                </c:pt>
                <c:pt idx="2883">
                  <c:v>44.831000000000003</c:v>
                </c:pt>
                <c:pt idx="2884">
                  <c:v>44.158000000000001</c:v>
                </c:pt>
                <c:pt idx="2885">
                  <c:v>44.447000000000003</c:v>
                </c:pt>
                <c:pt idx="2886">
                  <c:v>44.061999999999998</c:v>
                </c:pt>
                <c:pt idx="2887">
                  <c:v>44.735999999999997</c:v>
                </c:pt>
                <c:pt idx="2888">
                  <c:v>44.735999999999997</c:v>
                </c:pt>
                <c:pt idx="2889">
                  <c:v>44.256</c:v>
                </c:pt>
                <c:pt idx="2890">
                  <c:v>44.637999999999998</c:v>
                </c:pt>
                <c:pt idx="2891">
                  <c:v>44.350999999999999</c:v>
                </c:pt>
                <c:pt idx="2892">
                  <c:v>44.447000000000003</c:v>
                </c:pt>
                <c:pt idx="2893">
                  <c:v>44.158000000000001</c:v>
                </c:pt>
                <c:pt idx="2894">
                  <c:v>43.966999999999999</c:v>
                </c:pt>
                <c:pt idx="2895">
                  <c:v>44.447000000000003</c:v>
                </c:pt>
                <c:pt idx="2896">
                  <c:v>44.637999999999998</c:v>
                </c:pt>
                <c:pt idx="2897">
                  <c:v>44.637999999999998</c:v>
                </c:pt>
                <c:pt idx="2898">
                  <c:v>44.637999999999998</c:v>
                </c:pt>
                <c:pt idx="2899">
                  <c:v>44.542000000000002</c:v>
                </c:pt>
                <c:pt idx="2900">
                  <c:v>44.735999999999997</c:v>
                </c:pt>
                <c:pt idx="2901">
                  <c:v>44.735999999999997</c:v>
                </c:pt>
                <c:pt idx="2902">
                  <c:v>44.637999999999998</c:v>
                </c:pt>
                <c:pt idx="2903">
                  <c:v>44.735999999999997</c:v>
                </c:pt>
                <c:pt idx="2904">
                  <c:v>44.735999999999997</c:v>
                </c:pt>
                <c:pt idx="2905">
                  <c:v>44.542000000000002</c:v>
                </c:pt>
                <c:pt idx="2906">
                  <c:v>44.637999999999998</c:v>
                </c:pt>
                <c:pt idx="2907">
                  <c:v>44.158000000000001</c:v>
                </c:pt>
                <c:pt idx="2908">
                  <c:v>44.447000000000003</c:v>
                </c:pt>
                <c:pt idx="2909">
                  <c:v>44.061999999999998</c:v>
                </c:pt>
                <c:pt idx="2910">
                  <c:v>44.542000000000002</c:v>
                </c:pt>
                <c:pt idx="2911">
                  <c:v>44.256</c:v>
                </c:pt>
                <c:pt idx="2912">
                  <c:v>44.637999999999998</c:v>
                </c:pt>
                <c:pt idx="2913">
                  <c:v>44.637999999999998</c:v>
                </c:pt>
                <c:pt idx="2914">
                  <c:v>44.735999999999997</c:v>
                </c:pt>
                <c:pt idx="2915">
                  <c:v>44.061999999999998</c:v>
                </c:pt>
                <c:pt idx="2916">
                  <c:v>44.350999999999999</c:v>
                </c:pt>
                <c:pt idx="2917">
                  <c:v>44.637999999999998</c:v>
                </c:pt>
                <c:pt idx="2918">
                  <c:v>44.447000000000003</c:v>
                </c:pt>
                <c:pt idx="2919">
                  <c:v>44.256</c:v>
                </c:pt>
                <c:pt idx="2920">
                  <c:v>44.637999999999998</c:v>
                </c:pt>
                <c:pt idx="2921">
                  <c:v>44.158000000000001</c:v>
                </c:pt>
                <c:pt idx="2922">
                  <c:v>44.447000000000003</c:v>
                </c:pt>
                <c:pt idx="2923">
                  <c:v>44.350999999999999</c:v>
                </c:pt>
                <c:pt idx="2924">
                  <c:v>44.447000000000003</c:v>
                </c:pt>
                <c:pt idx="2925">
                  <c:v>44.542000000000002</c:v>
                </c:pt>
                <c:pt idx="2926">
                  <c:v>44.542000000000002</c:v>
                </c:pt>
                <c:pt idx="2927">
                  <c:v>44.447000000000003</c:v>
                </c:pt>
                <c:pt idx="2928">
                  <c:v>44.256</c:v>
                </c:pt>
                <c:pt idx="2929">
                  <c:v>44.350999999999999</c:v>
                </c:pt>
                <c:pt idx="2930">
                  <c:v>44.542000000000002</c:v>
                </c:pt>
                <c:pt idx="2931">
                  <c:v>44.542000000000002</c:v>
                </c:pt>
                <c:pt idx="2932">
                  <c:v>44.542000000000002</c:v>
                </c:pt>
                <c:pt idx="2933">
                  <c:v>44.350999999999999</c:v>
                </c:pt>
                <c:pt idx="2934">
                  <c:v>44.256</c:v>
                </c:pt>
                <c:pt idx="2935">
                  <c:v>44.735999999999997</c:v>
                </c:pt>
                <c:pt idx="2936">
                  <c:v>44.637999999999998</c:v>
                </c:pt>
                <c:pt idx="2937">
                  <c:v>44.158000000000001</c:v>
                </c:pt>
                <c:pt idx="2938">
                  <c:v>44.447000000000003</c:v>
                </c:pt>
                <c:pt idx="2939">
                  <c:v>44.637999999999998</c:v>
                </c:pt>
                <c:pt idx="2940">
                  <c:v>44.735999999999997</c:v>
                </c:pt>
                <c:pt idx="2941">
                  <c:v>44.735999999999997</c:v>
                </c:pt>
                <c:pt idx="2942">
                  <c:v>44.256</c:v>
                </c:pt>
                <c:pt idx="2943">
                  <c:v>44.061999999999998</c:v>
                </c:pt>
                <c:pt idx="2944">
                  <c:v>44.542000000000002</c:v>
                </c:pt>
                <c:pt idx="2945">
                  <c:v>44.350999999999999</c:v>
                </c:pt>
                <c:pt idx="2946">
                  <c:v>44.158000000000001</c:v>
                </c:pt>
                <c:pt idx="2947">
                  <c:v>44.256</c:v>
                </c:pt>
                <c:pt idx="2948">
                  <c:v>44.447000000000003</c:v>
                </c:pt>
                <c:pt idx="2949">
                  <c:v>44.637999999999998</c:v>
                </c:pt>
                <c:pt idx="2950">
                  <c:v>44.447000000000003</c:v>
                </c:pt>
                <c:pt idx="2951">
                  <c:v>44.447000000000003</c:v>
                </c:pt>
                <c:pt idx="2952">
                  <c:v>44.637999999999998</c:v>
                </c:pt>
                <c:pt idx="2953">
                  <c:v>44.542000000000002</c:v>
                </c:pt>
                <c:pt idx="2954">
                  <c:v>44.542000000000002</c:v>
                </c:pt>
                <c:pt idx="2955">
                  <c:v>44.542000000000002</c:v>
                </c:pt>
                <c:pt idx="2956">
                  <c:v>44.735999999999997</c:v>
                </c:pt>
                <c:pt idx="2957">
                  <c:v>43.966999999999999</c:v>
                </c:pt>
                <c:pt idx="2958">
                  <c:v>44.735999999999997</c:v>
                </c:pt>
                <c:pt idx="2959">
                  <c:v>44.350999999999999</c:v>
                </c:pt>
                <c:pt idx="2960">
                  <c:v>44.831000000000003</c:v>
                </c:pt>
                <c:pt idx="2961">
                  <c:v>44.735999999999997</c:v>
                </c:pt>
                <c:pt idx="2962">
                  <c:v>44.637999999999998</c:v>
                </c:pt>
                <c:pt idx="2963">
                  <c:v>44.735999999999997</c:v>
                </c:pt>
                <c:pt idx="2964">
                  <c:v>44.350999999999999</c:v>
                </c:pt>
                <c:pt idx="2965">
                  <c:v>44.542000000000002</c:v>
                </c:pt>
                <c:pt idx="2966">
                  <c:v>44.637999999999998</c:v>
                </c:pt>
                <c:pt idx="2967">
                  <c:v>44.447000000000003</c:v>
                </c:pt>
                <c:pt idx="2968">
                  <c:v>44.735999999999997</c:v>
                </c:pt>
                <c:pt idx="2969">
                  <c:v>44.637999999999998</c:v>
                </c:pt>
                <c:pt idx="2970">
                  <c:v>44.637999999999998</c:v>
                </c:pt>
                <c:pt idx="2971">
                  <c:v>44.542000000000002</c:v>
                </c:pt>
                <c:pt idx="2972">
                  <c:v>44.447000000000003</c:v>
                </c:pt>
                <c:pt idx="2973">
                  <c:v>44.831000000000003</c:v>
                </c:pt>
                <c:pt idx="2974">
                  <c:v>44.637999999999998</c:v>
                </c:pt>
                <c:pt idx="2975">
                  <c:v>45.021999999999998</c:v>
                </c:pt>
                <c:pt idx="2976">
                  <c:v>44.735999999999997</c:v>
                </c:pt>
                <c:pt idx="2977">
                  <c:v>44.542000000000002</c:v>
                </c:pt>
                <c:pt idx="2978">
                  <c:v>44.542000000000002</c:v>
                </c:pt>
                <c:pt idx="2979">
                  <c:v>44.735999999999997</c:v>
                </c:pt>
                <c:pt idx="2980">
                  <c:v>44.542000000000002</c:v>
                </c:pt>
                <c:pt idx="2981">
                  <c:v>44.735999999999997</c:v>
                </c:pt>
                <c:pt idx="2982">
                  <c:v>44.637999999999998</c:v>
                </c:pt>
                <c:pt idx="2983">
                  <c:v>44.256</c:v>
                </c:pt>
                <c:pt idx="2984">
                  <c:v>44.831000000000003</c:v>
                </c:pt>
                <c:pt idx="2985">
                  <c:v>44.637999999999998</c:v>
                </c:pt>
                <c:pt idx="2986">
                  <c:v>44.831000000000003</c:v>
                </c:pt>
                <c:pt idx="2987">
                  <c:v>44.256</c:v>
                </c:pt>
                <c:pt idx="2988">
                  <c:v>44.542000000000002</c:v>
                </c:pt>
                <c:pt idx="2989">
                  <c:v>44.637999999999998</c:v>
                </c:pt>
                <c:pt idx="2990">
                  <c:v>44.927</c:v>
                </c:pt>
                <c:pt idx="2991">
                  <c:v>44.542000000000002</c:v>
                </c:pt>
                <c:pt idx="2992">
                  <c:v>44.927</c:v>
                </c:pt>
                <c:pt idx="2993">
                  <c:v>44.158000000000001</c:v>
                </c:pt>
                <c:pt idx="2994">
                  <c:v>44.927</c:v>
                </c:pt>
                <c:pt idx="2995">
                  <c:v>45.021999999999998</c:v>
                </c:pt>
                <c:pt idx="2996">
                  <c:v>44.735999999999997</c:v>
                </c:pt>
                <c:pt idx="2997">
                  <c:v>45.118000000000002</c:v>
                </c:pt>
                <c:pt idx="2998">
                  <c:v>44.637999999999998</c:v>
                </c:pt>
                <c:pt idx="2999">
                  <c:v>44.637999999999998</c:v>
                </c:pt>
                <c:pt idx="3000">
                  <c:v>44.735999999999997</c:v>
                </c:pt>
                <c:pt idx="3001">
                  <c:v>44.637999999999998</c:v>
                </c:pt>
                <c:pt idx="3002">
                  <c:v>44.542000000000002</c:v>
                </c:pt>
                <c:pt idx="3003">
                  <c:v>44.447000000000003</c:v>
                </c:pt>
                <c:pt idx="3004">
                  <c:v>44.735999999999997</c:v>
                </c:pt>
                <c:pt idx="3005">
                  <c:v>44.831000000000003</c:v>
                </c:pt>
                <c:pt idx="3006">
                  <c:v>44.542000000000002</c:v>
                </c:pt>
                <c:pt idx="3007">
                  <c:v>44.542000000000002</c:v>
                </c:pt>
                <c:pt idx="3008">
                  <c:v>44.542000000000002</c:v>
                </c:pt>
                <c:pt idx="3009">
                  <c:v>44.637999999999998</c:v>
                </c:pt>
                <c:pt idx="3010">
                  <c:v>44.735999999999997</c:v>
                </c:pt>
                <c:pt idx="3011">
                  <c:v>44.637999999999998</c:v>
                </c:pt>
                <c:pt idx="3012">
                  <c:v>44.927</c:v>
                </c:pt>
                <c:pt idx="3013">
                  <c:v>44.256</c:v>
                </c:pt>
                <c:pt idx="3014">
                  <c:v>44.447000000000003</c:v>
                </c:pt>
                <c:pt idx="3015">
                  <c:v>44.447000000000003</c:v>
                </c:pt>
                <c:pt idx="3016">
                  <c:v>45.021999999999998</c:v>
                </c:pt>
                <c:pt idx="3017">
                  <c:v>44.735999999999997</c:v>
                </c:pt>
                <c:pt idx="3018">
                  <c:v>44.637999999999998</c:v>
                </c:pt>
                <c:pt idx="3019">
                  <c:v>44.735999999999997</c:v>
                </c:pt>
                <c:pt idx="3020">
                  <c:v>44.735999999999997</c:v>
                </c:pt>
                <c:pt idx="3021">
                  <c:v>44.542000000000002</c:v>
                </c:pt>
                <c:pt idx="3022">
                  <c:v>44.447000000000003</c:v>
                </c:pt>
                <c:pt idx="3023">
                  <c:v>44.735999999999997</c:v>
                </c:pt>
                <c:pt idx="3024">
                  <c:v>44.256</c:v>
                </c:pt>
                <c:pt idx="3025">
                  <c:v>44.831000000000003</c:v>
                </c:pt>
                <c:pt idx="3026">
                  <c:v>44.735999999999997</c:v>
                </c:pt>
                <c:pt idx="3027">
                  <c:v>44.447000000000003</c:v>
                </c:pt>
                <c:pt idx="3028">
                  <c:v>44.542000000000002</c:v>
                </c:pt>
                <c:pt idx="3029">
                  <c:v>44.831000000000003</c:v>
                </c:pt>
                <c:pt idx="3030">
                  <c:v>44.542000000000002</c:v>
                </c:pt>
                <c:pt idx="3031">
                  <c:v>44.447000000000003</c:v>
                </c:pt>
                <c:pt idx="3032">
                  <c:v>45.021999999999998</c:v>
                </c:pt>
                <c:pt idx="3033">
                  <c:v>44.735999999999997</c:v>
                </c:pt>
                <c:pt idx="3034">
                  <c:v>44.831000000000003</c:v>
                </c:pt>
                <c:pt idx="3035">
                  <c:v>44.831000000000003</c:v>
                </c:pt>
                <c:pt idx="3036">
                  <c:v>44.831000000000003</c:v>
                </c:pt>
                <c:pt idx="3037">
                  <c:v>44.542000000000002</c:v>
                </c:pt>
                <c:pt idx="3038">
                  <c:v>44.447000000000003</c:v>
                </c:pt>
                <c:pt idx="3039">
                  <c:v>44.637999999999998</c:v>
                </c:pt>
                <c:pt idx="3040">
                  <c:v>45.118000000000002</c:v>
                </c:pt>
                <c:pt idx="3041">
                  <c:v>44.735999999999997</c:v>
                </c:pt>
                <c:pt idx="3042">
                  <c:v>44.542000000000002</c:v>
                </c:pt>
                <c:pt idx="3043">
                  <c:v>44.637999999999998</c:v>
                </c:pt>
                <c:pt idx="3044">
                  <c:v>44.542000000000002</c:v>
                </c:pt>
                <c:pt idx="3045">
                  <c:v>44.735999999999997</c:v>
                </c:pt>
                <c:pt idx="3046">
                  <c:v>44.735999999999997</c:v>
                </c:pt>
                <c:pt idx="3047">
                  <c:v>44.542000000000002</c:v>
                </c:pt>
                <c:pt idx="3048">
                  <c:v>44.927</c:v>
                </c:pt>
                <c:pt idx="3049">
                  <c:v>45.021999999999998</c:v>
                </c:pt>
                <c:pt idx="3050">
                  <c:v>44.831000000000003</c:v>
                </c:pt>
                <c:pt idx="3051">
                  <c:v>44.735999999999997</c:v>
                </c:pt>
                <c:pt idx="3052">
                  <c:v>44.637999999999998</c:v>
                </c:pt>
                <c:pt idx="3053">
                  <c:v>44.735999999999997</c:v>
                </c:pt>
                <c:pt idx="3054">
                  <c:v>44.831000000000003</c:v>
                </c:pt>
                <c:pt idx="3055">
                  <c:v>45.216000000000001</c:v>
                </c:pt>
                <c:pt idx="3056">
                  <c:v>45.021999999999998</c:v>
                </c:pt>
                <c:pt idx="3057">
                  <c:v>44.542000000000002</c:v>
                </c:pt>
                <c:pt idx="3058">
                  <c:v>44.542000000000002</c:v>
                </c:pt>
                <c:pt idx="3059">
                  <c:v>44.637999999999998</c:v>
                </c:pt>
                <c:pt idx="3060">
                  <c:v>44.831000000000003</c:v>
                </c:pt>
                <c:pt idx="3061">
                  <c:v>44.735999999999997</c:v>
                </c:pt>
                <c:pt idx="3062">
                  <c:v>44.831000000000003</c:v>
                </c:pt>
                <c:pt idx="3063">
                  <c:v>45.021999999999998</c:v>
                </c:pt>
                <c:pt idx="3064">
                  <c:v>44.831000000000003</c:v>
                </c:pt>
                <c:pt idx="3065">
                  <c:v>45.311</c:v>
                </c:pt>
                <c:pt idx="3066">
                  <c:v>44.927</c:v>
                </c:pt>
                <c:pt idx="3067">
                  <c:v>44.735999999999997</c:v>
                </c:pt>
                <c:pt idx="3068">
                  <c:v>45.216000000000001</c:v>
                </c:pt>
                <c:pt idx="3069">
                  <c:v>44.637999999999998</c:v>
                </c:pt>
                <c:pt idx="3070">
                  <c:v>44.447000000000003</c:v>
                </c:pt>
                <c:pt idx="3071">
                  <c:v>44.927</c:v>
                </c:pt>
                <c:pt idx="3072">
                  <c:v>44.927</c:v>
                </c:pt>
                <c:pt idx="3073">
                  <c:v>44.927</c:v>
                </c:pt>
                <c:pt idx="3074">
                  <c:v>45.406999999999996</c:v>
                </c:pt>
                <c:pt idx="3075">
                  <c:v>44.637999999999998</c:v>
                </c:pt>
                <c:pt idx="3076">
                  <c:v>44.927</c:v>
                </c:pt>
                <c:pt idx="3077">
                  <c:v>45.021999999999998</c:v>
                </c:pt>
                <c:pt idx="3078">
                  <c:v>44.831000000000003</c:v>
                </c:pt>
                <c:pt idx="3079">
                  <c:v>44.637999999999998</c:v>
                </c:pt>
                <c:pt idx="3080">
                  <c:v>44.735999999999997</c:v>
                </c:pt>
                <c:pt idx="3081">
                  <c:v>45.021999999999998</c:v>
                </c:pt>
                <c:pt idx="3082">
                  <c:v>44.542000000000002</c:v>
                </c:pt>
                <c:pt idx="3083">
                  <c:v>45.021999999999998</c:v>
                </c:pt>
                <c:pt idx="3084">
                  <c:v>44.831000000000003</c:v>
                </c:pt>
                <c:pt idx="3085">
                  <c:v>44.735999999999997</c:v>
                </c:pt>
                <c:pt idx="3086">
                  <c:v>45.118000000000002</c:v>
                </c:pt>
                <c:pt idx="3087">
                  <c:v>45.216000000000001</c:v>
                </c:pt>
                <c:pt idx="3088">
                  <c:v>44.831000000000003</c:v>
                </c:pt>
                <c:pt idx="3089">
                  <c:v>44.831000000000003</c:v>
                </c:pt>
                <c:pt idx="3090">
                  <c:v>44.927</c:v>
                </c:pt>
                <c:pt idx="3091">
                  <c:v>44.637999999999998</c:v>
                </c:pt>
                <c:pt idx="3092">
                  <c:v>45.021999999999998</c:v>
                </c:pt>
                <c:pt idx="3093">
                  <c:v>44.542000000000002</c:v>
                </c:pt>
                <c:pt idx="3094">
                  <c:v>45.118000000000002</c:v>
                </c:pt>
                <c:pt idx="3095">
                  <c:v>44.831000000000003</c:v>
                </c:pt>
                <c:pt idx="3096">
                  <c:v>44.637999999999998</c:v>
                </c:pt>
                <c:pt idx="3097">
                  <c:v>44.831000000000003</c:v>
                </c:pt>
                <c:pt idx="3098">
                  <c:v>44.831000000000003</c:v>
                </c:pt>
                <c:pt idx="3099">
                  <c:v>45.216000000000001</c:v>
                </c:pt>
                <c:pt idx="3100">
                  <c:v>44.831000000000003</c:v>
                </c:pt>
                <c:pt idx="3101">
                  <c:v>45.021999999999998</c:v>
                </c:pt>
                <c:pt idx="3102">
                  <c:v>44.735999999999997</c:v>
                </c:pt>
                <c:pt idx="3103">
                  <c:v>44.542000000000002</c:v>
                </c:pt>
                <c:pt idx="3104">
                  <c:v>44.637999999999998</c:v>
                </c:pt>
                <c:pt idx="3105">
                  <c:v>44.927</c:v>
                </c:pt>
                <c:pt idx="3106">
                  <c:v>44.735999999999997</c:v>
                </c:pt>
                <c:pt idx="3107">
                  <c:v>44.831000000000003</c:v>
                </c:pt>
                <c:pt idx="3108">
                  <c:v>44.831000000000003</c:v>
                </c:pt>
                <c:pt idx="3109">
                  <c:v>44.735999999999997</c:v>
                </c:pt>
                <c:pt idx="3110">
                  <c:v>44.735999999999997</c:v>
                </c:pt>
                <c:pt idx="3111">
                  <c:v>45.311</c:v>
                </c:pt>
                <c:pt idx="3112">
                  <c:v>45.406999999999996</c:v>
                </c:pt>
                <c:pt idx="3113">
                  <c:v>44.831000000000003</c:v>
                </c:pt>
                <c:pt idx="3114">
                  <c:v>45.118000000000002</c:v>
                </c:pt>
                <c:pt idx="3115">
                  <c:v>44.735999999999997</c:v>
                </c:pt>
                <c:pt idx="3116">
                  <c:v>45.118000000000002</c:v>
                </c:pt>
                <c:pt idx="3117">
                  <c:v>44.735999999999997</c:v>
                </c:pt>
                <c:pt idx="3118">
                  <c:v>44.637999999999998</c:v>
                </c:pt>
                <c:pt idx="3119">
                  <c:v>44.927</c:v>
                </c:pt>
                <c:pt idx="3120">
                  <c:v>45.216000000000001</c:v>
                </c:pt>
                <c:pt idx="3121">
                  <c:v>44.637999999999998</c:v>
                </c:pt>
                <c:pt idx="3122">
                  <c:v>45.021999999999998</c:v>
                </c:pt>
                <c:pt idx="3123">
                  <c:v>45.021999999999998</c:v>
                </c:pt>
                <c:pt idx="3124">
                  <c:v>44.831000000000003</c:v>
                </c:pt>
                <c:pt idx="3125">
                  <c:v>45.216000000000001</c:v>
                </c:pt>
                <c:pt idx="3126">
                  <c:v>45.118000000000002</c:v>
                </c:pt>
                <c:pt idx="3127">
                  <c:v>45.118000000000002</c:v>
                </c:pt>
                <c:pt idx="3128">
                  <c:v>45.021999999999998</c:v>
                </c:pt>
                <c:pt idx="3129">
                  <c:v>45.021999999999998</c:v>
                </c:pt>
                <c:pt idx="3130">
                  <c:v>44.927</c:v>
                </c:pt>
                <c:pt idx="3131">
                  <c:v>45.216000000000001</c:v>
                </c:pt>
                <c:pt idx="3132">
                  <c:v>44.735999999999997</c:v>
                </c:pt>
                <c:pt idx="3133">
                  <c:v>44.831000000000003</c:v>
                </c:pt>
                <c:pt idx="3134">
                  <c:v>44.637999999999998</c:v>
                </c:pt>
                <c:pt idx="3135">
                  <c:v>44.927</c:v>
                </c:pt>
                <c:pt idx="3136">
                  <c:v>45.311</c:v>
                </c:pt>
                <c:pt idx="3137">
                  <c:v>45.502000000000002</c:v>
                </c:pt>
                <c:pt idx="3138">
                  <c:v>44.735999999999997</c:v>
                </c:pt>
                <c:pt idx="3139">
                  <c:v>45.216000000000001</c:v>
                </c:pt>
                <c:pt idx="3140">
                  <c:v>45.216000000000001</c:v>
                </c:pt>
                <c:pt idx="3141">
                  <c:v>44.831000000000003</c:v>
                </c:pt>
                <c:pt idx="3142">
                  <c:v>45.216000000000001</c:v>
                </c:pt>
                <c:pt idx="3143">
                  <c:v>45.118000000000002</c:v>
                </c:pt>
                <c:pt idx="3144">
                  <c:v>44.927</c:v>
                </c:pt>
                <c:pt idx="3145">
                  <c:v>45.118000000000002</c:v>
                </c:pt>
                <c:pt idx="3146">
                  <c:v>45.118000000000002</c:v>
                </c:pt>
                <c:pt idx="3147">
                  <c:v>44.831000000000003</c:v>
                </c:pt>
                <c:pt idx="3148">
                  <c:v>44.735999999999997</c:v>
                </c:pt>
                <c:pt idx="3149">
                  <c:v>45.118000000000002</c:v>
                </c:pt>
                <c:pt idx="3150">
                  <c:v>45.021999999999998</c:v>
                </c:pt>
                <c:pt idx="3151">
                  <c:v>45.311</c:v>
                </c:pt>
                <c:pt idx="3152">
                  <c:v>44.927</c:v>
                </c:pt>
                <c:pt idx="3153">
                  <c:v>44.831000000000003</c:v>
                </c:pt>
                <c:pt idx="3154">
                  <c:v>44.735999999999997</c:v>
                </c:pt>
                <c:pt idx="3155">
                  <c:v>45.021999999999998</c:v>
                </c:pt>
                <c:pt idx="3156">
                  <c:v>45.311</c:v>
                </c:pt>
                <c:pt idx="3157">
                  <c:v>45.118000000000002</c:v>
                </c:pt>
                <c:pt idx="3158">
                  <c:v>44.735999999999997</c:v>
                </c:pt>
                <c:pt idx="3159">
                  <c:v>44.831000000000003</c:v>
                </c:pt>
                <c:pt idx="3160">
                  <c:v>45.406999999999996</c:v>
                </c:pt>
                <c:pt idx="3161">
                  <c:v>44.735999999999997</c:v>
                </c:pt>
                <c:pt idx="3162">
                  <c:v>45.118000000000002</c:v>
                </c:pt>
                <c:pt idx="3163">
                  <c:v>45.021999999999998</c:v>
                </c:pt>
                <c:pt idx="3164">
                  <c:v>45.216000000000001</c:v>
                </c:pt>
                <c:pt idx="3165">
                  <c:v>45.118000000000002</c:v>
                </c:pt>
                <c:pt idx="3166">
                  <c:v>45.118000000000002</c:v>
                </c:pt>
                <c:pt idx="3167">
                  <c:v>45.118000000000002</c:v>
                </c:pt>
                <c:pt idx="3168">
                  <c:v>44.735999999999997</c:v>
                </c:pt>
                <c:pt idx="3169">
                  <c:v>44.831000000000003</c:v>
                </c:pt>
                <c:pt idx="3170">
                  <c:v>45.118000000000002</c:v>
                </c:pt>
                <c:pt idx="3171">
                  <c:v>45.406999999999996</c:v>
                </c:pt>
                <c:pt idx="3172">
                  <c:v>45.021999999999998</c:v>
                </c:pt>
                <c:pt idx="3173">
                  <c:v>45.021999999999998</c:v>
                </c:pt>
                <c:pt idx="3174">
                  <c:v>45.118000000000002</c:v>
                </c:pt>
                <c:pt idx="3175">
                  <c:v>45.021999999999998</c:v>
                </c:pt>
                <c:pt idx="3176">
                  <c:v>45.021999999999998</c:v>
                </c:pt>
                <c:pt idx="3177">
                  <c:v>45.021999999999998</c:v>
                </c:pt>
                <c:pt idx="3178">
                  <c:v>45.021999999999998</c:v>
                </c:pt>
                <c:pt idx="3179">
                  <c:v>45.216000000000001</c:v>
                </c:pt>
                <c:pt idx="3180">
                  <c:v>45.118000000000002</c:v>
                </c:pt>
                <c:pt idx="3181">
                  <c:v>45.118000000000002</c:v>
                </c:pt>
                <c:pt idx="3182">
                  <c:v>44.927</c:v>
                </c:pt>
                <c:pt idx="3183">
                  <c:v>45.118000000000002</c:v>
                </c:pt>
                <c:pt idx="3184">
                  <c:v>45.311</c:v>
                </c:pt>
                <c:pt idx="3185">
                  <c:v>45.118000000000002</c:v>
                </c:pt>
                <c:pt idx="3186">
                  <c:v>45.118000000000002</c:v>
                </c:pt>
                <c:pt idx="3187">
                  <c:v>44.927</c:v>
                </c:pt>
                <c:pt idx="3188">
                  <c:v>44.735999999999997</c:v>
                </c:pt>
                <c:pt idx="3189">
                  <c:v>45.118000000000002</c:v>
                </c:pt>
                <c:pt idx="3190">
                  <c:v>45.118000000000002</c:v>
                </c:pt>
                <c:pt idx="3191">
                  <c:v>45.311</c:v>
                </c:pt>
                <c:pt idx="3192">
                  <c:v>45.311</c:v>
                </c:pt>
                <c:pt idx="3193">
                  <c:v>45.311</c:v>
                </c:pt>
                <c:pt idx="3194">
                  <c:v>45.021999999999998</c:v>
                </c:pt>
                <c:pt idx="3195">
                  <c:v>45.118000000000002</c:v>
                </c:pt>
                <c:pt idx="3196">
                  <c:v>45.021999999999998</c:v>
                </c:pt>
                <c:pt idx="3197">
                  <c:v>45.216000000000001</c:v>
                </c:pt>
                <c:pt idx="3198">
                  <c:v>45.216000000000001</c:v>
                </c:pt>
                <c:pt idx="3199">
                  <c:v>45.021999999999998</c:v>
                </c:pt>
                <c:pt idx="3200">
                  <c:v>45.216000000000001</c:v>
                </c:pt>
                <c:pt idx="3201">
                  <c:v>45.406999999999996</c:v>
                </c:pt>
                <c:pt idx="3202">
                  <c:v>45.118000000000002</c:v>
                </c:pt>
                <c:pt idx="3203">
                  <c:v>45.118000000000002</c:v>
                </c:pt>
                <c:pt idx="3204">
                  <c:v>44.637999999999998</c:v>
                </c:pt>
                <c:pt idx="3205">
                  <c:v>45.021999999999998</c:v>
                </c:pt>
                <c:pt idx="3206">
                  <c:v>45.118000000000002</c:v>
                </c:pt>
                <c:pt idx="3207">
                  <c:v>44.927</c:v>
                </c:pt>
                <c:pt idx="3208">
                  <c:v>44.735999999999997</c:v>
                </c:pt>
                <c:pt idx="3209">
                  <c:v>45.216000000000001</c:v>
                </c:pt>
                <c:pt idx="3210">
                  <c:v>45.502000000000002</c:v>
                </c:pt>
                <c:pt idx="3211">
                  <c:v>45.021999999999998</c:v>
                </c:pt>
                <c:pt idx="3212">
                  <c:v>45.216000000000001</c:v>
                </c:pt>
                <c:pt idx="3213">
                  <c:v>45.216000000000001</c:v>
                </c:pt>
                <c:pt idx="3214">
                  <c:v>45.021999999999998</c:v>
                </c:pt>
                <c:pt idx="3215">
                  <c:v>45.502000000000002</c:v>
                </c:pt>
                <c:pt idx="3216">
                  <c:v>44.735999999999997</c:v>
                </c:pt>
                <c:pt idx="3217">
                  <c:v>44.927</c:v>
                </c:pt>
                <c:pt idx="3218">
                  <c:v>45.406999999999996</c:v>
                </c:pt>
                <c:pt idx="3219">
                  <c:v>45.021999999999998</c:v>
                </c:pt>
                <c:pt idx="3220">
                  <c:v>44.927</c:v>
                </c:pt>
                <c:pt idx="3221">
                  <c:v>45.216000000000001</c:v>
                </c:pt>
                <c:pt idx="3222">
                  <c:v>45.216000000000001</c:v>
                </c:pt>
                <c:pt idx="3223">
                  <c:v>44.735999999999997</c:v>
                </c:pt>
                <c:pt idx="3224">
                  <c:v>45.021999999999998</c:v>
                </c:pt>
                <c:pt idx="3225">
                  <c:v>45.118000000000002</c:v>
                </c:pt>
                <c:pt idx="3226">
                  <c:v>45.216000000000001</c:v>
                </c:pt>
                <c:pt idx="3227">
                  <c:v>45.216000000000001</c:v>
                </c:pt>
                <c:pt idx="3228">
                  <c:v>44.542000000000002</c:v>
                </c:pt>
                <c:pt idx="3229">
                  <c:v>44.927</c:v>
                </c:pt>
                <c:pt idx="3230">
                  <c:v>45.021999999999998</c:v>
                </c:pt>
                <c:pt idx="3231">
                  <c:v>45.021999999999998</c:v>
                </c:pt>
                <c:pt idx="3232">
                  <c:v>45.311</c:v>
                </c:pt>
                <c:pt idx="3233">
                  <c:v>44.637999999999998</c:v>
                </c:pt>
                <c:pt idx="3234">
                  <c:v>45.021999999999998</c:v>
                </c:pt>
                <c:pt idx="3235">
                  <c:v>44.735999999999997</c:v>
                </c:pt>
                <c:pt idx="3236">
                  <c:v>44.831000000000003</c:v>
                </c:pt>
                <c:pt idx="3237">
                  <c:v>45.406999999999996</c:v>
                </c:pt>
                <c:pt idx="3238">
                  <c:v>45.502000000000002</c:v>
                </c:pt>
                <c:pt idx="3239">
                  <c:v>45.118000000000002</c:v>
                </c:pt>
                <c:pt idx="3240">
                  <c:v>45.021999999999998</c:v>
                </c:pt>
                <c:pt idx="3241">
                  <c:v>45.021999999999998</c:v>
                </c:pt>
                <c:pt idx="3242">
                  <c:v>45.311</c:v>
                </c:pt>
                <c:pt idx="3243">
                  <c:v>45.216000000000001</c:v>
                </c:pt>
                <c:pt idx="3244">
                  <c:v>45.216000000000001</c:v>
                </c:pt>
                <c:pt idx="3245">
                  <c:v>45.311</c:v>
                </c:pt>
                <c:pt idx="3246">
                  <c:v>44.831000000000003</c:v>
                </c:pt>
                <c:pt idx="3247">
                  <c:v>45.502000000000002</c:v>
                </c:pt>
                <c:pt idx="3248">
                  <c:v>45.695999999999998</c:v>
                </c:pt>
                <c:pt idx="3249">
                  <c:v>45.502000000000002</c:v>
                </c:pt>
                <c:pt idx="3250">
                  <c:v>45.311</c:v>
                </c:pt>
                <c:pt idx="3251">
                  <c:v>45.118000000000002</c:v>
                </c:pt>
                <c:pt idx="3252">
                  <c:v>45.406999999999996</c:v>
                </c:pt>
                <c:pt idx="3253">
                  <c:v>45.118000000000002</c:v>
                </c:pt>
                <c:pt idx="3254">
                  <c:v>45.021999999999998</c:v>
                </c:pt>
                <c:pt idx="3255">
                  <c:v>44.927</c:v>
                </c:pt>
                <c:pt idx="3256">
                  <c:v>45.118000000000002</c:v>
                </c:pt>
                <c:pt idx="3257">
                  <c:v>44.927</c:v>
                </c:pt>
                <c:pt idx="3258">
                  <c:v>45.311</c:v>
                </c:pt>
                <c:pt idx="3259">
                  <c:v>44.735999999999997</c:v>
                </c:pt>
                <c:pt idx="3260">
                  <c:v>45.311</c:v>
                </c:pt>
                <c:pt idx="3261">
                  <c:v>45.311</c:v>
                </c:pt>
                <c:pt idx="3262">
                  <c:v>45.502000000000002</c:v>
                </c:pt>
                <c:pt idx="3263">
                  <c:v>45.118000000000002</c:v>
                </c:pt>
                <c:pt idx="3264">
                  <c:v>45.216000000000001</c:v>
                </c:pt>
                <c:pt idx="3265">
                  <c:v>45.311</c:v>
                </c:pt>
                <c:pt idx="3266">
                  <c:v>45.311</c:v>
                </c:pt>
                <c:pt idx="3267">
                  <c:v>45.406999999999996</c:v>
                </c:pt>
                <c:pt idx="3268">
                  <c:v>45.216000000000001</c:v>
                </c:pt>
                <c:pt idx="3269">
                  <c:v>44.927</c:v>
                </c:pt>
                <c:pt idx="3270">
                  <c:v>45.118000000000002</c:v>
                </c:pt>
                <c:pt idx="3271">
                  <c:v>45.216000000000001</c:v>
                </c:pt>
                <c:pt idx="3272">
                  <c:v>44.927</c:v>
                </c:pt>
                <c:pt idx="3273">
                  <c:v>45.216000000000001</c:v>
                </c:pt>
                <c:pt idx="3274">
                  <c:v>45.502000000000002</c:v>
                </c:pt>
                <c:pt idx="3275">
                  <c:v>45.216000000000001</c:v>
                </c:pt>
                <c:pt idx="3276">
                  <c:v>45.502000000000002</c:v>
                </c:pt>
                <c:pt idx="3277">
                  <c:v>45.118000000000002</c:v>
                </c:pt>
                <c:pt idx="3278">
                  <c:v>45.021999999999998</c:v>
                </c:pt>
                <c:pt idx="3279">
                  <c:v>45.216000000000001</c:v>
                </c:pt>
                <c:pt idx="3280">
                  <c:v>45.502000000000002</c:v>
                </c:pt>
                <c:pt idx="3281">
                  <c:v>44.831000000000003</c:v>
                </c:pt>
                <c:pt idx="3282">
                  <c:v>45.311</c:v>
                </c:pt>
                <c:pt idx="3283">
                  <c:v>45.311</c:v>
                </c:pt>
                <c:pt idx="3284">
                  <c:v>44.927</c:v>
                </c:pt>
                <c:pt idx="3285">
                  <c:v>45.311</c:v>
                </c:pt>
                <c:pt idx="3286">
                  <c:v>45.216000000000001</c:v>
                </c:pt>
                <c:pt idx="3287">
                  <c:v>45.597999999999999</c:v>
                </c:pt>
                <c:pt idx="3288">
                  <c:v>45.887</c:v>
                </c:pt>
                <c:pt idx="3289">
                  <c:v>45.311</c:v>
                </c:pt>
                <c:pt idx="3290">
                  <c:v>45.118000000000002</c:v>
                </c:pt>
                <c:pt idx="3291">
                  <c:v>45.597999999999999</c:v>
                </c:pt>
                <c:pt idx="3292">
                  <c:v>45.406999999999996</c:v>
                </c:pt>
                <c:pt idx="3293">
                  <c:v>45.502000000000002</c:v>
                </c:pt>
                <c:pt idx="3294">
                  <c:v>45.502000000000002</c:v>
                </c:pt>
                <c:pt idx="3295">
                  <c:v>45.502000000000002</c:v>
                </c:pt>
                <c:pt idx="3296">
                  <c:v>45.502000000000002</c:v>
                </c:pt>
                <c:pt idx="3297">
                  <c:v>45.311</c:v>
                </c:pt>
                <c:pt idx="3298">
                  <c:v>44.927</c:v>
                </c:pt>
                <c:pt idx="3299">
                  <c:v>45.118000000000002</c:v>
                </c:pt>
                <c:pt idx="3300">
                  <c:v>45.311</c:v>
                </c:pt>
                <c:pt idx="3301">
                  <c:v>45.311</c:v>
                </c:pt>
                <c:pt idx="3302">
                  <c:v>45.311</c:v>
                </c:pt>
                <c:pt idx="3303">
                  <c:v>45.021999999999998</c:v>
                </c:pt>
                <c:pt idx="3304">
                  <c:v>45.502000000000002</c:v>
                </c:pt>
                <c:pt idx="3305">
                  <c:v>45.311</c:v>
                </c:pt>
                <c:pt idx="3306">
                  <c:v>45.311</c:v>
                </c:pt>
                <c:pt idx="3307">
                  <c:v>45.118000000000002</c:v>
                </c:pt>
                <c:pt idx="3308">
                  <c:v>45.406999999999996</c:v>
                </c:pt>
                <c:pt idx="3309">
                  <c:v>45.216000000000001</c:v>
                </c:pt>
                <c:pt idx="3310">
                  <c:v>45.502000000000002</c:v>
                </c:pt>
                <c:pt idx="3311">
                  <c:v>45.118000000000002</c:v>
                </c:pt>
                <c:pt idx="3312">
                  <c:v>45.406999999999996</c:v>
                </c:pt>
                <c:pt idx="3313">
                  <c:v>45.406999999999996</c:v>
                </c:pt>
                <c:pt idx="3314">
                  <c:v>45.311</c:v>
                </c:pt>
                <c:pt idx="3315">
                  <c:v>45.021999999999998</c:v>
                </c:pt>
                <c:pt idx="3316">
                  <c:v>45.311</c:v>
                </c:pt>
                <c:pt idx="3317">
                  <c:v>45.311</c:v>
                </c:pt>
                <c:pt idx="3318">
                  <c:v>44.927</c:v>
                </c:pt>
                <c:pt idx="3319">
                  <c:v>45.311</c:v>
                </c:pt>
                <c:pt idx="3320">
                  <c:v>45.406999999999996</c:v>
                </c:pt>
                <c:pt idx="3321">
                  <c:v>44.831000000000003</c:v>
                </c:pt>
                <c:pt idx="3322">
                  <c:v>45.311</c:v>
                </c:pt>
                <c:pt idx="3323">
                  <c:v>44.927</c:v>
                </c:pt>
                <c:pt idx="3324">
                  <c:v>45.311</c:v>
                </c:pt>
                <c:pt idx="3325">
                  <c:v>45.216000000000001</c:v>
                </c:pt>
                <c:pt idx="3326">
                  <c:v>45.311</c:v>
                </c:pt>
                <c:pt idx="3327">
                  <c:v>45.311</c:v>
                </c:pt>
                <c:pt idx="3328">
                  <c:v>44.927</c:v>
                </c:pt>
                <c:pt idx="3329">
                  <c:v>45.406999999999996</c:v>
                </c:pt>
                <c:pt idx="3330">
                  <c:v>45.118000000000002</c:v>
                </c:pt>
                <c:pt idx="3331">
                  <c:v>45.597999999999999</c:v>
                </c:pt>
                <c:pt idx="3332">
                  <c:v>45.597999999999999</c:v>
                </c:pt>
                <c:pt idx="3333">
                  <c:v>44.831000000000003</c:v>
                </c:pt>
                <c:pt idx="3334">
                  <c:v>45.597999999999999</c:v>
                </c:pt>
                <c:pt idx="3335">
                  <c:v>45.311</c:v>
                </c:pt>
                <c:pt idx="3336">
                  <c:v>45.695999999999998</c:v>
                </c:pt>
                <c:pt idx="3337">
                  <c:v>45.118000000000002</c:v>
                </c:pt>
                <c:pt idx="3338">
                  <c:v>45.406999999999996</c:v>
                </c:pt>
                <c:pt idx="3339">
                  <c:v>45.311</c:v>
                </c:pt>
                <c:pt idx="3340">
                  <c:v>45.502000000000002</c:v>
                </c:pt>
                <c:pt idx="3341">
                  <c:v>45.216000000000001</c:v>
                </c:pt>
                <c:pt idx="3342">
                  <c:v>46.078000000000003</c:v>
                </c:pt>
                <c:pt idx="3343">
                  <c:v>45.406999999999996</c:v>
                </c:pt>
                <c:pt idx="3344">
                  <c:v>45.021999999999998</c:v>
                </c:pt>
                <c:pt idx="3345">
                  <c:v>45.406999999999996</c:v>
                </c:pt>
                <c:pt idx="3346">
                  <c:v>45.597999999999999</c:v>
                </c:pt>
                <c:pt idx="3347">
                  <c:v>45.502000000000002</c:v>
                </c:pt>
                <c:pt idx="3348">
                  <c:v>45.118000000000002</c:v>
                </c:pt>
                <c:pt idx="3349">
                  <c:v>45.695999999999998</c:v>
                </c:pt>
                <c:pt idx="3350">
                  <c:v>45.406999999999996</c:v>
                </c:pt>
                <c:pt idx="3351">
                  <c:v>45.311</c:v>
                </c:pt>
                <c:pt idx="3352">
                  <c:v>45.311</c:v>
                </c:pt>
                <c:pt idx="3353">
                  <c:v>45.790999999999997</c:v>
                </c:pt>
                <c:pt idx="3354">
                  <c:v>45.406999999999996</c:v>
                </c:pt>
                <c:pt idx="3355">
                  <c:v>45.502000000000002</c:v>
                </c:pt>
                <c:pt idx="3356">
                  <c:v>45.502000000000002</c:v>
                </c:pt>
                <c:pt idx="3357">
                  <c:v>45.597999999999999</c:v>
                </c:pt>
                <c:pt idx="3358">
                  <c:v>45.311</c:v>
                </c:pt>
                <c:pt idx="3359">
                  <c:v>45.021999999999998</c:v>
                </c:pt>
                <c:pt idx="3360">
                  <c:v>45.118000000000002</c:v>
                </c:pt>
                <c:pt idx="3361">
                  <c:v>45.502000000000002</c:v>
                </c:pt>
                <c:pt idx="3362">
                  <c:v>45.406999999999996</c:v>
                </c:pt>
                <c:pt idx="3363">
                  <c:v>45.021999999999998</c:v>
                </c:pt>
                <c:pt idx="3364">
                  <c:v>45.502000000000002</c:v>
                </c:pt>
                <c:pt idx="3365">
                  <c:v>45.597999999999999</c:v>
                </c:pt>
                <c:pt idx="3366">
                  <c:v>45.406999999999996</c:v>
                </c:pt>
                <c:pt idx="3367">
                  <c:v>45.311</c:v>
                </c:pt>
                <c:pt idx="3368">
                  <c:v>45.695999999999998</c:v>
                </c:pt>
                <c:pt idx="3369">
                  <c:v>45.216000000000001</c:v>
                </c:pt>
                <c:pt idx="3370">
                  <c:v>45.406999999999996</c:v>
                </c:pt>
                <c:pt idx="3371">
                  <c:v>45.502000000000002</c:v>
                </c:pt>
                <c:pt idx="3372">
                  <c:v>45.597999999999999</c:v>
                </c:pt>
                <c:pt idx="3373">
                  <c:v>45.311</c:v>
                </c:pt>
                <c:pt idx="3374">
                  <c:v>45.597999999999999</c:v>
                </c:pt>
                <c:pt idx="3375">
                  <c:v>45.695999999999998</c:v>
                </c:pt>
                <c:pt idx="3376">
                  <c:v>45.406999999999996</c:v>
                </c:pt>
                <c:pt idx="3377">
                  <c:v>45.502000000000002</c:v>
                </c:pt>
                <c:pt idx="3378">
                  <c:v>45.406999999999996</c:v>
                </c:pt>
                <c:pt idx="3379">
                  <c:v>45.311</c:v>
                </c:pt>
                <c:pt idx="3380">
                  <c:v>45.118000000000002</c:v>
                </c:pt>
                <c:pt idx="3381">
                  <c:v>45.118000000000002</c:v>
                </c:pt>
                <c:pt idx="3382">
                  <c:v>45.406999999999996</c:v>
                </c:pt>
                <c:pt idx="3383">
                  <c:v>45.406999999999996</c:v>
                </c:pt>
                <c:pt idx="3384">
                  <c:v>45.406999999999996</c:v>
                </c:pt>
                <c:pt idx="3385">
                  <c:v>45.311</c:v>
                </c:pt>
                <c:pt idx="3386">
                  <c:v>45.502000000000002</c:v>
                </c:pt>
                <c:pt idx="3387">
                  <c:v>45.406999999999996</c:v>
                </c:pt>
                <c:pt idx="3388">
                  <c:v>45.021999999999998</c:v>
                </c:pt>
                <c:pt idx="3389">
                  <c:v>45.502000000000002</c:v>
                </c:pt>
                <c:pt idx="3390">
                  <c:v>45.502000000000002</c:v>
                </c:pt>
                <c:pt idx="3391">
                  <c:v>45.311</c:v>
                </c:pt>
                <c:pt idx="3392">
                  <c:v>45.597999999999999</c:v>
                </c:pt>
                <c:pt idx="3393">
                  <c:v>45.406999999999996</c:v>
                </c:pt>
                <c:pt idx="3394">
                  <c:v>45.406999999999996</c:v>
                </c:pt>
                <c:pt idx="3395">
                  <c:v>45.695999999999998</c:v>
                </c:pt>
                <c:pt idx="3396">
                  <c:v>45.311</c:v>
                </c:pt>
                <c:pt idx="3397">
                  <c:v>45.597999999999999</c:v>
                </c:pt>
                <c:pt idx="3398">
                  <c:v>45.597999999999999</c:v>
                </c:pt>
                <c:pt idx="3399">
                  <c:v>45.406999999999996</c:v>
                </c:pt>
                <c:pt idx="3400">
                  <c:v>45.311</c:v>
                </c:pt>
                <c:pt idx="3401">
                  <c:v>45.502000000000002</c:v>
                </c:pt>
                <c:pt idx="3402">
                  <c:v>45.502000000000002</c:v>
                </c:pt>
                <c:pt idx="3403">
                  <c:v>45.406999999999996</c:v>
                </c:pt>
                <c:pt idx="3404">
                  <c:v>45.216000000000001</c:v>
                </c:pt>
                <c:pt idx="3405">
                  <c:v>45.502000000000002</c:v>
                </c:pt>
                <c:pt idx="3406">
                  <c:v>45.311</c:v>
                </c:pt>
                <c:pt idx="3407">
                  <c:v>45.597999999999999</c:v>
                </c:pt>
                <c:pt idx="3408">
                  <c:v>44.927</c:v>
                </c:pt>
                <c:pt idx="3409">
                  <c:v>45.406999999999996</c:v>
                </c:pt>
                <c:pt idx="3410">
                  <c:v>45.406999999999996</c:v>
                </c:pt>
                <c:pt idx="3411">
                  <c:v>45.502000000000002</c:v>
                </c:pt>
                <c:pt idx="3412">
                  <c:v>45.502000000000002</c:v>
                </c:pt>
                <c:pt idx="3413">
                  <c:v>45.406999999999996</c:v>
                </c:pt>
                <c:pt idx="3414">
                  <c:v>45.695999999999998</c:v>
                </c:pt>
                <c:pt idx="3415">
                  <c:v>45.118000000000002</c:v>
                </c:pt>
                <c:pt idx="3416">
                  <c:v>45.406999999999996</c:v>
                </c:pt>
                <c:pt idx="3417">
                  <c:v>45.597999999999999</c:v>
                </c:pt>
                <c:pt idx="3418">
                  <c:v>45.406999999999996</c:v>
                </c:pt>
                <c:pt idx="3419">
                  <c:v>45.597999999999999</c:v>
                </c:pt>
                <c:pt idx="3420">
                  <c:v>45.311</c:v>
                </c:pt>
                <c:pt idx="3421">
                  <c:v>45.695999999999998</c:v>
                </c:pt>
                <c:pt idx="3422">
                  <c:v>45.597999999999999</c:v>
                </c:pt>
                <c:pt idx="3423">
                  <c:v>45.406999999999996</c:v>
                </c:pt>
                <c:pt idx="3424">
                  <c:v>45.406999999999996</c:v>
                </c:pt>
                <c:pt idx="3425">
                  <c:v>45.597999999999999</c:v>
                </c:pt>
                <c:pt idx="3426">
                  <c:v>45.597999999999999</c:v>
                </c:pt>
                <c:pt idx="3427">
                  <c:v>45.502000000000002</c:v>
                </c:pt>
                <c:pt idx="3428">
                  <c:v>45.790999999999997</c:v>
                </c:pt>
                <c:pt idx="3429">
                  <c:v>45.502000000000002</c:v>
                </c:pt>
                <c:pt idx="3430">
                  <c:v>45.406999999999996</c:v>
                </c:pt>
                <c:pt idx="3431">
                  <c:v>45.597999999999999</c:v>
                </c:pt>
                <c:pt idx="3432">
                  <c:v>45.695999999999998</c:v>
                </c:pt>
                <c:pt idx="3433">
                  <c:v>45.695999999999998</c:v>
                </c:pt>
                <c:pt idx="3434">
                  <c:v>45.406999999999996</c:v>
                </c:pt>
                <c:pt idx="3435">
                  <c:v>45.406999999999996</c:v>
                </c:pt>
                <c:pt idx="3436">
                  <c:v>45.406999999999996</c:v>
                </c:pt>
                <c:pt idx="3437">
                  <c:v>45.502000000000002</c:v>
                </c:pt>
                <c:pt idx="3438">
                  <c:v>45.502000000000002</c:v>
                </c:pt>
                <c:pt idx="3439">
                  <c:v>45.216000000000001</c:v>
                </c:pt>
                <c:pt idx="3440">
                  <c:v>45.695999999999998</c:v>
                </c:pt>
                <c:pt idx="3441">
                  <c:v>45.597999999999999</c:v>
                </c:pt>
                <c:pt idx="3442">
                  <c:v>45.502000000000002</c:v>
                </c:pt>
                <c:pt idx="3443">
                  <c:v>45.597999999999999</c:v>
                </c:pt>
                <c:pt idx="3444">
                  <c:v>45.406999999999996</c:v>
                </c:pt>
                <c:pt idx="3445">
                  <c:v>45.406999999999996</c:v>
                </c:pt>
                <c:pt idx="3446">
                  <c:v>45.597999999999999</c:v>
                </c:pt>
                <c:pt idx="3447">
                  <c:v>45.790999999999997</c:v>
                </c:pt>
                <c:pt idx="3448">
                  <c:v>45.597999999999999</c:v>
                </c:pt>
                <c:pt idx="3449">
                  <c:v>45.406999999999996</c:v>
                </c:pt>
                <c:pt idx="3450">
                  <c:v>45.502000000000002</c:v>
                </c:pt>
                <c:pt idx="3451">
                  <c:v>45.597999999999999</c:v>
                </c:pt>
                <c:pt idx="3452">
                  <c:v>45.597999999999999</c:v>
                </c:pt>
                <c:pt idx="3453">
                  <c:v>45.406999999999996</c:v>
                </c:pt>
                <c:pt idx="3454">
                  <c:v>45.502000000000002</c:v>
                </c:pt>
                <c:pt idx="3455">
                  <c:v>45.406999999999996</c:v>
                </c:pt>
                <c:pt idx="3456">
                  <c:v>45.118000000000002</c:v>
                </c:pt>
                <c:pt idx="3457">
                  <c:v>45.021999999999998</c:v>
                </c:pt>
                <c:pt idx="3458">
                  <c:v>45.311</c:v>
                </c:pt>
                <c:pt idx="3459">
                  <c:v>45.887</c:v>
                </c:pt>
                <c:pt idx="3460">
                  <c:v>45.887</c:v>
                </c:pt>
                <c:pt idx="3461">
                  <c:v>45.502000000000002</c:v>
                </c:pt>
                <c:pt idx="3462">
                  <c:v>45.406999999999996</c:v>
                </c:pt>
                <c:pt idx="3463">
                  <c:v>45.502000000000002</c:v>
                </c:pt>
                <c:pt idx="3464">
                  <c:v>45.406999999999996</c:v>
                </c:pt>
                <c:pt idx="3465">
                  <c:v>45.695999999999998</c:v>
                </c:pt>
                <c:pt idx="3466">
                  <c:v>45.887</c:v>
                </c:pt>
                <c:pt idx="3467">
                  <c:v>45.502000000000002</c:v>
                </c:pt>
                <c:pt idx="3468">
                  <c:v>45.597999999999999</c:v>
                </c:pt>
                <c:pt idx="3469">
                  <c:v>45.695999999999998</c:v>
                </c:pt>
                <c:pt idx="3470">
                  <c:v>45.981999999999999</c:v>
                </c:pt>
                <c:pt idx="3471">
                  <c:v>45.406999999999996</c:v>
                </c:pt>
                <c:pt idx="3472">
                  <c:v>45.311</c:v>
                </c:pt>
                <c:pt idx="3473">
                  <c:v>45.406999999999996</c:v>
                </c:pt>
                <c:pt idx="3474">
                  <c:v>45.216000000000001</c:v>
                </c:pt>
                <c:pt idx="3475">
                  <c:v>45.597999999999999</c:v>
                </c:pt>
                <c:pt idx="3476">
                  <c:v>45.695999999999998</c:v>
                </c:pt>
                <c:pt idx="3477">
                  <c:v>45.502000000000002</c:v>
                </c:pt>
                <c:pt idx="3478">
                  <c:v>45.981999999999999</c:v>
                </c:pt>
                <c:pt idx="3479">
                  <c:v>45.597999999999999</c:v>
                </c:pt>
                <c:pt idx="3480">
                  <c:v>45.981999999999999</c:v>
                </c:pt>
                <c:pt idx="3481">
                  <c:v>45.406999999999996</c:v>
                </c:pt>
                <c:pt idx="3482">
                  <c:v>45.695999999999998</c:v>
                </c:pt>
                <c:pt idx="3483">
                  <c:v>45.790999999999997</c:v>
                </c:pt>
                <c:pt idx="3484">
                  <c:v>45.406999999999996</c:v>
                </c:pt>
                <c:pt idx="3485">
                  <c:v>45.695999999999998</c:v>
                </c:pt>
                <c:pt idx="3486">
                  <c:v>45.406999999999996</c:v>
                </c:pt>
                <c:pt idx="3487">
                  <c:v>45.887</c:v>
                </c:pt>
                <c:pt idx="3488">
                  <c:v>45.695999999999998</c:v>
                </c:pt>
                <c:pt idx="3489">
                  <c:v>45.695999999999998</c:v>
                </c:pt>
                <c:pt idx="3490">
                  <c:v>45.695999999999998</c:v>
                </c:pt>
                <c:pt idx="3491">
                  <c:v>45.502000000000002</c:v>
                </c:pt>
                <c:pt idx="3492">
                  <c:v>45.790999999999997</c:v>
                </c:pt>
                <c:pt idx="3493">
                  <c:v>45.502000000000002</c:v>
                </c:pt>
                <c:pt idx="3494">
                  <c:v>45.790999999999997</c:v>
                </c:pt>
                <c:pt idx="3495">
                  <c:v>45.311</c:v>
                </c:pt>
                <c:pt idx="3496">
                  <c:v>45.597999999999999</c:v>
                </c:pt>
                <c:pt idx="3497">
                  <c:v>45.502000000000002</c:v>
                </c:pt>
                <c:pt idx="3498">
                  <c:v>45.695999999999998</c:v>
                </c:pt>
                <c:pt idx="3499">
                  <c:v>45.311</c:v>
                </c:pt>
                <c:pt idx="3500">
                  <c:v>45.790999999999997</c:v>
                </c:pt>
                <c:pt idx="3501">
                  <c:v>45.790999999999997</c:v>
                </c:pt>
                <c:pt idx="3502">
                  <c:v>45.695999999999998</c:v>
                </c:pt>
                <c:pt idx="3503">
                  <c:v>45.502000000000002</c:v>
                </c:pt>
                <c:pt idx="3504">
                  <c:v>45.695999999999998</c:v>
                </c:pt>
                <c:pt idx="3505">
                  <c:v>45.887</c:v>
                </c:pt>
                <c:pt idx="3506">
                  <c:v>45.887</c:v>
                </c:pt>
                <c:pt idx="3507">
                  <c:v>45.695999999999998</c:v>
                </c:pt>
                <c:pt idx="3508">
                  <c:v>45.502000000000002</c:v>
                </c:pt>
                <c:pt idx="3509">
                  <c:v>45.887</c:v>
                </c:pt>
                <c:pt idx="3510">
                  <c:v>45.695999999999998</c:v>
                </c:pt>
                <c:pt idx="3511">
                  <c:v>45.887</c:v>
                </c:pt>
                <c:pt idx="3512">
                  <c:v>45.887</c:v>
                </c:pt>
                <c:pt idx="3513">
                  <c:v>45.502000000000002</c:v>
                </c:pt>
                <c:pt idx="3514">
                  <c:v>45.887</c:v>
                </c:pt>
                <c:pt idx="3515">
                  <c:v>45.790999999999997</c:v>
                </c:pt>
                <c:pt idx="3516">
                  <c:v>45.502000000000002</c:v>
                </c:pt>
                <c:pt idx="3517">
                  <c:v>45.695999999999998</c:v>
                </c:pt>
                <c:pt idx="3518">
                  <c:v>45.790999999999997</c:v>
                </c:pt>
                <c:pt idx="3519">
                  <c:v>45.118000000000002</c:v>
                </c:pt>
                <c:pt idx="3520">
                  <c:v>45.790999999999997</c:v>
                </c:pt>
                <c:pt idx="3521">
                  <c:v>45.790999999999997</c:v>
                </c:pt>
                <c:pt idx="3522">
                  <c:v>46.176000000000002</c:v>
                </c:pt>
                <c:pt idx="3523">
                  <c:v>45.597999999999999</c:v>
                </c:pt>
                <c:pt idx="3524">
                  <c:v>45.981999999999999</c:v>
                </c:pt>
                <c:pt idx="3525">
                  <c:v>45.887</c:v>
                </c:pt>
                <c:pt idx="3526">
                  <c:v>45.597999999999999</c:v>
                </c:pt>
                <c:pt idx="3527">
                  <c:v>45.406999999999996</c:v>
                </c:pt>
                <c:pt idx="3528">
                  <c:v>45.790999999999997</c:v>
                </c:pt>
                <c:pt idx="3529">
                  <c:v>45.597999999999999</c:v>
                </c:pt>
                <c:pt idx="3530">
                  <c:v>45.597999999999999</c:v>
                </c:pt>
                <c:pt idx="3531">
                  <c:v>45.406999999999996</c:v>
                </c:pt>
                <c:pt idx="3532">
                  <c:v>45.406999999999996</c:v>
                </c:pt>
                <c:pt idx="3533">
                  <c:v>45.406999999999996</c:v>
                </c:pt>
                <c:pt idx="3534">
                  <c:v>46.078000000000003</c:v>
                </c:pt>
                <c:pt idx="3535">
                  <c:v>45.981999999999999</c:v>
                </c:pt>
                <c:pt idx="3536">
                  <c:v>45.597999999999999</c:v>
                </c:pt>
                <c:pt idx="3537">
                  <c:v>45.790999999999997</c:v>
                </c:pt>
                <c:pt idx="3538">
                  <c:v>45.597999999999999</c:v>
                </c:pt>
                <c:pt idx="3539">
                  <c:v>45.406999999999996</c:v>
                </c:pt>
                <c:pt idx="3540">
                  <c:v>45.502000000000002</c:v>
                </c:pt>
                <c:pt idx="3541">
                  <c:v>45.790999999999997</c:v>
                </c:pt>
                <c:pt idx="3542">
                  <c:v>45.695999999999998</c:v>
                </c:pt>
                <c:pt idx="3543">
                  <c:v>45.887</c:v>
                </c:pt>
                <c:pt idx="3544">
                  <c:v>45.597999999999999</c:v>
                </c:pt>
                <c:pt idx="3545">
                  <c:v>46.176000000000002</c:v>
                </c:pt>
                <c:pt idx="3546">
                  <c:v>45.790999999999997</c:v>
                </c:pt>
                <c:pt idx="3547">
                  <c:v>45.502000000000002</c:v>
                </c:pt>
                <c:pt idx="3548">
                  <c:v>45.887</c:v>
                </c:pt>
                <c:pt idx="3549">
                  <c:v>45.406999999999996</c:v>
                </c:pt>
                <c:pt idx="3550">
                  <c:v>45.981999999999999</c:v>
                </c:pt>
                <c:pt idx="3551">
                  <c:v>45.981999999999999</c:v>
                </c:pt>
                <c:pt idx="3552">
                  <c:v>45.597999999999999</c:v>
                </c:pt>
                <c:pt idx="3553">
                  <c:v>45.695999999999998</c:v>
                </c:pt>
                <c:pt idx="3554">
                  <c:v>45.597999999999999</c:v>
                </c:pt>
                <c:pt idx="3555">
                  <c:v>45.790999999999997</c:v>
                </c:pt>
                <c:pt idx="3556">
                  <c:v>45.887</c:v>
                </c:pt>
                <c:pt idx="3557">
                  <c:v>45.406999999999996</c:v>
                </c:pt>
                <c:pt idx="3558">
                  <c:v>46.078000000000003</c:v>
                </c:pt>
                <c:pt idx="3559">
                  <c:v>45.502000000000002</c:v>
                </c:pt>
                <c:pt idx="3560">
                  <c:v>45.597999999999999</c:v>
                </c:pt>
                <c:pt idx="3561">
                  <c:v>45.790999999999997</c:v>
                </c:pt>
                <c:pt idx="3562">
                  <c:v>45.597999999999999</c:v>
                </c:pt>
                <c:pt idx="3563">
                  <c:v>45.502000000000002</c:v>
                </c:pt>
                <c:pt idx="3564">
                  <c:v>45.981999999999999</c:v>
                </c:pt>
                <c:pt idx="3565">
                  <c:v>45.790999999999997</c:v>
                </c:pt>
                <c:pt idx="3566">
                  <c:v>45.502000000000002</c:v>
                </c:pt>
                <c:pt idx="3567">
                  <c:v>45.695999999999998</c:v>
                </c:pt>
                <c:pt idx="3568">
                  <c:v>46.176000000000002</c:v>
                </c:pt>
                <c:pt idx="3569">
                  <c:v>45.597999999999999</c:v>
                </c:pt>
                <c:pt idx="3570">
                  <c:v>46.176000000000002</c:v>
                </c:pt>
                <c:pt idx="3571">
                  <c:v>45.790999999999997</c:v>
                </c:pt>
                <c:pt idx="3572">
                  <c:v>45.695999999999998</c:v>
                </c:pt>
                <c:pt idx="3573">
                  <c:v>45.887</c:v>
                </c:pt>
                <c:pt idx="3574">
                  <c:v>45.597999999999999</c:v>
                </c:pt>
                <c:pt idx="3575">
                  <c:v>45.695999999999998</c:v>
                </c:pt>
                <c:pt idx="3576">
                  <c:v>45.502000000000002</c:v>
                </c:pt>
                <c:pt idx="3577">
                  <c:v>45.216000000000001</c:v>
                </c:pt>
                <c:pt idx="3578">
                  <c:v>45.695999999999998</c:v>
                </c:pt>
                <c:pt idx="3579">
                  <c:v>45.790999999999997</c:v>
                </c:pt>
                <c:pt idx="3580">
                  <c:v>45.695999999999998</c:v>
                </c:pt>
                <c:pt idx="3581">
                  <c:v>45.695999999999998</c:v>
                </c:pt>
                <c:pt idx="3582">
                  <c:v>45.502000000000002</c:v>
                </c:pt>
                <c:pt idx="3583">
                  <c:v>45.597999999999999</c:v>
                </c:pt>
                <c:pt idx="3584">
                  <c:v>45.887</c:v>
                </c:pt>
                <c:pt idx="3585">
                  <c:v>46.176000000000002</c:v>
                </c:pt>
                <c:pt idx="3586">
                  <c:v>45.981999999999999</c:v>
                </c:pt>
                <c:pt idx="3587">
                  <c:v>46.366999999999997</c:v>
                </c:pt>
                <c:pt idx="3588">
                  <c:v>45.597999999999999</c:v>
                </c:pt>
                <c:pt idx="3589">
                  <c:v>46.078000000000003</c:v>
                </c:pt>
                <c:pt idx="3590">
                  <c:v>45.790999999999997</c:v>
                </c:pt>
                <c:pt idx="3591">
                  <c:v>45.597999999999999</c:v>
                </c:pt>
                <c:pt idx="3592">
                  <c:v>45.406999999999996</c:v>
                </c:pt>
                <c:pt idx="3593">
                  <c:v>45.406999999999996</c:v>
                </c:pt>
                <c:pt idx="3594">
                  <c:v>45.790999999999997</c:v>
                </c:pt>
                <c:pt idx="3595">
                  <c:v>46.078000000000003</c:v>
                </c:pt>
                <c:pt idx="3596">
                  <c:v>46.176000000000002</c:v>
                </c:pt>
                <c:pt idx="3597">
                  <c:v>45.695999999999998</c:v>
                </c:pt>
                <c:pt idx="3598">
                  <c:v>45.981999999999999</c:v>
                </c:pt>
                <c:pt idx="3599">
                  <c:v>45.981999999999999</c:v>
                </c:pt>
                <c:pt idx="3600">
                  <c:v>45.790999999999997</c:v>
                </c:pt>
                <c:pt idx="3601">
                  <c:v>45.887</c:v>
                </c:pt>
                <c:pt idx="3602">
                  <c:v>45.597999999999999</c:v>
                </c:pt>
                <c:pt idx="3603">
                  <c:v>46.078000000000003</c:v>
                </c:pt>
                <c:pt idx="3604">
                  <c:v>46.176000000000002</c:v>
                </c:pt>
                <c:pt idx="3605">
                  <c:v>45.981999999999999</c:v>
                </c:pt>
                <c:pt idx="3606">
                  <c:v>45.981999999999999</c:v>
                </c:pt>
                <c:pt idx="3607">
                  <c:v>45.695999999999998</c:v>
                </c:pt>
                <c:pt idx="3608">
                  <c:v>45.887</c:v>
                </c:pt>
                <c:pt idx="3609">
                  <c:v>45.502000000000002</c:v>
                </c:pt>
                <c:pt idx="3610">
                  <c:v>45.887</c:v>
                </c:pt>
                <c:pt idx="3611">
                  <c:v>45.887</c:v>
                </c:pt>
                <c:pt idx="3612">
                  <c:v>46.176000000000002</c:v>
                </c:pt>
                <c:pt idx="3613">
                  <c:v>45.597999999999999</c:v>
                </c:pt>
                <c:pt idx="3614">
                  <c:v>45.887</c:v>
                </c:pt>
                <c:pt idx="3615">
                  <c:v>45.887</c:v>
                </c:pt>
                <c:pt idx="3616">
                  <c:v>46.176000000000002</c:v>
                </c:pt>
                <c:pt idx="3617">
                  <c:v>45.790999999999997</c:v>
                </c:pt>
                <c:pt idx="3618">
                  <c:v>45.887</c:v>
                </c:pt>
                <c:pt idx="3619">
                  <c:v>45.981999999999999</c:v>
                </c:pt>
                <c:pt idx="3620">
                  <c:v>45.887</c:v>
                </c:pt>
                <c:pt idx="3621">
                  <c:v>45.695999999999998</c:v>
                </c:pt>
                <c:pt idx="3622">
                  <c:v>45.790999999999997</c:v>
                </c:pt>
                <c:pt idx="3623">
                  <c:v>45.981999999999999</c:v>
                </c:pt>
                <c:pt idx="3624">
                  <c:v>46.176000000000002</c:v>
                </c:pt>
                <c:pt idx="3625">
                  <c:v>46.078000000000003</c:v>
                </c:pt>
                <c:pt idx="3626">
                  <c:v>45.790999999999997</c:v>
                </c:pt>
                <c:pt idx="3627">
                  <c:v>45.790999999999997</c:v>
                </c:pt>
                <c:pt idx="3628">
                  <c:v>46.176000000000002</c:v>
                </c:pt>
                <c:pt idx="3629">
                  <c:v>45.790999999999997</c:v>
                </c:pt>
                <c:pt idx="3630">
                  <c:v>45.695999999999998</c:v>
                </c:pt>
                <c:pt idx="3631">
                  <c:v>46.078000000000003</c:v>
                </c:pt>
                <c:pt idx="3632">
                  <c:v>45.695999999999998</c:v>
                </c:pt>
                <c:pt idx="3633">
                  <c:v>46.176000000000002</c:v>
                </c:pt>
                <c:pt idx="3634">
                  <c:v>46.078000000000003</c:v>
                </c:pt>
                <c:pt idx="3635">
                  <c:v>45.790999999999997</c:v>
                </c:pt>
                <c:pt idx="3636">
                  <c:v>45.981999999999999</c:v>
                </c:pt>
                <c:pt idx="3637">
                  <c:v>45.887</c:v>
                </c:pt>
                <c:pt idx="3638">
                  <c:v>45.790999999999997</c:v>
                </c:pt>
                <c:pt idx="3639">
                  <c:v>45.981999999999999</c:v>
                </c:pt>
                <c:pt idx="3640">
                  <c:v>45.981999999999999</c:v>
                </c:pt>
                <c:pt idx="3641">
                  <c:v>45.887</c:v>
                </c:pt>
                <c:pt idx="3642">
                  <c:v>46.078000000000003</c:v>
                </c:pt>
                <c:pt idx="3643">
                  <c:v>46.078000000000003</c:v>
                </c:pt>
                <c:pt idx="3644">
                  <c:v>46.078000000000003</c:v>
                </c:pt>
                <c:pt idx="3645">
                  <c:v>46.078000000000003</c:v>
                </c:pt>
                <c:pt idx="3646">
                  <c:v>46.176000000000002</c:v>
                </c:pt>
                <c:pt idx="3647">
                  <c:v>46.078000000000003</c:v>
                </c:pt>
                <c:pt idx="3648">
                  <c:v>46.176000000000002</c:v>
                </c:pt>
                <c:pt idx="3649">
                  <c:v>45.406999999999996</c:v>
                </c:pt>
                <c:pt idx="3650">
                  <c:v>46.176000000000002</c:v>
                </c:pt>
                <c:pt idx="3651">
                  <c:v>45.887</c:v>
                </c:pt>
                <c:pt idx="3652">
                  <c:v>45.597999999999999</c:v>
                </c:pt>
                <c:pt idx="3653">
                  <c:v>45.887</c:v>
                </c:pt>
                <c:pt idx="3654">
                  <c:v>45.981999999999999</c:v>
                </c:pt>
                <c:pt idx="3655">
                  <c:v>45.695999999999998</c:v>
                </c:pt>
                <c:pt idx="3656">
                  <c:v>46.463000000000001</c:v>
                </c:pt>
                <c:pt idx="3657">
                  <c:v>45.695999999999998</c:v>
                </c:pt>
                <c:pt idx="3658">
                  <c:v>45.887</c:v>
                </c:pt>
                <c:pt idx="3659">
                  <c:v>45.597999999999999</c:v>
                </c:pt>
                <c:pt idx="3660">
                  <c:v>46.271000000000001</c:v>
                </c:pt>
                <c:pt idx="3661">
                  <c:v>46.078000000000003</c:v>
                </c:pt>
                <c:pt idx="3662">
                  <c:v>45.406999999999996</c:v>
                </c:pt>
                <c:pt idx="3663">
                  <c:v>45.981999999999999</c:v>
                </c:pt>
                <c:pt idx="3664">
                  <c:v>45.695999999999998</c:v>
                </c:pt>
                <c:pt idx="3665">
                  <c:v>45.887</c:v>
                </c:pt>
                <c:pt idx="3666">
                  <c:v>46.366999999999997</c:v>
                </c:pt>
                <c:pt idx="3667">
                  <c:v>46.078000000000003</c:v>
                </c:pt>
                <c:pt idx="3668">
                  <c:v>46.078000000000003</c:v>
                </c:pt>
                <c:pt idx="3669">
                  <c:v>45.887</c:v>
                </c:pt>
                <c:pt idx="3670">
                  <c:v>45.695999999999998</c:v>
                </c:pt>
                <c:pt idx="3671">
                  <c:v>46.176000000000002</c:v>
                </c:pt>
                <c:pt idx="3672">
                  <c:v>45.981999999999999</c:v>
                </c:pt>
                <c:pt idx="3673">
                  <c:v>45.981999999999999</c:v>
                </c:pt>
                <c:pt idx="3674">
                  <c:v>46.271000000000001</c:v>
                </c:pt>
                <c:pt idx="3675">
                  <c:v>45.981999999999999</c:v>
                </c:pt>
                <c:pt idx="3676">
                  <c:v>46.078000000000003</c:v>
                </c:pt>
                <c:pt idx="3677">
                  <c:v>45.981999999999999</c:v>
                </c:pt>
                <c:pt idx="3678">
                  <c:v>46.176000000000002</c:v>
                </c:pt>
                <c:pt idx="3679">
                  <c:v>46.176000000000002</c:v>
                </c:pt>
                <c:pt idx="3680">
                  <c:v>46.366999999999997</c:v>
                </c:pt>
                <c:pt idx="3681">
                  <c:v>45.790999999999997</c:v>
                </c:pt>
                <c:pt idx="3682">
                  <c:v>46.463000000000001</c:v>
                </c:pt>
                <c:pt idx="3683">
                  <c:v>45.695999999999998</c:v>
                </c:pt>
                <c:pt idx="3684">
                  <c:v>45.695999999999998</c:v>
                </c:pt>
                <c:pt idx="3685">
                  <c:v>45.981999999999999</c:v>
                </c:pt>
                <c:pt idx="3686">
                  <c:v>46.176000000000002</c:v>
                </c:pt>
                <c:pt idx="3687">
                  <c:v>45.981999999999999</c:v>
                </c:pt>
                <c:pt idx="3688">
                  <c:v>46.176000000000002</c:v>
                </c:pt>
                <c:pt idx="3689">
                  <c:v>45.695999999999998</c:v>
                </c:pt>
                <c:pt idx="3690">
                  <c:v>46.078000000000003</c:v>
                </c:pt>
                <c:pt idx="3691">
                  <c:v>46.176000000000002</c:v>
                </c:pt>
                <c:pt idx="3692">
                  <c:v>45.981999999999999</c:v>
                </c:pt>
                <c:pt idx="3693">
                  <c:v>46.078000000000003</c:v>
                </c:pt>
                <c:pt idx="3694">
                  <c:v>46.176000000000002</c:v>
                </c:pt>
                <c:pt idx="3695">
                  <c:v>45.790999999999997</c:v>
                </c:pt>
                <c:pt idx="3696">
                  <c:v>46.366999999999997</c:v>
                </c:pt>
                <c:pt idx="3697">
                  <c:v>46.078000000000003</c:v>
                </c:pt>
                <c:pt idx="3698">
                  <c:v>45.981999999999999</c:v>
                </c:pt>
                <c:pt idx="3699">
                  <c:v>45.695999999999998</c:v>
                </c:pt>
                <c:pt idx="3700">
                  <c:v>45.887</c:v>
                </c:pt>
                <c:pt idx="3701">
                  <c:v>46.078000000000003</c:v>
                </c:pt>
                <c:pt idx="3702">
                  <c:v>46.176000000000002</c:v>
                </c:pt>
                <c:pt idx="3703">
                  <c:v>45.887</c:v>
                </c:pt>
                <c:pt idx="3704">
                  <c:v>45.790999999999997</c:v>
                </c:pt>
                <c:pt idx="3705">
                  <c:v>46.078000000000003</c:v>
                </c:pt>
                <c:pt idx="3706">
                  <c:v>46.176000000000002</c:v>
                </c:pt>
                <c:pt idx="3707">
                  <c:v>46.271000000000001</c:v>
                </c:pt>
                <c:pt idx="3708">
                  <c:v>45.502000000000002</c:v>
                </c:pt>
                <c:pt idx="3709">
                  <c:v>46.176000000000002</c:v>
                </c:pt>
                <c:pt idx="3710">
                  <c:v>45.981999999999999</c:v>
                </c:pt>
                <c:pt idx="3711">
                  <c:v>45.981999999999999</c:v>
                </c:pt>
                <c:pt idx="3712">
                  <c:v>46.366999999999997</c:v>
                </c:pt>
                <c:pt idx="3713">
                  <c:v>46.558</c:v>
                </c:pt>
                <c:pt idx="3714">
                  <c:v>45.981999999999999</c:v>
                </c:pt>
                <c:pt idx="3715">
                  <c:v>45.981999999999999</c:v>
                </c:pt>
                <c:pt idx="3716">
                  <c:v>45.695999999999998</c:v>
                </c:pt>
                <c:pt idx="3717">
                  <c:v>46.078000000000003</c:v>
                </c:pt>
                <c:pt idx="3718">
                  <c:v>46.366999999999997</c:v>
                </c:pt>
                <c:pt idx="3719">
                  <c:v>46.078000000000003</c:v>
                </c:pt>
                <c:pt idx="3720">
                  <c:v>45.981999999999999</c:v>
                </c:pt>
                <c:pt idx="3721">
                  <c:v>45.981999999999999</c:v>
                </c:pt>
                <c:pt idx="3722">
                  <c:v>46.078000000000003</c:v>
                </c:pt>
                <c:pt idx="3723">
                  <c:v>46.463000000000001</c:v>
                </c:pt>
                <c:pt idx="3724">
                  <c:v>45.981999999999999</c:v>
                </c:pt>
                <c:pt idx="3725">
                  <c:v>46.078000000000003</c:v>
                </c:pt>
                <c:pt idx="3726">
                  <c:v>45.790999999999997</c:v>
                </c:pt>
                <c:pt idx="3727">
                  <c:v>46.176000000000002</c:v>
                </c:pt>
                <c:pt idx="3728">
                  <c:v>46.078000000000003</c:v>
                </c:pt>
                <c:pt idx="3729">
                  <c:v>45.981999999999999</c:v>
                </c:pt>
                <c:pt idx="3730">
                  <c:v>46.271000000000001</c:v>
                </c:pt>
                <c:pt idx="3731">
                  <c:v>46.366999999999997</c:v>
                </c:pt>
                <c:pt idx="3732">
                  <c:v>45.981999999999999</c:v>
                </c:pt>
                <c:pt idx="3733">
                  <c:v>46.176000000000002</c:v>
                </c:pt>
                <c:pt idx="3734">
                  <c:v>46.176000000000002</c:v>
                </c:pt>
                <c:pt idx="3735">
                  <c:v>46.271000000000001</c:v>
                </c:pt>
                <c:pt idx="3736">
                  <c:v>45.887</c:v>
                </c:pt>
                <c:pt idx="3737">
                  <c:v>46.463000000000001</c:v>
                </c:pt>
                <c:pt idx="3738">
                  <c:v>45.981999999999999</c:v>
                </c:pt>
                <c:pt idx="3739">
                  <c:v>46.078000000000003</c:v>
                </c:pt>
                <c:pt idx="3740">
                  <c:v>46.176000000000002</c:v>
                </c:pt>
                <c:pt idx="3741">
                  <c:v>45.790999999999997</c:v>
                </c:pt>
                <c:pt idx="3742">
                  <c:v>45.981999999999999</c:v>
                </c:pt>
                <c:pt idx="3743">
                  <c:v>45.887</c:v>
                </c:pt>
                <c:pt idx="3744">
                  <c:v>46.176000000000002</c:v>
                </c:pt>
                <c:pt idx="3745">
                  <c:v>46.176000000000002</c:v>
                </c:pt>
                <c:pt idx="3746">
                  <c:v>46.558</c:v>
                </c:pt>
                <c:pt idx="3747">
                  <c:v>46.176000000000002</c:v>
                </c:pt>
                <c:pt idx="3748">
                  <c:v>46.271000000000001</c:v>
                </c:pt>
                <c:pt idx="3749">
                  <c:v>46.271000000000001</c:v>
                </c:pt>
                <c:pt idx="3750">
                  <c:v>46.558</c:v>
                </c:pt>
                <c:pt idx="3751">
                  <c:v>45.887</c:v>
                </c:pt>
                <c:pt idx="3752">
                  <c:v>46.176000000000002</c:v>
                </c:pt>
                <c:pt idx="3753">
                  <c:v>46.366999999999997</c:v>
                </c:pt>
                <c:pt idx="3754">
                  <c:v>46.176000000000002</c:v>
                </c:pt>
                <c:pt idx="3755">
                  <c:v>46.176000000000002</c:v>
                </c:pt>
                <c:pt idx="3756">
                  <c:v>46.176000000000002</c:v>
                </c:pt>
                <c:pt idx="3757">
                  <c:v>45.981999999999999</c:v>
                </c:pt>
                <c:pt idx="3758">
                  <c:v>45.790999999999997</c:v>
                </c:pt>
                <c:pt idx="3759">
                  <c:v>46.366999999999997</c:v>
                </c:pt>
                <c:pt idx="3760">
                  <c:v>46.558</c:v>
                </c:pt>
                <c:pt idx="3761">
                  <c:v>45.887</c:v>
                </c:pt>
                <c:pt idx="3762">
                  <c:v>46.366999999999997</c:v>
                </c:pt>
                <c:pt idx="3763">
                  <c:v>46.078000000000003</c:v>
                </c:pt>
                <c:pt idx="3764">
                  <c:v>46.366999999999997</c:v>
                </c:pt>
                <c:pt idx="3765">
                  <c:v>45.981999999999999</c:v>
                </c:pt>
                <c:pt idx="3766">
                  <c:v>46.078000000000003</c:v>
                </c:pt>
                <c:pt idx="3767">
                  <c:v>45.981999999999999</c:v>
                </c:pt>
                <c:pt idx="3768">
                  <c:v>46.366999999999997</c:v>
                </c:pt>
                <c:pt idx="3769">
                  <c:v>45.887</c:v>
                </c:pt>
                <c:pt idx="3770">
                  <c:v>45.981999999999999</c:v>
                </c:pt>
                <c:pt idx="3771">
                  <c:v>46.176000000000002</c:v>
                </c:pt>
                <c:pt idx="3772">
                  <c:v>46.463000000000001</c:v>
                </c:pt>
                <c:pt idx="3773">
                  <c:v>45.887</c:v>
                </c:pt>
                <c:pt idx="3774">
                  <c:v>46.463000000000001</c:v>
                </c:pt>
                <c:pt idx="3775">
                  <c:v>46.271000000000001</c:v>
                </c:pt>
                <c:pt idx="3776">
                  <c:v>45.981999999999999</c:v>
                </c:pt>
                <c:pt idx="3777">
                  <c:v>46.078000000000003</c:v>
                </c:pt>
                <c:pt idx="3778">
                  <c:v>45.981999999999999</c:v>
                </c:pt>
                <c:pt idx="3779">
                  <c:v>46.271000000000001</c:v>
                </c:pt>
                <c:pt idx="3780">
                  <c:v>46.078000000000003</c:v>
                </c:pt>
                <c:pt idx="3781">
                  <c:v>46.463000000000001</c:v>
                </c:pt>
                <c:pt idx="3782">
                  <c:v>46.078000000000003</c:v>
                </c:pt>
                <c:pt idx="3783">
                  <c:v>46.366999999999997</c:v>
                </c:pt>
                <c:pt idx="3784">
                  <c:v>46.463000000000001</c:v>
                </c:pt>
                <c:pt idx="3785">
                  <c:v>46.078000000000003</c:v>
                </c:pt>
                <c:pt idx="3786">
                  <c:v>46.176000000000002</c:v>
                </c:pt>
                <c:pt idx="3787">
                  <c:v>46.271000000000001</c:v>
                </c:pt>
                <c:pt idx="3788">
                  <c:v>46.366999999999997</c:v>
                </c:pt>
                <c:pt idx="3789">
                  <c:v>46.463000000000001</c:v>
                </c:pt>
                <c:pt idx="3790">
                  <c:v>46.078000000000003</c:v>
                </c:pt>
                <c:pt idx="3791">
                  <c:v>46.078000000000003</c:v>
                </c:pt>
                <c:pt idx="3792">
                  <c:v>46.463000000000001</c:v>
                </c:pt>
                <c:pt idx="3793">
                  <c:v>46.366999999999997</c:v>
                </c:pt>
                <c:pt idx="3794">
                  <c:v>46.078000000000003</c:v>
                </c:pt>
                <c:pt idx="3795">
                  <c:v>46.271000000000001</c:v>
                </c:pt>
                <c:pt idx="3796">
                  <c:v>46.558</c:v>
                </c:pt>
                <c:pt idx="3797">
                  <c:v>46.463000000000001</c:v>
                </c:pt>
                <c:pt idx="3798">
                  <c:v>46.176000000000002</c:v>
                </c:pt>
                <c:pt idx="3799">
                  <c:v>46.176000000000002</c:v>
                </c:pt>
                <c:pt idx="3800">
                  <c:v>46.366999999999997</c:v>
                </c:pt>
                <c:pt idx="3801">
                  <c:v>45.981999999999999</c:v>
                </c:pt>
                <c:pt idx="3802">
                  <c:v>45.790999999999997</c:v>
                </c:pt>
                <c:pt idx="3803">
                  <c:v>46.078000000000003</c:v>
                </c:pt>
                <c:pt idx="3804">
                  <c:v>46.558</c:v>
                </c:pt>
                <c:pt idx="3805">
                  <c:v>46.366999999999997</c:v>
                </c:pt>
                <c:pt idx="3806">
                  <c:v>46.176000000000002</c:v>
                </c:pt>
                <c:pt idx="3807">
                  <c:v>46.558</c:v>
                </c:pt>
                <c:pt idx="3808">
                  <c:v>46.463000000000001</c:v>
                </c:pt>
                <c:pt idx="3809">
                  <c:v>46.176000000000002</c:v>
                </c:pt>
                <c:pt idx="3810">
                  <c:v>46.271000000000001</c:v>
                </c:pt>
                <c:pt idx="3811">
                  <c:v>46.558</c:v>
                </c:pt>
                <c:pt idx="3812">
                  <c:v>45.981999999999999</c:v>
                </c:pt>
                <c:pt idx="3813">
                  <c:v>46.366999999999997</c:v>
                </c:pt>
                <c:pt idx="3814">
                  <c:v>46.655999999999999</c:v>
                </c:pt>
                <c:pt idx="3815">
                  <c:v>46.655999999999999</c:v>
                </c:pt>
                <c:pt idx="3816">
                  <c:v>45.981999999999999</c:v>
                </c:pt>
                <c:pt idx="3817">
                  <c:v>46.271000000000001</c:v>
                </c:pt>
                <c:pt idx="3818">
                  <c:v>46.463000000000001</c:v>
                </c:pt>
                <c:pt idx="3819">
                  <c:v>46.271000000000001</c:v>
                </c:pt>
                <c:pt idx="3820">
                  <c:v>46.271000000000001</c:v>
                </c:pt>
                <c:pt idx="3821">
                  <c:v>46.366999999999997</c:v>
                </c:pt>
                <c:pt idx="3822">
                  <c:v>46.655999999999999</c:v>
                </c:pt>
                <c:pt idx="3823">
                  <c:v>46.271000000000001</c:v>
                </c:pt>
                <c:pt idx="3824">
                  <c:v>46.366999999999997</c:v>
                </c:pt>
                <c:pt idx="3825">
                  <c:v>45.981999999999999</c:v>
                </c:pt>
                <c:pt idx="3826">
                  <c:v>46.271000000000001</c:v>
                </c:pt>
                <c:pt idx="3827">
                  <c:v>45.887</c:v>
                </c:pt>
                <c:pt idx="3828">
                  <c:v>46.558</c:v>
                </c:pt>
                <c:pt idx="3829">
                  <c:v>46.366999999999997</c:v>
                </c:pt>
                <c:pt idx="3830">
                  <c:v>46.078000000000003</c:v>
                </c:pt>
                <c:pt idx="3831">
                  <c:v>46.463000000000001</c:v>
                </c:pt>
                <c:pt idx="3832">
                  <c:v>46.271000000000001</c:v>
                </c:pt>
                <c:pt idx="3833">
                  <c:v>46.176000000000002</c:v>
                </c:pt>
                <c:pt idx="3834">
                  <c:v>46.463000000000001</c:v>
                </c:pt>
                <c:pt idx="3835">
                  <c:v>46.655999999999999</c:v>
                </c:pt>
                <c:pt idx="3836">
                  <c:v>45.981999999999999</c:v>
                </c:pt>
                <c:pt idx="3837">
                  <c:v>46.655999999999999</c:v>
                </c:pt>
                <c:pt idx="3838">
                  <c:v>46.176000000000002</c:v>
                </c:pt>
                <c:pt idx="3839">
                  <c:v>46.366999999999997</c:v>
                </c:pt>
                <c:pt idx="3840">
                  <c:v>45.981999999999999</c:v>
                </c:pt>
                <c:pt idx="3841">
                  <c:v>46.558</c:v>
                </c:pt>
                <c:pt idx="3842">
                  <c:v>46.655999999999999</c:v>
                </c:pt>
                <c:pt idx="3843">
                  <c:v>46.366999999999997</c:v>
                </c:pt>
                <c:pt idx="3844">
                  <c:v>45.981999999999999</c:v>
                </c:pt>
                <c:pt idx="3845">
                  <c:v>46.176000000000002</c:v>
                </c:pt>
                <c:pt idx="3846">
                  <c:v>46.558</c:v>
                </c:pt>
                <c:pt idx="3847">
                  <c:v>46.655999999999999</c:v>
                </c:pt>
                <c:pt idx="3848">
                  <c:v>46.366999999999997</c:v>
                </c:pt>
                <c:pt idx="3849">
                  <c:v>46.750999999999998</c:v>
                </c:pt>
                <c:pt idx="3850">
                  <c:v>46.078000000000003</c:v>
                </c:pt>
                <c:pt idx="3851">
                  <c:v>46.558</c:v>
                </c:pt>
                <c:pt idx="3852">
                  <c:v>46.366999999999997</c:v>
                </c:pt>
                <c:pt idx="3853">
                  <c:v>46.271000000000001</c:v>
                </c:pt>
                <c:pt idx="3854">
                  <c:v>46.176000000000002</c:v>
                </c:pt>
                <c:pt idx="3855">
                  <c:v>46.078000000000003</c:v>
                </c:pt>
                <c:pt idx="3856">
                  <c:v>46.271000000000001</c:v>
                </c:pt>
                <c:pt idx="3857">
                  <c:v>46.655999999999999</c:v>
                </c:pt>
                <c:pt idx="3858">
                  <c:v>46.366999999999997</c:v>
                </c:pt>
                <c:pt idx="3859">
                  <c:v>46.655999999999999</c:v>
                </c:pt>
                <c:pt idx="3860">
                  <c:v>45.981999999999999</c:v>
                </c:pt>
                <c:pt idx="3861">
                  <c:v>46.176000000000002</c:v>
                </c:pt>
                <c:pt idx="3862">
                  <c:v>46.463000000000001</c:v>
                </c:pt>
                <c:pt idx="3863">
                  <c:v>46.463000000000001</c:v>
                </c:pt>
                <c:pt idx="3864">
                  <c:v>46.271000000000001</c:v>
                </c:pt>
                <c:pt idx="3865">
                  <c:v>46.463000000000001</c:v>
                </c:pt>
                <c:pt idx="3866">
                  <c:v>46.463000000000001</c:v>
                </c:pt>
                <c:pt idx="3867">
                  <c:v>46.078000000000003</c:v>
                </c:pt>
                <c:pt idx="3868">
                  <c:v>46.078000000000003</c:v>
                </c:pt>
                <c:pt idx="3869">
                  <c:v>46.078000000000003</c:v>
                </c:pt>
                <c:pt idx="3870">
                  <c:v>46.078000000000003</c:v>
                </c:pt>
                <c:pt idx="3871">
                  <c:v>46.366999999999997</c:v>
                </c:pt>
                <c:pt idx="3872">
                  <c:v>46.463000000000001</c:v>
                </c:pt>
                <c:pt idx="3873">
                  <c:v>46.750999999999998</c:v>
                </c:pt>
                <c:pt idx="3874">
                  <c:v>46.655999999999999</c:v>
                </c:pt>
                <c:pt idx="3875">
                  <c:v>46.463000000000001</c:v>
                </c:pt>
                <c:pt idx="3876">
                  <c:v>46.078000000000003</c:v>
                </c:pt>
                <c:pt idx="3877">
                  <c:v>46.176000000000002</c:v>
                </c:pt>
                <c:pt idx="3878">
                  <c:v>46.463000000000001</c:v>
                </c:pt>
                <c:pt idx="3879">
                  <c:v>46.271000000000001</c:v>
                </c:pt>
                <c:pt idx="3880">
                  <c:v>46.463000000000001</c:v>
                </c:pt>
                <c:pt idx="3881">
                  <c:v>46.176000000000002</c:v>
                </c:pt>
                <c:pt idx="3882">
                  <c:v>45.887</c:v>
                </c:pt>
                <c:pt idx="3883">
                  <c:v>46.750999999999998</c:v>
                </c:pt>
                <c:pt idx="3884">
                  <c:v>46.463000000000001</c:v>
                </c:pt>
                <c:pt idx="3885">
                  <c:v>46.176000000000002</c:v>
                </c:pt>
                <c:pt idx="3886">
                  <c:v>46.463000000000001</c:v>
                </c:pt>
                <c:pt idx="3887">
                  <c:v>46.655999999999999</c:v>
                </c:pt>
                <c:pt idx="3888">
                  <c:v>46.078000000000003</c:v>
                </c:pt>
                <c:pt idx="3889">
                  <c:v>46.463000000000001</c:v>
                </c:pt>
                <c:pt idx="3890">
                  <c:v>46.655999999999999</c:v>
                </c:pt>
                <c:pt idx="3891">
                  <c:v>46.463000000000001</c:v>
                </c:pt>
                <c:pt idx="3892">
                  <c:v>46.655999999999999</c:v>
                </c:pt>
                <c:pt idx="3893">
                  <c:v>46.176000000000002</c:v>
                </c:pt>
                <c:pt idx="3894">
                  <c:v>46.750999999999998</c:v>
                </c:pt>
                <c:pt idx="3895">
                  <c:v>46.463000000000001</c:v>
                </c:pt>
                <c:pt idx="3896">
                  <c:v>46.750999999999998</c:v>
                </c:pt>
                <c:pt idx="3897">
                  <c:v>46.366999999999997</c:v>
                </c:pt>
                <c:pt idx="3898">
                  <c:v>45.887</c:v>
                </c:pt>
                <c:pt idx="3899">
                  <c:v>45.981999999999999</c:v>
                </c:pt>
                <c:pt idx="3900">
                  <c:v>46.271000000000001</c:v>
                </c:pt>
                <c:pt idx="3901">
                  <c:v>46.078000000000003</c:v>
                </c:pt>
                <c:pt idx="3902">
                  <c:v>46.558</c:v>
                </c:pt>
                <c:pt idx="3903">
                  <c:v>46.558</c:v>
                </c:pt>
                <c:pt idx="3904">
                  <c:v>46.176000000000002</c:v>
                </c:pt>
                <c:pt idx="3905">
                  <c:v>46.078000000000003</c:v>
                </c:pt>
                <c:pt idx="3906">
                  <c:v>46.558</c:v>
                </c:pt>
                <c:pt idx="3907">
                  <c:v>46.655999999999999</c:v>
                </c:pt>
                <c:pt idx="3908">
                  <c:v>46.750999999999998</c:v>
                </c:pt>
                <c:pt idx="3909">
                  <c:v>46.463000000000001</c:v>
                </c:pt>
                <c:pt idx="3910">
                  <c:v>46.078000000000003</c:v>
                </c:pt>
                <c:pt idx="3911">
                  <c:v>46.558</c:v>
                </c:pt>
                <c:pt idx="3912">
                  <c:v>46.655999999999999</c:v>
                </c:pt>
                <c:pt idx="3913">
                  <c:v>46.271000000000001</c:v>
                </c:pt>
                <c:pt idx="3914">
                  <c:v>46.655999999999999</c:v>
                </c:pt>
                <c:pt idx="3915">
                  <c:v>46.271000000000001</c:v>
                </c:pt>
                <c:pt idx="3916">
                  <c:v>46.176000000000002</c:v>
                </c:pt>
                <c:pt idx="3917">
                  <c:v>46.558</c:v>
                </c:pt>
                <c:pt idx="3918">
                  <c:v>46.558</c:v>
                </c:pt>
                <c:pt idx="3919">
                  <c:v>46.750999999999998</c:v>
                </c:pt>
                <c:pt idx="3920">
                  <c:v>46.558</c:v>
                </c:pt>
                <c:pt idx="3921">
                  <c:v>46.463000000000001</c:v>
                </c:pt>
                <c:pt idx="3922">
                  <c:v>46.942999999999998</c:v>
                </c:pt>
                <c:pt idx="3923">
                  <c:v>46.655999999999999</c:v>
                </c:pt>
                <c:pt idx="3924">
                  <c:v>46.558</c:v>
                </c:pt>
                <c:pt idx="3925">
                  <c:v>46.558</c:v>
                </c:pt>
                <c:pt idx="3926">
                  <c:v>47.136000000000003</c:v>
                </c:pt>
                <c:pt idx="3927">
                  <c:v>46.847000000000001</c:v>
                </c:pt>
                <c:pt idx="3928">
                  <c:v>46.271000000000001</c:v>
                </c:pt>
                <c:pt idx="3929">
                  <c:v>46.942999999999998</c:v>
                </c:pt>
                <c:pt idx="3930">
                  <c:v>46.078000000000003</c:v>
                </c:pt>
                <c:pt idx="3931">
                  <c:v>46.750999999999998</c:v>
                </c:pt>
                <c:pt idx="3932">
                  <c:v>46.463000000000001</c:v>
                </c:pt>
                <c:pt idx="3933">
                  <c:v>46.558</c:v>
                </c:pt>
                <c:pt idx="3934">
                  <c:v>46.366999999999997</c:v>
                </c:pt>
                <c:pt idx="3935">
                  <c:v>46.847000000000001</c:v>
                </c:pt>
                <c:pt idx="3936">
                  <c:v>46.463000000000001</c:v>
                </c:pt>
                <c:pt idx="3937">
                  <c:v>46.463000000000001</c:v>
                </c:pt>
                <c:pt idx="3938">
                  <c:v>46.366999999999997</c:v>
                </c:pt>
                <c:pt idx="3939">
                  <c:v>46.463000000000001</c:v>
                </c:pt>
                <c:pt idx="3940">
                  <c:v>46.463000000000001</c:v>
                </c:pt>
                <c:pt idx="3941">
                  <c:v>46.847000000000001</c:v>
                </c:pt>
                <c:pt idx="3942">
                  <c:v>46.176000000000002</c:v>
                </c:pt>
                <c:pt idx="3943">
                  <c:v>46.655999999999999</c:v>
                </c:pt>
                <c:pt idx="3944">
                  <c:v>46.942999999999998</c:v>
                </c:pt>
                <c:pt idx="3945">
                  <c:v>46.655999999999999</c:v>
                </c:pt>
                <c:pt idx="3946">
                  <c:v>46.558</c:v>
                </c:pt>
                <c:pt idx="3947">
                  <c:v>46.942999999999998</c:v>
                </c:pt>
                <c:pt idx="3948">
                  <c:v>46.847000000000001</c:v>
                </c:pt>
                <c:pt idx="3949">
                  <c:v>46.847000000000001</c:v>
                </c:pt>
                <c:pt idx="3950">
                  <c:v>46.847000000000001</c:v>
                </c:pt>
                <c:pt idx="3951">
                  <c:v>46.463000000000001</c:v>
                </c:pt>
                <c:pt idx="3952">
                  <c:v>46.942999999999998</c:v>
                </c:pt>
                <c:pt idx="3953">
                  <c:v>46.078000000000003</c:v>
                </c:pt>
                <c:pt idx="3954">
                  <c:v>46.271000000000001</c:v>
                </c:pt>
                <c:pt idx="3955">
                  <c:v>46.558</c:v>
                </c:pt>
                <c:pt idx="3956">
                  <c:v>46.655999999999999</c:v>
                </c:pt>
                <c:pt idx="3957">
                  <c:v>46.558</c:v>
                </c:pt>
                <c:pt idx="3958">
                  <c:v>46.558</c:v>
                </c:pt>
                <c:pt idx="3959">
                  <c:v>46.463000000000001</c:v>
                </c:pt>
                <c:pt idx="3960">
                  <c:v>45.981999999999999</c:v>
                </c:pt>
                <c:pt idx="3961">
                  <c:v>46.463000000000001</c:v>
                </c:pt>
                <c:pt idx="3962">
                  <c:v>46.655999999999999</c:v>
                </c:pt>
                <c:pt idx="3963">
                  <c:v>46.655999999999999</c:v>
                </c:pt>
                <c:pt idx="3964">
                  <c:v>46.366999999999997</c:v>
                </c:pt>
                <c:pt idx="3965">
                  <c:v>46.655999999999999</c:v>
                </c:pt>
                <c:pt idx="3966">
                  <c:v>47.037999999999997</c:v>
                </c:pt>
                <c:pt idx="3967">
                  <c:v>46.750999999999998</c:v>
                </c:pt>
                <c:pt idx="3968">
                  <c:v>47.136000000000003</c:v>
                </c:pt>
                <c:pt idx="3969">
                  <c:v>46.750999999999998</c:v>
                </c:pt>
                <c:pt idx="3970">
                  <c:v>46.655999999999999</c:v>
                </c:pt>
                <c:pt idx="3971">
                  <c:v>46.750999999999998</c:v>
                </c:pt>
                <c:pt idx="3972">
                  <c:v>46.655999999999999</c:v>
                </c:pt>
                <c:pt idx="3973">
                  <c:v>46.271000000000001</c:v>
                </c:pt>
                <c:pt idx="3974">
                  <c:v>46.558</c:v>
                </c:pt>
                <c:pt idx="3975">
                  <c:v>46.366999999999997</c:v>
                </c:pt>
                <c:pt idx="3976">
                  <c:v>46.655999999999999</c:v>
                </c:pt>
                <c:pt idx="3977">
                  <c:v>46.750999999999998</c:v>
                </c:pt>
                <c:pt idx="3978">
                  <c:v>46.847000000000001</c:v>
                </c:pt>
                <c:pt idx="3979">
                  <c:v>46.655999999999999</c:v>
                </c:pt>
                <c:pt idx="3980">
                  <c:v>46.271000000000001</c:v>
                </c:pt>
                <c:pt idx="3981">
                  <c:v>46.463000000000001</c:v>
                </c:pt>
                <c:pt idx="3982">
                  <c:v>46.366999999999997</c:v>
                </c:pt>
                <c:pt idx="3983">
                  <c:v>46.271000000000001</c:v>
                </c:pt>
                <c:pt idx="3984">
                  <c:v>46.558</c:v>
                </c:pt>
                <c:pt idx="3985">
                  <c:v>46.655999999999999</c:v>
                </c:pt>
                <c:pt idx="3986">
                  <c:v>46.271000000000001</c:v>
                </c:pt>
                <c:pt idx="3987">
                  <c:v>46.366999999999997</c:v>
                </c:pt>
                <c:pt idx="3988">
                  <c:v>46.750999999999998</c:v>
                </c:pt>
                <c:pt idx="3989">
                  <c:v>46.655999999999999</c:v>
                </c:pt>
                <c:pt idx="3990">
                  <c:v>46.750999999999998</c:v>
                </c:pt>
                <c:pt idx="3991">
                  <c:v>46.942999999999998</c:v>
                </c:pt>
                <c:pt idx="3992">
                  <c:v>46.655999999999999</c:v>
                </c:pt>
                <c:pt idx="3993">
                  <c:v>46.847000000000001</c:v>
                </c:pt>
                <c:pt idx="3994">
                  <c:v>46.366999999999997</c:v>
                </c:pt>
                <c:pt idx="3995">
                  <c:v>46.655999999999999</c:v>
                </c:pt>
                <c:pt idx="3996">
                  <c:v>47.136000000000003</c:v>
                </c:pt>
                <c:pt idx="3997">
                  <c:v>47.037999999999997</c:v>
                </c:pt>
                <c:pt idx="3998">
                  <c:v>46.366999999999997</c:v>
                </c:pt>
                <c:pt idx="3999">
                  <c:v>46.558</c:v>
                </c:pt>
                <c:pt idx="4000">
                  <c:v>46.750999999999998</c:v>
                </c:pt>
                <c:pt idx="4001">
                  <c:v>46.750999999999998</c:v>
                </c:pt>
                <c:pt idx="4002">
                  <c:v>46.463000000000001</c:v>
                </c:pt>
                <c:pt idx="4003">
                  <c:v>47.037999999999997</c:v>
                </c:pt>
                <c:pt idx="4004">
                  <c:v>46.942999999999998</c:v>
                </c:pt>
                <c:pt idx="4005">
                  <c:v>46.847000000000001</c:v>
                </c:pt>
                <c:pt idx="4006">
                  <c:v>46.655999999999999</c:v>
                </c:pt>
                <c:pt idx="4007">
                  <c:v>46.750999999999998</c:v>
                </c:pt>
                <c:pt idx="4008">
                  <c:v>46.655999999999999</c:v>
                </c:pt>
                <c:pt idx="4009">
                  <c:v>46.847000000000001</c:v>
                </c:pt>
                <c:pt idx="4010">
                  <c:v>46.558</c:v>
                </c:pt>
                <c:pt idx="4011">
                  <c:v>46.655999999999999</c:v>
                </c:pt>
                <c:pt idx="4012">
                  <c:v>46.655999999999999</c:v>
                </c:pt>
                <c:pt idx="4013">
                  <c:v>46.463000000000001</c:v>
                </c:pt>
                <c:pt idx="4014">
                  <c:v>46.750999999999998</c:v>
                </c:pt>
                <c:pt idx="4015">
                  <c:v>46.271000000000001</c:v>
                </c:pt>
                <c:pt idx="4016">
                  <c:v>46.942999999999998</c:v>
                </c:pt>
                <c:pt idx="4017">
                  <c:v>47.037999999999997</c:v>
                </c:pt>
                <c:pt idx="4018">
                  <c:v>46.463000000000001</c:v>
                </c:pt>
                <c:pt idx="4019">
                  <c:v>46.655999999999999</c:v>
                </c:pt>
                <c:pt idx="4020">
                  <c:v>46.655999999999999</c:v>
                </c:pt>
                <c:pt idx="4021">
                  <c:v>46.750999999999998</c:v>
                </c:pt>
                <c:pt idx="4022">
                  <c:v>46.655999999999999</c:v>
                </c:pt>
                <c:pt idx="4023">
                  <c:v>46.942999999999998</c:v>
                </c:pt>
                <c:pt idx="4024">
                  <c:v>46.655999999999999</c:v>
                </c:pt>
                <c:pt idx="4025">
                  <c:v>47.231000000000002</c:v>
                </c:pt>
                <c:pt idx="4026">
                  <c:v>46.558</c:v>
                </c:pt>
                <c:pt idx="4027">
                  <c:v>46.847000000000001</c:v>
                </c:pt>
                <c:pt idx="4028">
                  <c:v>47.037999999999997</c:v>
                </c:pt>
                <c:pt idx="4029">
                  <c:v>46.750999999999998</c:v>
                </c:pt>
                <c:pt idx="4030">
                  <c:v>46.558</c:v>
                </c:pt>
                <c:pt idx="4031">
                  <c:v>46.750999999999998</c:v>
                </c:pt>
                <c:pt idx="4032">
                  <c:v>46.750999999999998</c:v>
                </c:pt>
                <c:pt idx="4033">
                  <c:v>46.847000000000001</c:v>
                </c:pt>
                <c:pt idx="4034">
                  <c:v>46.655999999999999</c:v>
                </c:pt>
                <c:pt idx="4035">
                  <c:v>46.655999999999999</c:v>
                </c:pt>
                <c:pt idx="4036">
                  <c:v>46.558</c:v>
                </c:pt>
                <c:pt idx="4037">
                  <c:v>46.847000000000001</c:v>
                </c:pt>
                <c:pt idx="4038">
                  <c:v>46.847000000000001</c:v>
                </c:pt>
                <c:pt idx="4039">
                  <c:v>46.750999999999998</c:v>
                </c:pt>
                <c:pt idx="4040">
                  <c:v>46.750999999999998</c:v>
                </c:pt>
                <c:pt idx="4041">
                  <c:v>46.847000000000001</c:v>
                </c:pt>
                <c:pt idx="4042">
                  <c:v>46.942999999999998</c:v>
                </c:pt>
                <c:pt idx="4043">
                  <c:v>47.037999999999997</c:v>
                </c:pt>
                <c:pt idx="4044">
                  <c:v>46.847000000000001</c:v>
                </c:pt>
                <c:pt idx="4045">
                  <c:v>46.655999999999999</c:v>
                </c:pt>
                <c:pt idx="4046">
                  <c:v>46.750999999999998</c:v>
                </c:pt>
                <c:pt idx="4047">
                  <c:v>46.750999999999998</c:v>
                </c:pt>
                <c:pt idx="4048">
                  <c:v>46.847000000000001</c:v>
                </c:pt>
                <c:pt idx="4049">
                  <c:v>47.037999999999997</c:v>
                </c:pt>
                <c:pt idx="4050">
                  <c:v>46.942999999999998</c:v>
                </c:pt>
                <c:pt idx="4051">
                  <c:v>46.655999999999999</c:v>
                </c:pt>
                <c:pt idx="4052">
                  <c:v>46.750999999999998</c:v>
                </c:pt>
                <c:pt idx="4053">
                  <c:v>47.231000000000002</c:v>
                </c:pt>
                <c:pt idx="4054">
                  <c:v>47.136000000000003</c:v>
                </c:pt>
                <c:pt idx="4055">
                  <c:v>46.847000000000001</c:v>
                </c:pt>
                <c:pt idx="4056">
                  <c:v>46.558</c:v>
                </c:pt>
                <c:pt idx="4057">
                  <c:v>46.750999999999998</c:v>
                </c:pt>
                <c:pt idx="4058">
                  <c:v>46.655999999999999</c:v>
                </c:pt>
                <c:pt idx="4059">
                  <c:v>46.558</c:v>
                </c:pt>
                <c:pt idx="4060">
                  <c:v>46.847000000000001</c:v>
                </c:pt>
                <c:pt idx="4061">
                  <c:v>46.942999999999998</c:v>
                </c:pt>
                <c:pt idx="4062">
                  <c:v>46.750999999999998</c:v>
                </c:pt>
                <c:pt idx="4063">
                  <c:v>46.942999999999998</c:v>
                </c:pt>
                <c:pt idx="4064">
                  <c:v>46.750999999999998</c:v>
                </c:pt>
                <c:pt idx="4065">
                  <c:v>46.655999999999999</c:v>
                </c:pt>
                <c:pt idx="4066">
                  <c:v>46.942999999999998</c:v>
                </c:pt>
                <c:pt idx="4067">
                  <c:v>46.847000000000001</c:v>
                </c:pt>
                <c:pt idx="4068">
                  <c:v>46.942999999999998</c:v>
                </c:pt>
                <c:pt idx="4069">
                  <c:v>46.750999999999998</c:v>
                </c:pt>
                <c:pt idx="4070">
                  <c:v>46.847000000000001</c:v>
                </c:pt>
                <c:pt idx="4071">
                  <c:v>46.558</c:v>
                </c:pt>
                <c:pt idx="4072">
                  <c:v>47.231000000000002</c:v>
                </c:pt>
                <c:pt idx="4073">
                  <c:v>46.750999999999998</c:v>
                </c:pt>
                <c:pt idx="4074">
                  <c:v>46.558</c:v>
                </c:pt>
                <c:pt idx="4075">
                  <c:v>46.942999999999998</c:v>
                </c:pt>
                <c:pt idx="4076">
                  <c:v>46.366999999999997</c:v>
                </c:pt>
                <c:pt idx="4077">
                  <c:v>46.750999999999998</c:v>
                </c:pt>
                <c:pt idx="4078">
                  <c:v>46.847000000000001</c:v>
                </c:pt>
                <c:pt idx="4079">
                  <c:v>46.942999999999998</c:v>
                </c:pt>
                <c:pt idx="4080">
                  <c:v>46.847000000000001</c:v>
                </c:pt>
                <c:pt idx="4081">
                  <c:v>46.750999999999998</c:v>
                </c:pt>
                <c:pt idx="4082">
                  <c:v>46.942999999999998</c:v>
                </c:pt>
                <c:pt idx="4083">
                  <c:v>46.750999999999998</c:v>
                </c:pt>
                <c:pt idx="4084">
                  <c:v>46.655999999999999</c:v>
                </c:pt>
                <c:pt idx="4085">
                  <c:v>46.655999999999999</c:v>
                </c:pt>
                <c:pt idx="4086">
                  <c:v>46.847000000000001</c:v>
                </c:pt>
                <c:pt idx="4087">
                  <c:v>46.750999999999998</c:v>
                </c:pt>
                <c:pt idx="4088">
                  <c:v>46.655999999999999</c:v>
                </c:pt>
                <c:pt idx="4089">
                  <c:v>46.942999999999998</c:v>
                </c:pt>
                <c:pt idx="4090">
                  <c:v>46.750999999999998</c:v>
                </c:pt>
                <c:pt idx="4091">
                  <c:v>46.942999999999998</c:v>
                </c:pt>
                <c:pt idx="4092">
                  <c:v>46.750999999999998</c:v>
                </c:pt>
                <c:pt idx="4093">
                  <c:v>46.558</c:v>
                </c:pt>
                <c:pt idx="4094">
                  <c:v>47.037999999999997</c:v>
                </c:pt>
                <c:pt idx="4095">
                  <c:v>47.136000000000003</c:v>
                </c:pt>
                <c:pt idx="4096">
                  <c:v>46.655999999999999</c:v>
                </c:pt>
                <c:pt idx="4097">
                  <c:v>47.037999999999997</c:v>
                </c:pt>
                <c:pt idx="4098">
                  <c:v>46.942999999999998</c:v>
                </c:pt>
                <c:pt idx="4099">
                  <c:v>46.750999999999998</c:v>
                </c:pt>
                <c:pt idx="4100">
                  <c:v>47.136000000000003</c:v>
                </c:pt>
                <c:pt idx="4101">
                  <c:v>46.942999999999998</c:v>
                </c:pt>
                <c:pt idx="4102">
                  <c:v>46.942999999999998</c:v>
                </c:pt>
                <c:pt idx="4103">
                  <c:v>46.463000000000001</c:v>
                </c:pt>
                <c:pt idx="4104">
                  <c:v>47.037999999999997</c:v>
                </c:pt>
                <c:pt idx="4105">
                  <c:v>46.847000000000001</c:v>
                </c:pt>
                <c:pt idx="4106">
                  <c:v>46.942999999999998</c:v>
                </c:pt>
                <c:pt idx="4107">
                  <c:v>47.136000000000003</c:v>
                </c:pt>
                <c:pt idx="4108">
                  <c:v>47.136000000000003</c:v>
                </c:pt>
                <c:pt idx="4109">
                  <c:v>46.750999999999998</c:v>
                </c:pt>
                <c:pt idx="4110">
                  <c:v>46.847000000000001</c:v>
                </c:pt>
                <c:pt idx="4111">
                  <c:v>46.847000000000001</c:v>
                </c:pt>
                <c:pt idx="4112">
                  <c:v>47.037999999999997</c:v>
                </c:pt>
                <c:pt idx="4113">
                  <c:v>46.942999999999998</c:v>
                </c:pt>
                <c:pt idx="4114">
                  <c:v>47.231000000000002</c:v>
                </c:pt>
                <c:pt idx="4115">
                  <c:v>46.750999999999998</c:v>
                </c:pt>
                <c:pt idx="4116">
                  <c:v>46.942999999999998</c:v>
                </c:pt>
                <c:pt idx="4117">
                  <c:v>46.847000000000001</c:v>
                </c:pt>
                <c:pt idx="4118">
                  <c:v>46.750999999999998</c:v>
                </c:pt>
                <c:pt idx="4119">
                  <c:v>46.847000000000001</c:v>
                </c:pt>
                <c:pt idx="4120">
                  <c:v>47.423000000000002</c:v>
                </c:pt>
                <c:pt idx="4121">
                  <c:v>47.231000000000002</c:v>
                </c:pt>
                <c:pt idx="4122">
                  <c:v>46.942999999999998</c:v>
                </c:pt>
                <c:pt idx="4123">
                  <c:v>46.655999999999999</c:v>
                </c:pt>
                <c:pt idx="4124">
                  <c:v>46.847000000000001</c:v>
                </c:pt>
                <c:pt idx="4125">
                  <c:v>46.655999999999999</c:v>
                </c:pt>
                <c:pt idx="4126">
                  <c:v>46.847000000000001</c:v>
                </c:pt>
                <c:pt idx="4127">
                  <c:v>46.942999999999998</c:v>
                </c:pt>
                <c:pt idx="4128">
                  <c:v>47.037999999999997</c:v>
                </c:pt>
                <c:pt idx="4129">
                  <c:v>47.231000000000002</c:v>
                </c:pt>
                <c:pt idx="4130">
                  <c:v>46.750999999999998</c:v>
                </c:pt>
                <c:pt idx="4131">
                  <c:v>46.655999999999999</c:v>
                </c:pt>
                <c:pt idx="4132">
                  <c:v>46.847000000000001</c:v>
                </c:pt>
                <c:pt idx="4133">
                  <c:v>47.423000000000002</c:v>
                </c:pt>
                <c:pt idx="4134">
                  <c:v>46.750999999999998</c:v>
                </c:pt>
                <c:pt idx="4135">
                  <c:v>47.037999999999997</c:v>
                </c:pt>
                <c:pt idx="4136">
                  <c:v>46.847000000000001</c:v>
                </c:pt>
                <c:pt idx="4137">
                  <c:v>46.942999999999998</c:v>
                </c:pt>
                <c:pt idx="4138">
                  <c:v>47.136000000000003</c:v>
                </c:pt>
                <c:pt idx="4139">
                  <c:v>47.037999999999997</c:v>
                </c:pt>
                <c:pt idx="4140">
                  <c:v>46.847000000000001</c:v>
                </c:pt>
                <c:pt idx="4141">
                  <c:v>46.942999999999998</c:v>
                </c:pt>
                <c:pt idx="4142">
                  <c:v>46.750999999999998</c:v>
                </c:pt>
                <c:pt idx="4143">
                  <c:v>46.655999999999999</c:v>
                </c:pt>
                <c:pt idx="4144">
                  <c:v>46.942999999999998</c:v>
                </c:pt>
                <c:pt idx="4145">
                  <c:v>47.037999999999997</c:v>
                </c:pt>
                <c:pt idx="4146">
                  <c:v>46.942999999999998</c:v>
                </c:pt>
                <c:pt idx="4147">
                  <c:v>47.231000000000002</c:v>
                </c:pt>
                <c:pt idx="4148">
                  <c:v>46.942999999999998</c:v>
                </c:pt>
                <c:pt idx="4149">
                  <c:v>47.037999999999997</c:v>
                </c:pt>
                <c:pt idx="4150">
                  <c:v>46.942999999999998</c:v>
                </c:pt>
                <c:pt idx="4151">
                  <c:v>46.366999999999997</c:v>
                </c:pt>
                <c:pt idx="4152">
                  <c:v>46.655999999999999</c:v>
                </c:pt>
                <c:pt idx="4153">
                  <c:v>46.847000000000001</c:v>
                </c:pt>
                <c:pt idx="4154">
                  <c:v>46.847000000000001</c:v>
                </c:pt>
                <c:pt idx="4155">
                  <c:v>46.847000000000001</c:v>
                </c:pt>
                <c:pt idx="4156">
                  <c:v>46.942999999999998</c:v>
                </c:pt>
                <c:pt idx="4157">
                  <c:v>46.655999999999999</c:v>
                </c:pt>
                <c:pt idx="4158">
                  <c:v>47.231000000000002</c:v>
                </c:pt>
                <c:pt idx="4159">
                  <c:v>47.231000000000002</c:v>
                </c:pt>
                <c:pt idx="4160">
                  <c:v>46.847000000000001</c:v>
                </c:pt>
                <c:pt idx="4161">
                  <c:v>46.750999999999998</c:v>
                </c:pt>
                <c:pt idx="4162">
                  <c:v>46.942999999999998</c:v>
                </c:pt>
                <c:pt idx="4163">
                  <c:v>46.942999999999998</c:v>
                </c:pt>
                <c:pt idx="4164">
                  <c:v>46.847000000000001</c:v>
                </c:pt>
                <c:pt idx="4165">
                  <c:v>46.750999999999998</c:v>
                </c:pt>
                <c:pt idx="4166">
                  <c:v>46.942999999999998</c:v>
                </c:pt>
                <c:pt idx="4167">
                  <c:v>46.942999999999998</c:v>
                </c:pt>
                <c:pt idx="4168">
                  <c:v>47.136000000000003</c:v>
                </c:pt>
                <c:pt idx="4169">
                  <c:v>47.037999999999997</c:v>
                </c:pt>
                <c:pt idx="4170">
                  <c:v>46.942999999999998</c:v>
                </c:pt>
                <c:pt idx="4171">
                  <c:v>47.326999999999998</c:v>
                </c:pt>
                <c:pt idx="4172">
                  <c:v>47.231000000000002</c:v>
                </c:pt>
                <c:pt idx="4173">
                  <c:v>46.847000000000001</c:v>
                </c:pt>
                <c:pt idx="4174">
                  <c:v>46.750999999999998</c:v>
                </c:pt>
                <c:pt idx="4175">
                  <c:v>47.037999999999997</c:v>
                </c:pt>
                <c:pt idx="4176">
                  <c:v>47.037999999999997</c:v>
                </c:pt>
                <c:pt idx="4177">
                  <c:v>47.037999999999997</c:v>
                </c:pt>
                <c:pt idx="4178">
                  <c:v>47.037999999999997</c:v>
                </c:pt>
                <c:pt idx="4179">
                  <c:v>46.655999999999999</c:v>
                </c:pt>
                <c:pt idx="4180">
                  <c:v>46.942999999999998</c:v>
                </c:pt>
                <c:pt idx="4181">
                  <c:v>47.037999999999997</c:v>
                </c:pt>
                <c:pt idx="4182">
                  <c:v>47.136000000000003</c:v>
                </c:pt>
                <c:pt idx="4183">
                  <c:v>46.750999999999998</c:v>
                </c:pt>
                <c:pt idx="4184">
                  <c:v>47.136000000000003</c:v>
                </c:pt>
                <c:pt idx="4185">
                  <c:v>47.037999999999997</c:v>
                </c:pt>
                <c:pt idx="4186">
                  <c:v>46.942999999999998</c:v>
                </c:pt>
                <c:pt idx="4187">
                  <c:v>47.136000000000003</c:v>
                </c:pt>
                <c:pt idx="4188">
                  <c:v>47.231000000000002</c:v>
                </c:pt>
                <c:pt idx="4189">
                  <c:v>47.037999999999997</c:v>
                </c:pt>
                <c:pt idx="4190">
                  <c:v>47.710999999999999</c:v>
                </c:pt>
                <c:pt idx="4191">
                  <c:v>46.942999999999998</c:v>
                </c:pt>
                <c:pt idx="4192">
                  <c:v>47.231000000000002</c:v>
                </c:pt>
                <c:pt idx="4193">
                  <c:v>46.847000000000001</c:v>
                </c:pt>
                <c:pt idx="4194">
                  <c:v>47.231000000000002</c:v>
                </c:pt>
                <c:pt idx="4195">
                  <c:v>47.037999999999997</c:v>
                </c:pt>
                <c:pt idx="4196">
                  <c:v>46.847000000000001</c:v>
                </c:pt>
                <c:pt idx="4197">
                  <c:v>46.847000000000001</c:v>
                </c:pt>
                <c:pt idx="4198">
                  <c:v>47.037999999999997</c:v>
                </c:pt>
                <c:pt idx="4199">
                  <c:v>47.037999999999997</c:v>
                </c:pt>
                <c:pt idx="4200">
                  <c:v>46.942999999999998</c:v>
                </c:pt>
                <c:pt idx="4201">
                  <c:v>46.847000000000001</c:v>
                </c:pt>
                <c:pt idx="4202">
                  <c:v>47.037999999999997</c:v>
                </c:pt>
                <c:pt idx="4203">
                  <c:v>47.231000000000002</c:v>
                </c:pt>
                <c:pt idx="4204">
                  <c:v>47.423000000000002</c:v>
                </c:pt>
                <c:pt idx="4205">
                  <c:v>47.037999999999997</c:v>
                </c:pt>
                <c:pt idx="4206">
                  <c:v>46.750999999999998</c:v>
                </c:pt>
                <c:pt idx="4207">
                  <c:v>47.037999999999997</c:v>
                </c:pt>
                <c:pt idx="4208">
                  <c:v>47.136000000000003</c:v>
                </c:pt>
                <c:pt idx="4209">
                  <c:v>47.136000000000003</c:v>
                </c:pt>
                <c:pt idx="4210">
                  <c:v>46.942999999999998</c:v>
                </c:pt>
                <c:pt idx="4211">
                  <c:v>46.558</c:v>
                </c:pt>
                <c:pt idx="4212">
                  <c:v>47.326999999999998</c:v>
                </c:pt>
                <c:pt idx="4213">
                  <c:v>47.231000000000002</c:v>
                </c:pt>
                <c:pt idx="4214">
                  <c:v>46.847000000000001</c:v>
                </c:pt>
                <c:pt idx="4215">
                  <c:v>46.942999999999998</c:v>
                </c:pt>
                <c:pt idx="4216">
                  <c:v>47.136000000000003</c:v>
                </c:pt>
                <c:pt idx="4217">
                  <c:v>46.847000000000001</c:v>
                </c:pt>
                <c:pt idx="4218">
                  <c:v>47.037999999999997</c:v>
                </c:pt>
                <c:pt idx="4219">
                  <c:v>47.136000000000003</c:v>
                </c:pt>
                <c:pt idx="4220">
                  <c:v>47.616</c:v>
                </c:pt>
                <c:pt idx="4221">
                  <c:v>47.037999999999997</c:v>
                </c:pt>
                <c:pt idx="4222">
                  <c:v>47.326999999999998</c:v>
                </c:pt>
                <c:pt idx="4223">
                  <c:v>47.136000000000003</c:v>
                </c:pt>
                <c:pt idx="4224">
                  <c:v>46.655999999999999</c:v>
                </c:pt>
                <c:pt idx="4225">
                  <c:v>46.942999999999998</c:v>
                </c:pt>
                <c:pt idx="4226">
                  <c:v>47.423000000000002</c:v>
                </c:pt>
                <c:pt idx="4227">
                  <c:v>47.037999999999997</c:v>
                </c:pt>
                <c:pt idx="4228">
                  <c:v>46.847000000000001</c:v>
                </c:pt>
                <c:pt idx="4229">
                  <c:v>47.136000000000003</c:v>
                </c:pt>
                <c:pt idx="4230">
                  <c:v>47.231000000000002</c:v>
                </c:pt>
                <c:pt idx="4231">
                  <c:v>47.037999999999997</c:v>
                </c:pt>
                <c:pt idx="4232">
                  <c:v>47.136000000000003</c:v>
                </c:pt>
                <c:pt idx="4233">
                  <c:v>47.423000000000002</c:v>
                </c:pt>
                <c:pt idx="4234">
                  <c:v>47.136000000000003</c:v>
                </c:pt>
                <c:pt idx="4235">
                  <c:v>47.136000000000003</c:v>
                </c:pt>
                <c:pt idx="4236">
                  <c:v>47.136000000000003</c:v>
                </c:pt>
                <c:pt idx="4237">
                  <c:v>46.942999999999998</c:v>
                </c:pt>
                <c:pt idx="4238">
                  <c:v>47.326999999999998</c:v>
                </c:pt>
                <c:pt idx="4239">
                  <c:v>47.136000000000003</c:v>
                </c:pt>
                <c:pt idx="4240">
                  <c:v>46.655999999999999</c:v>
                </c:pt>
                <c:pt idx="4241">
                  <c:v>47.231000000000002</c:v>
                </c:pt>
                <c:pt idx="4242">
                  <c:v>47.136000000000003</c:v>
                </c:pt>
                <c:pt idx="4243">
                  <c:v>47.231000000000002</c:v>
                </c:pt>
                <c:pt idx="4244">
                  <c:v>47.037999999999997</c:v>
                </c:pt>
                <c:pt idx="4245">
                  <c:v>46.847000000000001</c:v>
                </c:pt>
                <c:pt idx="4246">
                  <c:v>47.037999999999997</c:v>
                </c:pt>
                <c:pt idx="4247">
                  <c:v>47.616</c:v>
                </c:pt>
                <c:pt idx="4248">
                  <c:v>47.136000000000003</c:v>
                </c:pt>
                <c:pt idx="4249">
                  <c:v>46.942999999999998</c:v>
                </c:pt>
                <c:pt idx="4250">
                  <c:v>46.942999999999998</c:v>
                </c:pt>
                <c:pt idx="4251">
                  <c:v>46.847000000000001</c:v>
                </c:pt>
                <c:pt idx="4252">
                  <c:v>47.231000000000002</c:v>
                </c:pt>
                <c:pt idx="4253">
                  <c:v>47.136000000000003</c:v>
                </c:pt>
                <c:pt idx="4254">
                  <c:v>47.037999999999997</c:v>
                </c:pt>
                <c:pt idx="4255">
                  <c:v>47.037999999999997</c:v>
                </c:pt>
                <c:pt idx="4256">
                  <c:v>47.231000000000002</c:v>
                </c:pt>
                <c:pt idx="4257">
                  <c:v>47.231000000000002</c:v>
                </c:pt>
                <c:pt idx="4258">
                  <c:v>47.231000000000002</c:v>
                </c:pt>
                <c:pt idx="4259">
                  <c:v>47.231000000000002</c:v>
                </c:pt>
                <c:pt idx="4260">
                  <c:v>47.231000000000002</c:v>
                </c:pt>
                <c:pt idx="4261">
                  <c:v>47.136000000000003</c:v>
                </c:pt>
                <c:pt idx="4262">
                  <c:v>47.231000000000002</c:v>
                </c:pt>
                <c:pt idx="4263">
                  <c:v>47.231000000000002</c:v>
                </c:pt>
                <c:pt idx="4264">
                  <c:v>47.518000000000001</c:v>
                </c:pt>
                <c:pt idx="4265">
                  <c:v>46.942999999999998</c:v>
                </c:pt>
                <c:pt idx="4266">
                  <c:v>47.037999999999997</c:v>
                </c:pt>
                <c:pt idx="4267">
                  <c:v>47.518000000000001</c:v>
                </c:pt>
                <c:pt idx="4268">
                  <c:v>47.136000000000003</c:v>
                </c:pt>
                <c:pt idx="4269">
                  <c:v>47.326999999999998</c:v>
                </c:pt>
                <c:pt idx="4270">
                  <c:v>47.136000000000003</c:v>
                </c:pt>
                <c:pt idx="4271">
                  <c:v>47.231000000000002</c:v>
                </c:pt>
                <c:pt idx="4272">
                  <c:v>47.136000000000003</c:v>
                </c:pt>
                <c:pt idx="4273">
                  <c:v>47.423000000000002</c:v>
                </c:pt>
                <c:pt idx="4274">
                  <c:v>47.518000000000001</c:v>
                </c:pt>
                <c:pt idx="4275">
                  <c:v>46.942999999999998</c:v>
                </c:pt>
                <c:pt idx="4276">
                  <c:v>47.326999999999998</c:v>
                </c:pt>
                <c:pt idx="4277">
                  <c:v>47.136000000000003</c:v>
                </c:pt>
                <c:pt idx="4278">
                  <c:v>47.037999999999997</c:v>
                </c:pt>
                <c:pt idx="4279">
                  <c:v>47.326999999999998</c:v>
                </c:pt>
                <c:pt idx="4280">
                  <c:v>47.231000000000002</c:v>
                </c:pt>
                <c:pt idx="4281">
                  <c:v>47.136000000000003</c:v>
                </c:pt>
                <c:pt idx="4282">
                  <c:v>47.136000000000003</c:v>
                </c:pt>
                <c:pt idx="4283">
                  <c:v>47.136000000000003</c:v>
                </c:pt>
                <c:pt idx="4284">
                  <c:v>47.136000000000003</c:v>
                </c:pt>
                <c:pt idx="4285">
                  <c:v>47.518000000000001</c:v>
                </c:pt>
                <c:pt idx="4286">
                  <c:v>47.136000000000003</c:v>
                </c:pt>
                <c:pt idx="4287">
                  <c:v>46.750999999999998</c:v>
                </c:pt>
                <c:pt idx="4288">
                  <c:v>47.326999999999998</c:v>
                </c:pt>
                <c:pt idx="4289">
                  <c:v>46.942999999999998</c:v>
                </c:pt>
                <c:pt idx="4290">
                  <c:v>47.136000000000003</c:v>
                </c:pt>
                <c:pt idx="4291">
                  <c:v>47.326999999999998</c:v>
                </c:pt>
                <c:pt idx="4292">
                  <c:v>47.423000000000002</c:v>
                </c:pt>
                <c:pt idx="4293">
                  <c:v>47.326999999999998</c:v>
                </c:pt>
                <c:pt idx="4294">
                  <c:v>47.136000000000003</c:v>
                </c:pt>
                <c:pt idx="4295">
                  <c:v>47.037999999999997</c:v>
                </c:pt>
                <c:pt idx="4296">
                  <c:v>47.710999999999999</c:v>
                </c:pt>
                <c:pt idx="4297">
                  <c:v>47.136000000000003</c:v>
                </c:pt>
                <c:pt idx="4298">
                  <c:v>47.231000000000002</c:v>
                </c:pt>
                <c:pt idx="4299">
                  <c:v>46.942999999999998</c:v>
                </c:pt>
                <c:pt idx="4300">
                  <c:v>47.423000000000002</c:v>
                </c:pt>
                <c:pt idx="4301">
                  <c:v>47.037999999999997</c:v>
                </c:pt>
                <c:pt idx="4302">
                  <c:v>47.326999999999998</c:v>
                </c:pt>
                <c:pt idx="4303">
                  <c:v>47.037999999999997</c:v>
                </c:pt>
                <c:pt idx="4304">
                  <c:v>47.136000000000003</c:v>
                </c:pt>
                <c:pt idx="4305">
                  <c:v>47.136000000000003</c:v>
                </c:pt>
                <c:pt idx="4306">
                  <c:v>47.231000000000002</c:v>
                </c:pt>
                <c:pt idx="4307">
                  <c:v>47.231000000000002</c:v>
                </c:pt>
                <c:pt idx="4308">
                  <c:v>47.037999999999997</c:v>
                </c:pt>
                <c:pt idx="4309">
                  <c:v>47.423000000000002</c:v>
                </c:pt>
                <c:pt idx="4310">
                  <c:v>47.037999999999997</c:v>
                </c:pt>
                <c:pt idx="4311">
                  <c:v>47.231000000000002</c:v>
                </c:pt>
                <c:pt idx="4312">
                  <c:v>47.423000000000002</c:v>
                </c:pt>
                <c:pt idx="4313">
                  <c:v>47.136000000000003</c:v>
                </c:pt>
                <c:pt idx="4314">
                  <c:v>47.518000000000001</c:v>
                </c:pt>
                <c:pt idx="4315">
                  <c:v>47.136000000000003</c:v>
                </c:pt>
                <c:pt idx="4316">
                  <c:v>47.037999999999997</c:v>
                </c:pt>
                <c:pt idx="4317">
                  <c:v>47.037999999999997</c:v>
                </c:pt>
                <c:pt idx="4318">
                  <c:v>47.326999999999998</c:v>
                </c:pt>
                <c:pt idx="4319">
                  <c:v>47.423000000000002</c:v>
                </c:pt>
                <c:pt idx="4320">
                  <c:v>47.136000000000003</c:v>
                </c:pt>
                <c:pt idx="4321">
                  <c:v>47.326999999999998</c:v>
                </c:pt>
                <c:pt idx="4322">
                  <c:v>47.037999999999997</c:v>
                </c:pt>
                <c:pt idx="4323">
                  <c:v>47.231000000000002</c:v>
                </c:pt>
                <c:pt idx="4324">
                  <c:v>47.037999999999997</c:v>
                </c:pt>
                <c:pt idx="4325">
                  <c:v>47.136000000000003</c:v>
                </c:pt>
                <c:pt idx="4326">
                  <c:v>47.231000000000002</c:v>
                </c:pt>
                <c:pt idx="4327">
                  <c:v>47.136000000000003</c:v>
                </c:pt>
                <c:pt idx="4328">
                  <c:v>47.423000000000002</c:v>
                </c:pt>
                <c:pt idx="4329">
                  <c:v>47.231000000000002</c:v>
                </c:pt>
                <c:pt idx="4330">
                  <c:v>47.423000000000002</c:v>
                </c:pt>
                <c:pt idx="4331">
                  <c:v>47.231000000000002</c:v>
                </c:pt>
                <c:pt idx="4332">
                  <c:v>47.423000000000002</c:v>
                </c:pt>
                <c:pt idx="4333">
                  <c:v>47.326999999999998</c:v>
                </c:pt>
                <c:pt idx="4334">
                  <c:v>47.037999999999997</c:v>
                </c:pt>
                <c:pt idx="4335">
                  <c:v>46.942999999999998</c:v>
                </c:pt>
                <c:pt idx="4336">
                  <c:v>47.231000000000002</c:v>
                </c:pt>
                <c:pt idx="4337">
                  <c:v>47.423000000000002</c:v>
                </c:pt>
                <c:pt idx="4338">
                  <c:v>47.326999999999998</c:v>
                </c:pt>
                <c:pt idx="4339">
                  <c:v>47.136000000000003</c:v>
                </c:pt>
                <c:pt idx="4340">
                  <c:v>47.231000000000002</c:v>
                </c:pt>
                <c:pt idx="4341">
                  <c:v>46.750999999999998</c:v>
                </c:pt>
                <c:pt idx="4342">
                  <c:v>47.423000000000002</c:v>
                </c:pt>
                <c:pt idx="4343">
                  <c:v>47.326999999999998</c:v>
                </c:pt>
                <c:pt idx="4344">
                  <c:v>47.231000000000002</c:v>
                </c:pt>
                <c:pt idx="4345">
                  <c:v>47.037999999999997</c:v>
                </c:pt>
                <c:pt idx="4346">
                  <c:v>47.423000000000002</c:v>
                </c:pt>
                <c:pt idx="4347">
                  <c:v>47.423000000000002</c:v>
                </c:pt>
                <c:pt idx="4348">
                  <c:v>47.326999999999998</c:v>
                </c:pt>
                <c:pt idx="4349">
                  <c:v>47.518000000000001</c:v>
                </c:pt>
                <c:pt idx="4350">
                  <c:v>46.847000000000001</c:v>
                </c:pt>
                <c:pt idx="4351">
                  <c:v>47.037999999999997</c:v>
                </c:pt>
                <c:pt idx="4352">
                  <c:v>47.518000000000001</c:v>
                </c:pt>
                <c:pt idx="4353">
                  <c:v>47.231000000000002</c:v>
                </c:pt>
                <c:pt idx="4354">
                  <c:v>47.423000000000002</c:v>
                </c:pt>
                <c:pt idx="4355">
                  <c:v>47.710999999999999</c:v>
                </c:pt>
                <c:pt idx="4356">
                  <c:v>47.518000000000001</c:v>
                </c:pt>
                <c:pt idx="4357">
                  <c:v>47.136000000000003</c:v>
                </c:pt>
                <c:pt idx="4358">
                  <c:v>47.136000000000003</c:v>
                </c:pt>
                <c:pt idx="4359">
                  <c:v>47.710999999999999</c:v>
                </c:pt>
                <c:pt idx="4360">
                  <c:v>47.616</c:v>
                </c:pt>
                <c:pt idx="4361">
                  <c:v>47.037999999999997</c:v>
                </c:pt>
                <c:pt idx="4362">
                  <c:v>47.231000000000002</c:v>
                </c:pt>
                <c:pt idx="4363">
                  <c:v>47.231000000000002</c:v>
                </c:pt>
                <c:pt idx="4364">
                  <c:v>46.942999999999998</c:v>
                </c:pt>
                <c:pt idx="4365">
                  <c:v>47.518000000000001</c:v>
                </c:pt>
                <c:pt idx="4366">
                  <c:v>47.518000000000001</c:v>
                </c:pt>
                <c:pt idx="4367">
                  <c:v>47.037999999999997</c:v>
                </c:pt>
                <c:pt idx="4368">
                  <c:v>47.326999999999998</c:v>
                </c:pt>
                <c:pt idx="4369">
                  <c:v>47.518000000000001</c:v>
                </c:pt>
                <c:pt idx="4370">
                  <c:v>47.037999999999997</c:v>
                </c:pt>
                <c:pt idx="4371">
                  <c:v>47.326999999999998</c:v>
                </c:pt>
                <c:pt idx="4372">
                  <c:v>47.423000000000002</c:v>
                </c:pt>
                <c:pt idx="4373">
                  <c:v>47.136000000000003</c:v>
                </c:pt>
                <c:pt idx="4374">
                  <c:v>47.518000000000001</c:v>
                </c:pt>
                <c:pt idx="4375">
                  <c:v>47.231000000000002</c:v>
                </c:pt>
                <c:pt idx="4376">
                  <c:v>47.231000000000002</c:v>
                </c:pt>
                <c:pt idx="4377">
                  <c:v>46.942999999999998</c:v>
                </c:pt>
                <c:pt idx="4378">
                  <c:v>47.231000000000002</c:v>
                </c:pt>
                <c:pt idx="4379">
                  <c:v>47.326999999999998</c:v>
                </c:pt>
                <c:pt idx="4380">
                  <c:v>47.710999999999999</c:v>
                </c:pt>
                <c:pt idx="4381">
                  <c:v>47.423000000000002</c:v>
                </c:pt>
                <c:pt idx="4382">
                  <c:v>47.231000000000002</c:v>
                </c:pt>
                <c:pt idx="4383">
                  <c:v>47.326999999999998</c:v>
                </c:pt>
                <c:pt idx="4384">
                  <c:v>47.423000000000002</c:v>
                </c:pt>
                <c:pt idx="4385">
                  <c:v>47.136000000000003</c:v>
                </c:pt>
                <c:pt idx="4386">
                  <c:v>47.231000000000002</c:v>
                </c:pt>
                <c:pt idx="4387">
                  <c:v>47.518000000000001</c:v>
                </c:pt>
                <c:pt idx="4388">
                  <c:v>47.423000000000002</c:v>
                </c:pt>
                <c:pt idx="4389">
                  <c:v>47.423000000000002</c:v>
                </c:pt>
                <c:pt idx="4390">
                  <c:v>47.518000000000001</c:v>
                </c:pt>
                <c:pt idx="4391">
                  <c:v>47.423000000000002</c:v>
                </c:pt>
                <c:pt idx="4392">
                  <c:v>47.616</c:v>
                </c:pt>
                <c:pt idx="4393">
                  <c:v>47.616</c:v>
                </c:pt>
                <c:pt idx="4394">
                  <c:v>47.710999999999999</c:v>
                </c:pt>
                <c:pt idx="4395">
                  <c:v>47.423000000000002</c:v>
                </c:pt>
                <c:pt idx="4396">
                  <c:v>47.518000000000001</c:v>
                </c:pt>
                <c:pt idx="4397">
                  <c:v>47.326999999999998</c:v>
                </c:pt>
                <c:pt idx="4398">
                  <c:v>47.423000000000002</c:v>
                </c:pt>
                <c:pt idx="4399">
                  <c:v>47.710999999999999</c:v>
                </c:pt>
                <c:pt idx="4400">
                  <c:v>47.423000000000002</c:v>
                </c:pt>
                <c:pt idx="4401">
                  <c:v>47.710999999999999</c:v>
                </c:pt>
                <c:pt idx="4402">
                  <c:v>47.423000000000002</c:v>
                </c:pt>
                <c:pt idx="4403">
                  <c:v>47.616</c:v>
                </c:pt>
                <c:pt idx="4404">
                  <c:v>47.616</c:v>
                </c:pt>
                <c:pt idx="4405">
                  <c:v>47.616</c:v>
                </c:pt>
                <c:pt idx="4406">
                  <c:v>47.326999999999998</c:v>
                </c:pt>
                <c:pt idx="4407">
                  <c:v>47.423000000000002</c:v>
                </c:pt>
                <c:pt idx="4408">
                  <c:v>47.326999999999998</c:v>
                </c:pt>
                <c:pt idx="4409">
                  <c:v>47.037999999999997</c:v>
                </c:pt>
                <c:pt idx="4410">
                  <c:v>47.326999999999998</c:v>
                </c:pt>
                <c:pt idx="4411">
                  <c:v>47.231000000000002</c:v>
                </c:pt>
                <c:pt idx="4412">
                  <c:v>47.231000000000002</c:v>
                </c:pt>
                <c:pt idx="4413">
                  <c:v>47.807000000000002</c:v>
                </c:pt>
                <c:pt idx="4414">
                  <c:v>47.326999999999998</c:v>
                </c:pt>
                <c:pt idx="4415">
                  <c:v>47.231000000000002</c:v>
                </c:pt>
                <c:pt idx="4416">
                  <c:v>47.326999999999998</c:v>
                </c:pt>
                <c:pt idx="4417">
                  <c:v>47.616</c:v>
                </c:pt>
                <c:pt idx="4418">
                  <c:v>47.902999999999999</c:v>
                </c:pt>
                <c:pt idx="4419">
                  <c:v>47.423000000000002</c:v>
                </c:pt>
                <c:pt idx="4420">
                  <c:v>47.518000000000001</c:v>
                </c:pt>
                <c:pt idx="4421">
                  <c:v>47.231000000000002</c:v>
                </c:pt>
                <c:pt idx="4422">
                  <c:v>47.326999999999998</c:v>
                </c:pt>
                <c:pt idx="4423">
                  <c:v>47.136000000000003</c:v>
                </c:pt>
                <c:pt idx="4424">
                  <c:v>47.231000000000002</c:v>
                </c:pt>
                <c:pt idx="4425">
                  <c:v>47.136000000000003</c:v>
                </c:pt>
                <c:pt idx="4426">
                  <c:v>47.616</c:v>
                </c:pt>
                <c:pt idx="4427">
                  <c:v>47.423000000000002</c:v>
                </c:pt>
                <c:pt idx="4428">
                  <c:v>47.423000000000002</c:v>
                </c:pt>
                <c:pt idx="4429">
                  <c:v>47.616</c:v>
                </c:pt>
                <c:pt idx="4430">
                  <c:v>47.710999999999999</c:v>
                </c:pt>
                <c:pt idx="4431">
                  <c:v>47.616</c:v>
                </c:pt>
                <c:pt idx="4432">
                  <c:v>47.616</c:v>
                </c:pt>
                <c:pt idx="4433">
                  <c:v>47.231000000000002</c:v>
                </c:pt>
                <c:pt idx="4434">
                  <c:v>47.136000000000003</c:v>
                </c:pt>
                <c:pt idx="4435">
                  <c:v>47.710999999999999</c:v>
                </c:pt>
                <c:pt idx="4436">
                  <c:v>47.807000000000002</c:v>
                </c:pt>
                <c:pt idx="4437">
                  <c:v>47.136000000000003</c:v>
                </c:pt>
                <c:pt idx="4438">
                  <c:v>47.616</c:v>
                </c:pt>
                <c:pt idx="4439">
                  <c:v>47.518000000000001</c:v>
                </c:pt>
                <c:pt idx="4440">
                  <c:v>47.518000000000001</c:v>
                </c:pt>
                <c:pt idx="4441">
                  <c:v>47.231000000000002</c:v>
                </c:pt>
                <c:pt idx="4442">
                  <c:v>47.518000000000001</c:v>
                </c:pt>
                <c:pt idx="4443">
                  <c:v>47.616</c:v>
                </c:pt>
                <c:pt idx="4444">
                  <c:v>47.518000000000001</c:v>
                </c:pt>
                <c:pt idx="4445">
                  <c:v>47.326999999999998</c:v>
                </c:pt>
                <c:pt idx="4446">
                  <c:v>47.616</c:v>
                </c:pt>
                <c:pt idx="4447">
                  <c:v>47.710999999999999</c:v>
                </c:pt>
                <c:pt idx="4448">
                  <c:v>47.616</c:v>
                </c:pt>
                <c:pt idx="4449">
                  <c:v>47.616</c:v>
                </c:pt>
                <c:pt idx="4450">
                  <c:v>47.807000000000002</c:v>
                </c:pt>
                <c:pt idx="4451">
                  <c:v>47.518000000000001</c:v>
                </c:pt>
                <c:pt idx="4452">
                  <c:v>47.518000000000001</c:v>
                </c:pt>
                <c:pt idx="4453">
                  <c:v>47.807000000000002</c:v>
                </c:pt>
                <c:pt idx="4454">
                  <c:v>47.326999999999998</c:v>
                </c:pt>
                <c:pt idx="4455">
                  <c:v>47.616</c:v>
                </c:pt>
                <c:pt idx="4456">
                  <c:v>47.616</c:v>
                </c:pt>
                <c:pt idx="4457">
                  <c:v>47.326999999999998</c:v>
                </c:pt>
                <c:pt idx="4458">
                  <c:v>47.807000000000002</c:v>
                </c:pt>
                <c:pt idx="4459">
                  <c:v>47.326999999999998</c:v>
                </c:pt>
                <c:pt idx="4460">
                  <c:v>47.807000000000002</c:v>
                </c:pt>
                <c:pt idx="4461">
                  <c:v>47.518000000000001</c:v>
                </c:pt>
                <c:pt idx="4462">
                  <c:v>47.136000000000003</c:v>
                </c:pt>
                <c:pt idx="4463">
                  <c:v>47.326999999999998</c:v>
                </c:pt>
                <c:pt idx="4464">
                  <c:v>47.902999999999999</c:v>
                </c:pt>
                <c:pt idx="4465">
                  <c:v>47.518000000000001</c:v>
                </c:pt>
                <c:pt idx="4466">
                  <c:v>47.710999999999999</c:v>
                </c:pt>
                <c:pt idx="4467">
                  <c:v>47.423000000000002</c:v>
                </c:pt>
                <c:pt idx="4468">
                  <c:v>47.807000000000002</c:v>
                </c:pt>
                <c:pt idx="4469">
                  <c:v>47.710999999999999</c:v>
                </c:pt>
                <c:pt idx="4470">
                  <c:v>47.231000000000002</c:v>
                </c:pt>
                <c:pt idx="4471">
                  <c:v>47.616</c:v>
                </c:pt>
                <c:pt idx="4472">
                  <c:v>47.807000000000002</c:v>
                </c:pt>
                <c:pt idx="4473">
                  <c:v>47.710999999999999</c:v>
                </c:pt>
                <c:pt idx="4474">
                  <c:v>47.136000000000003</c:v>
                </c:pt>
                <c:pt idx="4475">
                  <c:v>47.326999999999998</c:v>
                </c:pt>
                <c:pt idx="4476">
                  <c:v>47.710999999999999</c:v>
                </c:pt>
                <c:pt idx="4477">
                  <c:v>47.710999999999999</c:v>
                </c:pt>
                <c:pt idx="4478">
                  <c:v>47.326999999999998</c:v>
                </c:pt>
                <c:pt idx="4479">
                  <c:v>47.902999999999999</c:v>
                </c:pt>
                <c:pt idx="4480">
                  <c:v>47.710999999999999</c:v>
                </c:pt>
                <c:pt idx="4481">
                  <c:v>47.807000000000002</c:v>
                </c:pt>
                <c:pt idx="4482">
                  <c:v>47.710999999999999</c:v>
                </c:pt>
                <c:pt idx="4483">
                  <c:v>47.616</c:v>
                </c:pt>
                <c:pt idx="4484">
                  <c:v>47.710999999999999</c:v>
                </c:pt>
                <c:pt idx="4485">
                  <c:v>47.902999999999999</c:v>
                </c:pt>
                <c:pt idx="4486">
                  <c:v>47.710999999999999</c:v>
                </c:pt>
                <c:pt idx="4487">
                  <c:v>47.518000000000001</c:v>
                </c:pt>
                <c:pt idx="4488">
                  <c:v>47.518000000000001</c:v>
                </c:pt>
                <c:pt idx="4489">
                  <c:v>47.136000000000003</c:v>
                </c:pt>
                <c:pt idx="4490">
                  <c:v>47.807000000000002</c:v>
                </c:pt>
                <c:pt idx="4491">
                  <c:v>47.518000000000001</c:v>
                </c:pt>
                <c:pt idx="4492">
                  <c:v>47.518000000000001</c:v>
                </c:pt>
                <c:pt idx="4493">
                  <c:v>47.710999999999999</c:v>
                </c:pt>
                <c:pt idx="4494">
                  <c:v>47.037999999999997</c:v>
                </c:pt>
                <c:pt idx="4495">
                  <c:v>47.518000000000001</c:v>
                </c:pt>
                <c:pt idx="4496">
                  <c:v>47.423000000000002</c:v>
                </c:pt>
                <c:pt idx="4497">
                  <c:v>47.518000000000001</c:v>
                </c:pt>
                <c:pt idx="4498">
                  <c:v>47.710999999999999</c:v>
                </c:pt>
                <c:pt idx="4499">
                  <c:v>47.710999999999999</c:v>
                </c:pt>
                <c:pt idx="4500">
                  <c:v>47.616</c:v>
                </c:pt>
                <c:pt idx="4501">
                  <c:v>47.710999999999999</c:v>
                </c:pt>
                <c:pt idx="4502">
                  <c:v>47.710999999999999</c:v>
                </c:pt>
                <c:pt idx="4503">
                  <c:v>47.807000000000002</c:v>
                </c:pt>
                <c:pt idx="4504">
                  <c:v>47.518000000000001</c:v>
                </c:pt>
                <c:pt idx="4505">
                  <c:v>47.616</c:v>
                </c:pt>
                <c:pt idx="4506">
                  <c:v>47.902999999999999</c:v>
                </c:pt>
                <c:pt idx="4507">
                  <c:v>47.518000000000001</c:v>
                </c:pt>
                <c:pt idx="4508">
                  <c:v>47.037999999999997</c:v>
                </c:pt>
                <c:pt idx="4509">
                  <c:v>47.807000000000002</c:v>
                </c:pt>
                <c:pt idx="4510">
                  <c:v>47.616</c:v>
                </c:pt>
                <c:pt idx="4511">
                  <c:v>47.807000000000002</c:v>
                </c:pt>
                <c:pt idx="4512">
                  <c:v>47.616</c:v>
                </c:pt>
                <c:pt idx="4513">
                  <c:v>47.807000000000002</c:v>
                </c:pt>
                <c:pt idx="4514">
                  <c:v>48.095999999999997</c:v>
                </c:pt>
                <c:pt idx="4515">
                  <c:v>47.807000000000002</c:v>
                </c:pt>
                <c:pt idx="4516">
                  <c:v>47.423000000000002</c:v>
                </c:pt>
                <c:pt idx="4517">
                  <c:v>47.326999999999998</c:v>
                </c:pt>
                <c:pt idx="4518">
                  <c:v>47.710999999999999</c:v>
                </c:pt>
                <c:pt idx="4519">
                  <c:v>47.518000000000001</c:v>
                </c:pt>
                <c:pt idx="4520">
                  <c:v>47.326999999999998</c:v>
                </c:pt>
                <c:pt idx="4521">
                  <c:v>47.902999999999999</c:v>
                </c:pt>
                <c:pt idx="4522">
                  <c:v>47.616</c:v>
                </c:pt>
                <c:pt idx="4523">
                  <c:v>47.710999999999999</c:v>
                </c:pt>
                <c:pt idx="4524">
                  <c:v>47.231000000000002</c:v>
                </c:pt>
                <c:pt idx="4525">
                  <c:v>47.326999999999998</c:v>
                </c:pt>
                <c:pt idx="4526">
                  <c:v>47.902999999999999</c:v>
                </c:pt>
                <c:pt idx="4527">
                  <c:v>47.902999999999999</c:v>
                </c:pt>
                <c:pt idx="4528">
                  <c:v>47.807000000000002</c:v>
                </c:pt>
                <c:pt idx="4529">
                  <c:v>47.807000000000002</c:v>
                </c:pt>
                <c:pt idx="4530">
                  <c:v>47.807000000000002</c:v>
                </c:pt>
                <c:pt idx="4531">
                  <c:v>47.710999999999999</c:v>
                </c:pt>
                <c:pt idx="4532">
                  <c:v>48.095999999999997</c:v>
                </c:pt>
                <c:pt idx="4533">
                  <c:v>47.807000000000002</c:v>
                </c:pt>
                <c:pt idx="4534">
                  <c:v>47.902999999999999</c:v>
                </c:pt>
                <c:pt idx="4535">
                  <c:v>47.616</c:v>
                </c:pt>
                <c:pt idx="4536">
                  <c:v>47.710999999999999</c:v>
                </c:pt>
                <c:pt idx="4537">
                  <c:v>47.902999999999999</c:v>
                </c:pt>
                <c:pt idx="4538">
                  <c:v>47.902999999999999</c:v>
                </c:pt>
                <c:pt idx="4539">
                  <c:v>47.616</c:v>
                </c:pt>
                <c:pt idx="4540">
                  <c:v>47.136000000000003</c:v>
                </c:pt>
                <c:pt idx="4541">
                  <c:v>47.807000000000002</c:v>
                </c:pt>
                <c:pt idx="4542">
                  <c:v>47.231000000000002</c:v>
                </c:pt>
                <c:pt idx="4543">
                  <c:v>47.231000000000002</c:v>
                </c:pt>
                <c:pt idx="4544">
                  <c:v>47.423000000000002</c:v>
                </c:pt>
                <c:pt idx="4545">
                  <c:v>47.807000000000002</c:v>
                </c:pt>
                <c:pt idx="4546">
                  <c:v>47.710999999999999</c:v>
                </c:pt>
                <c:pt idx="4547">
                  <c:v>47.616</c:v>
                </c:pt>
                <c:pt idx="4548">
                  <c:v>47.807000000000002</c:v>
                </c:pt>
                <c:pt idx="4549">
                  <c:v>47.518000000000001</c:v>
                </c:pt>
                <c:pt idx="4550">
                  <c:v>47.807000000000002</c:v>
                </c:pt>
                <c:pt idx="4551">
                  <c:v>47.902999999999999</c:v>
                </c:pt>
                <c:pt idx="4552">
                  <c:v>47.902999999999999</c:v>
                </c:pt>
                <c:pt idx="4553">
                  <c:v>47.807000000000002</c:v>
                </c:pt>
                <c:pt idx="4554">
                  <c:v>47.807000000000002</c:v>
                </c:pt>
                <c:pt idx="4555">
                  <c:v>47.616</c:v>
                </c:pt>
                <c:pt idx="4556">
                  <c:v>47.902999999999999</c:v>
                </c:pt>
                <c:pt idx="4557">
                  <c:v>47.518000000000001</c:v>
                </c:pt>
                <c:pt idx="4558">
                  <c:v>47.518000000000001</c:v>
                </c:pt>
                <c:pt idx="4559">
                  <c:v>47.616</c:v>
                </c:pt>
                <c:pt idx="4560">
                  <c:v>47.807000000000002</c:v>
                </c:pt>
                <c:pt idx="4561">
                  <c:v>47.518000000000001</c:v>
                </c:pt>
                <c:pt idx="4562">
                  <c:v>47.902999999999999</c:v>
                </c:pt>
                <c:pt idx="4563">
                  <c:v>47.902999999999999</c:v>
                </c:pt>
                <c:pt idx="4564">
                  <c:v>47.807000000000002</c:v>
                </c:pt>
                <c:pt idx="4565">
                  <c:v>47.902999999999999</c:v>
                </c:pt>
                <c:pt idx="4566">
                  <c:v>47.997999999999998</c:v>
                </c:pt>
                <c:pt idx="4567">
                  <c:v>47.710999999999999</c:v>
                </c:pt>
                <c:pt idx="4568">
                  <c:v>47.807000000000002</c:v>
                </c:pt>
                <c:pt idx="4569">
                  <c:v>47.423000000000002</c:v>
                </c:pt>
                <c:pt idx="4570">
                  <c:v>48.095999999999997</c:v>
                </c:pt>
                <c:pt idx="4571">
                  <c:v>47.807000000000002</c:v>
                </c:pt>
                <c:pt idx="4572">
                  <c:v>47.807000000000002</c:v>
                </c:pt>
                <c:pt idx="4573">
                  <c:v>47.423000000000002</c:v>
                </c:pt>
                <c:pt idx="4574">
                  <c:v>47.710999999999999</c:v>
                </c:pt>
                <c:pt idx="4575">
                  <c:v>47.807000000000002</c:v>
                </c:pt>
                <c:pt idx="4576">
                  <c:v>47.616</c:v>
                </c:pt>
                <c:pt idx="4577">
                  <c:v>47.616</c:v>
                </c:pt>
                <c:pt idx="4578">
                  <c:v>47.710999999999999</c:v>
                </c:pt>
                <c:pt idx="4579">
                  <c:v>47.807000000000002</c:v>
                </c:pt>
                <c:pt idx="4580">
                  <c:v>47.616</c:v>
                </c:pt>
                <c:pt idx="4581">
                  <c:v>47.807000000000002</c:v>
                </c:pt>
                <c:pt idx="4582">
                  <c:v>47.710999999999999</c:v>
                </c:pt>
                <c:pt idx="4583">
                  <c:v>47.997999999999998</c:v>
                </c:pt>
                <c:pt idx="4584">
                  <c:v>47.710999999999999</c:v>
                </c:pt>
                <c:pt idx="4585">
                  <c:v>47.997999999999998</c:v>
                </c:pt>
                <c:pt idx="4586">
                  <c:v>47.902999999999999</c:v>
                </c:pt>
                <c:pt idx="4587">
                  <c:v>47.902999999999999</c:v>
                </c:pt>
                <c:pt idx="4588">
                  <c:v>47.807000000000002</c:v>
                </c:pt>
                <c:pt idx="4589">
                  <c:v>47.902999999999999</c:v>
                </c:pt>
                <c:pt idx="4590">
                  <c:v>47.710999999999999</c:v>
                </c:pt>
                <c:pt idx="4591">
                  <c:v>47.710999999999999</c:v>
                </c:pt>
                <c:pt idx="4592">
                  <c:v>47.423000000000002</c:v>
                </c:pt>
                <c:pt idx="4593">
                  <c:v>47.518000000000001</c:v>
                </c:pt>
                <c:pt idx="4594">
                  <c:v>47.710999999999999</c:v>
                </c:pt>
                <c:pt idx="4595">
                  <c:v>47.616</c:v>
                </c:pt>
                <c:pt idx="4596">
                  <c:v>47.902999999999999</c:v>
                </c:pt>
                <c:pt idx="4597">
                  <c:v>47.997999999999998</c:v>
                </c:pt>
                <c:pt idx="4598">
                  <c:v>47.807000000000002</c:v>
                </c:pt>
                <c:pt idx="4599">
                  <c:v>47.997999999999998</c:v>
                </c:pt>
                <c:pt idx="4600">
                  <c:v>47.616</c:v>
                </c:pt>
                <c:pt idx="4601">
                  <c:v>47.902999999999999</c:v>
                </c:pt>
                <c:pt idx="4602">
                  <c:v>48.095999999999997</c:v>
                </c:pt>
                <c:pt idx="4603">
                  <c:v>47.326999999999998</c:v>
                </c:pt>
                <c:pt idx="4604">
                  <c:v>47.807000000000002</c:v>
                </c:pt>
                <c:pt idx="4605">
                  <c:v>47.902999999999999</c:v>
                </c:pt>
                <c:pt idx="4606">
                  <c:v>47.807000000000002</c:v>
                </c:pt>
                <c:pt idx="4607">
                  <c:v>47.807000000000002</c:v>
                </c:pt>
                <c:pt idx="4608">
                  <c:v>47.423000000000002</c:v>
                </c:pt>
                <c:pt idx="4609">
                  <c:v>47.997999999999998</c:v>
                </c:pt>
                <c:pt idx="4610">
                  <c:v>47.902999999999999</c:v>
                </c:pt>
                <c:pt idx="4611">
                  <c:v>47.616</c:v>
                </c:pt>
                <c:pt idx="4612">
                  <c:v>48.095999999999997</c:v>
                </c:pt>
                <c:pt idx="4613">
                  <c:v>47.710999999999999</c:v>
                </c:pt>
                <c:pt idx="4614">
                  <c:v>47.997999999999998</c:v>
                </c:pt>
                <c:pt idx="4615">
                  <c:v>47.997999999999998</c:v>
                </c:pt>
                <c:pt idx="4616">
                  <c:v>47.710999999999999</c:v>
                </c:pt>
                <c:pt idx="4617">
                  <c:v>47.902999999999999</c:v>
                </c:pt>
                <c:pt idx="4618">
                  <c:v>47.807000000000002</c:v>
                </c:pt>
                <c:pt idx="4619">
                  <c:v>47.616</c:v>
                </c:pt>
                <c:pt idx="4620">
                  <c:v>47.807000000000002</c:v>
                </c:pt>
                <c:pt idx="4621">
                  <c:v>47.807000000000002</c:v>
                </c:pt>
                <c:pt idx="4622">
                  <c:v>47.710999999999999</c:v>
                </c:pt>
                <c:pt idx="4623">
                  <c:v>47.997999999999998</c:v>
                </c:pt>
                <c:pt idx="4624">
                  <c:v>47.807000000000002</c:v>
                </c:pt>
                <c:pt idx="4625">
                  <c:v>47.902999999999999</c:v>
                </c:pt>
                <c:pt idx="4626">
                  <c:v>47.902999999999999</c:v>
                </c:pt>
                <c:pt idx="4627">
                  <c:v>48.095999999999997</c:v>
                </c:pt>
                <c:pt idx="4628">
                  <c:v>47.807000000000002</c:v>
                </c:pt>
                <c:pt idx="4629">
                  <c:v>47.902999999999999</c:v>
                </c:pt>
                <c:pt idx="4630">
                  <c:v>47.902999999999999</c:v>
                </c:pt>
                <c:pt idx="4631">
                  <c:v>48.095999999999997</c:v>
                </c:pt>
                <c:pt idx="4632">
                  <c:v>47.997999999999998</c:v>
                </c:pt>
                <c:pt idx="4633">
                  <c:v>47.997999999999998</c:v>
                </c:pt>
                <c:pt idx="4634">
                  <c:v>47.518000000000001</c:v>
                </c:pt>
                <c:pt idx="4635">
                  <c:v>47.710999999999999</c:v>
                </c:pt>
                <c:pt idx="4636">
                  <c:v>47.997999999999998</c:v>
                </c:pt>
                <c:pt idx="4637">
                  <c:v>47.518000000000001</c:v>
                </c:pt>
                <c:pt idx="4638">
                  <c:v>47.807000000000002</c:v>
                </c:pt>
                <c:pt idx="4639">
                  <c:v>47.807000000000002</c:v>
                </c:pt>
                <c:pt idx="4640">
                  <c:v>47.902999999999999</c:v>
                </c:pt>
                <c:pt idx="4641">
                  <c:v>47.902999999999999</c:v>
                </c:pt>
                <c:pt idx="4642">
                  <c:v>47.518000000000001</c:v>
                </c:pt>
                <c:pt idx="4643">
                  <c:v>47.902999999999999</c:v>
                </c:pt>
                <c:pt idx="4644">
                  <c:v>47.616</c:v>
                </c:pt>
                <c:pt idx="4645">
                  <c:v>47.807000000000002</c:v>
                </c:pt>
                <c:pt idx="4646">
                  <c:v>47.997999999999998</c:v>
                </c:pt>
                <c:pt idx="4647">
                  <c:v>47.807000000000002</c:v>
                </c:pt>
                <c:pt idx="4648">
                  <c:v>47.807000000000002</c:v>
                </c:pt>
                <c:pt idx="4649">
                  <c:v>47.902999999999999</c:v>
                </c:pt>
                <c:pt idx="4650">
                  <c:v>47.997999999999998</c:v>
                </c:pt>
                <c:pt idx="4651">
                  <c:v>47.710999999999999</c:v>
                </c:pt>
                <c:pt idx="4652">
                  <c:v>47.997999999999998</c:v>
                </c:pt>
                <c:pt idx="4653">
                  <c:v>47.902999999999999</c:v>
                </c:pt>
                <c:pt idx="4654">
                  <c:v>47.710999999999999</c:v>
                </c:pt>
                <c:pt idx="4655">
                  <c:v>47.902999999999999</c:v>
                </c:pt>
                <c:pt idx="4656">
                  <c:v>47.902999999999999</c:v>
                </c:pt>
                <c:pt idx="4657">
                  <c:v>47.616</c:v>
                </c:pt>
                <c:pt idx="4658">
                  <c:v>47.997999999999998</c:v>
                </c:pt>
                <c:pt idx="4659">
                  <c:v>47.997999999999998</c:v>
                </c:pt>
                <c:pt idx="4660">
                  <c:v>47.902999999999999</c:v>
                </c:pt>
                <c:pt idx="4661">
                  <c:v>47.997999999999998</c:v>
                </c:pt>
                <c:pt idx="4662">
                  <c:v>47.902999999999999</c:v>
                </c:pt>
                <c:pt idx="4663">
                  <c:v>48.095999999999997</c:v>
                </c:pt>
                <c:pt idx="4664">
                  <c:v>47.807000000000002</c:v>
                </c:pt>
                <c:pt idx="4665">
                  <c:v>47.807000000000002</c:v>
                </c:pt>
                <c:pt idx="4666">
                  <c:v>47.807000000000002</c:v>
                </c:pt>
                <c:pt idx="4667">
                  <c:v>47.807000000000002</c:v>
                </c:pt>
                <c:pt idx="4668">
                  <c:v>47.997999999999998</c:v>
                </c:pt>
                <c:pt idx="4669">
                  <c:v>47.807000000000002</c:v>
                </c:pt>
                <c:pt idx="4670">
                  <c:v>47.902999999999999</c:v>
                </c:pt>
                <c:pt idx="4671">
                  <c:v>47.616</c:v>
                </c:pt>
                <c:pt idx="4672">
                  <c:v>47.807000000000002</c:v>
                </c:pt>
                <c:pt idx="4673">
                  <c:v>47.616</c:v>
                </c:pt>
                <c:pt idx="4674">
                  <c:v>47.997999999999998</c:v>
                </c:pt>
                <c:pt idx="4675">
                  <c:v>47.902999999999999</c:v>
                </c:pt>
                <c:pt idx="4676">
                  <c:v>47.997999999999998</c:v>
                </c:pt>
                <c:pt idx="4677">
                  <c:v>47.902999999999999</c:v>
                </c:pt>
                <c:pt idx="4678">
                  <c:v>47.616</c:v>
                </c:pt>
                <c:pt idx="4679">
                  <c:v>48.095999999999997</c:v>
                </c:pt>
                <c:pt idx="4680">
                  <c:v>47.997999999999998</c:v>
                </c:pt>
                <c:pt idx="4681">
                  <c:v>47.902999999999999</c:v>
                </c:pt>
                <c:pt idx="4682">
                  <c:v>47.997999999999998</c:v>
                </c:pt>
                <c:pt idx="4683">
                  <c:v>48.095999999999997</c:v>
                </c:pt>
                <c:pt idx="4684">
                  <c:v>48.095999999999997</c:v>
                </c:pt>
                <c:pt idx="4685">
                  <c:v>47.997999999999998</c:v>
                </c:pt>
                <c:pt idx="4686">
                  <c:v>47.997999999999998</c:v>
                </c:pt>
                <c:pt idx="4687">
                  <c:v>47.997999999999998</c:v>
                </c:pt>
                <c:pt idx="4688">
                  <c:v>47.616</c:v>
                </c:pt>
                <c:pt idx="4689">
                  <c:v>47.997999999999998</c:v>
                </c:pt>
                <c:pt idx="4690">
                  <c:v>47.997999999999998</c:v>
                </c:pt>
                <c:pt idx="4691">
                  <c:v>47.616</c:v>
                </c:pt>
                <c:pt idx="4692">
                  <c:v>47.997999999999998</c:v>
                </c:pt>
                <c:pt idx="4693">
                  <c:v>48.381999999999998</c:v>
                </c:pt>
                <c:pt idx="4694">
                  <c:v>48.095999999999997</c:v>
                </c:pt>
                <c:pt idx="4695">
                  <c:v>47.997999999999998</c:v>
                </c:pt>
                <c:pt idx="4696">
                  <c:v>47.710999999999999</c:v>
                </c:pt>
                <c:pt idx="4697">
                  <c:v>48.095999999999997</c:v>
                </c:pt>
                <c:pt idx="4698">
                  <c:v>47.997999999999998</c:v>
                </c:pt>
                <c:pt idx="4699">
                  <c:v>47.807000000000002</c:v>
                </c:pt>
                <c:pt idx="4700">
                  <c:v>47.902999999999999</c:v>
                </c:pt>
                <c:pt idx="4701">
                  <c:v>47.710999999999999</c:v>
                </c:pt>
                <c:pt idx="4702">
                  <c:v>47.902999999999999</c:v>
                </c:pt>
                <c:pt idx="4703">
                  <c:v>47.807000000000002</c:v>
                </c:pt>
                <c:pt idx="4704">
                  <c:v>47.997999999999998</c:v>
                </c:pt>
                <c:pt idx="4705">
                  <c:v>47.902999999999999</c:v>
                </c:pt>
                <c:pt idx="4706">
                  <c:v>47.997999999999998</c:v>
                </c:pt>
                <c:pt idx="4707">
                  <c:v>48.191000000000003</c:v>
                </c:pt>
                <c:pt idx="4708">
                  <c:v>48.095999999999997</c:v>
                </c:pt>
                <c:pt idx="4709">
                  <c:v>47.616</c:v>
                </c:pt>
                <c:pt idx="4710">
                  <c:v>47.902999999999999</c:v>
                </c:pt>
                <c:pt idx="4711">
                  <c:v>48.095999999999997</c:v>
                </c:pt>
                <c:pt idx="4712">
                  <c:v>47.807000000000002</c:v>
                </c:pt>
                <c:pt idx="4713">
                  <c:v>47.518000000000001</c:v>
                </c:pt>
                <c:pt idx="4714">
                  <c:v>47.997999999999998</c:v>
                </c:pt>
                <c:pt idx="4715">
                  <c:v>48.095999999999997</c:v>
                </c:pt>
                <c:pt idx="4716">
                  <c:v>47.807000000000002</c:v>
                </c:pt>
                <c:pt idx="4717">
                  <c:v>47.807000000000002</c:v>
                </c:pt>
                <c:pt idx="4718">
                  <c:v>47.518000000000001</c:v>
                </c:pt>
                <c:pt idx="4719">
                  <c:v>47.710999999999999</c:v>
                </c:pt>
                <c:pt idx="4720">
                  <c:v>48.095999999999997</c:v>
                </c:pt>
                <c:pt idx="4721">
                  <c:v>48.286999999999999</c:v>
                </c:pt>
                <c:pt idx="4722">
                  <c:v>47.902999999999999</c:v>
                </c:pt>
                <c:pt idx="4723">
                  <c:v>47.902999999999999</c:v>
                </c:pt>
                <c:pt idx="4724">
                  <c:v>47.710999999999999</c:v>
                </c:pt>
                <c:pt idx="4725">
                  <c:v>47.902999999999999</c:v>
                </c:pt>
                <c:pt idx="4726">
                  <c:v>47.997999999999998</c:v>
                </c:pt>
                <c:pt idx="4727">
                  <c:v>48.095999999999997</c:v>
                </c:pt>
                <c:pt idx="4728">
                  <c:v>47.997999999999998</c:v>
                </c:pt>
                <c:pt idx="4729">
                  <c:v>48.286999999999999</c:v>
                </c:pt>
                <c:pt idx="4730">
                  <c:v>48.191000000000003</c:v>
                </c:pt>
                <c:pt idx="4731">
                  <c:v>48.286999999999999</c:v>
                </c:pt>
                <c:pt idx="4732">
                  <c:v>47.902999999999999</c:v>
                </c:pt>
                <c:pt idx="4733">
                  <c:v>47.902999999999999</c:v>
                </c:pt>
                <c:pt idx="4734">
                  <c:v>47.902999999999999</c:v>
                </c:pt>
                <c:pt idx="4735">
                  <c:v>47.902999999999999</c:v>
                </c:pt>
                <c:pt idx="4736">
                  <c:v>48.191000000000003</c:v>
                </c:pt>
                <c:pt idx="4737">
                  <c:v>48.286999999999999</c:v>
                </c:pt>
                <c:pt idx="4738">
                  <c:v>47.997999999999998</c:v>
                </c:pt>
                <c:pt idx="4739">
                  <c:v>47.807000000000002</c:v>
                </c:pt>
                <c:pt idx="4740">
                  <c:v>47.902999999999999</c:v>
                </c:pt>
                <c:pt idx="4741">
                  <c:v>47.902999999999999</c:v>
                </c:pt>
                <c:pt idx="4742">
                  <c:v>47.902999999999999</c:v>
                </c:pt>
                <c:pt idx="4743">
                  <c:v>47.902999999999999</c:v>
                </c:pt>
                <c:pt idx="4744">
                  <c:v>47.902999999999999</c:v>
                </c:pt>
                <c:pt idx="4745">
                  <c:v>47.616</c:v>
                </c:pt>
                <c:pt idx="4746">
                  <c:v>47.997999999999998</c:v>
                </c:pt>
                <c:pt idx="4747">
                  <c:v>48.095999999999997</c:v>
                </c:pt>
                <c:pt idx="4748">
                  <c:v>47.902999999999999</c:v>
                </c:pt>
                <c:pt idx="4749">
                  <c:v>48.286999999999999</c:v>
                </c:pt>
                <c:pt idx="4750">
                  <c:v>48.095999999999997</c:v>
                </c:pt>
                <c:pt idx="4751">
                  <c:v>47.997999999999998</c:v>
                </c:pt>
                <c:pt idx="4752">
                  <c:v>47.997999999999998</c:v>
                </c:pt>
                <c:pt idx="4753">
                  <c:v>47.807000000000002</c:v>
                </c:pt>
                <c:pt idx="4754">
                  <c:v>47.616</c:v>
                </c:pt>
                <c:pt idx="4755">
                  <c:v>48.095999999999997</c:v>
                </c:pt>
                <c:pt idx="4756">
                  <c:v>48.286999999999999</c:v>
                </c:pt>
                <c:pt idx="4757">
                  <c:v>47.807000000000002</c:v>
                </c:pt>
                <c:pt idx="4758">
                  <c:v>47.710999999999999</c:v>
                </c:pt>
                <c:pt idx="4759">
                  <c:v>48.095999999999997</c:v>
                </c:pt>
                <c:pt idx="4760">
                  <c:v>47.997999999999998</c:v>
                </c:pt>
                <c:pt idx="4761">
                  <c:v>47.902999999999999</c:v>
                </c:pt>
                <c:pt idx="4762">
                  <c:v>47.710999999999999</c:v>
                </c:pt>
                <c:pt idx="4763">
                  <c:v>47.997999999999998</c:v>
                </c:pt>
                <c:pt idx="4764">
                  <c:v>48.191000000000003</c:v>
                </c:pt>
                <c:pt idx="4765">
                  <c:v>47.997999999999998</c:v>
                </c:pt>
                <c:pt idx="4766">
                  <c:v>47.902999999999999</c:v>
                </c:pt>
                <c:pt idx="4767">
                  <c:v>48.191000000000003</c:v>
                </c:pt>
                <c:pt idx="4768">
                  <c:v>47.902999999999999</c:v>
                </c:pt>
                <c:pt idx="4769">
                  <c:v>47.997999999999998</c:v>
                </c:pt>
                <c:pt idx="4770">
                  <c:v>47.902999999999999</c:v>
                </c:pt>
                <c:pt idx="4771">
                  <c:v>48.191000000000003</c:v>
                </c:pt>
                <c:pt idx="4772">
                  <c:v>48.191000000000003</c:v>
                </c:pt>
                <c:pt idx="4773">
                  <c:v>47.997999999999998</c:v>
                </c:pt>
                <c:pt idx="4774">
                  <c:v>48.286999999999999</c:v>
                </c:pt>
                <c:pt idx="4775">
                  <c:v>47.997999999999998</c:v>
                </c:pt>
                <c:pt idx="4776">
                  <c:v>48.095999999999997</c:v>
                </c:pt>
                <c:pt idx="4777">
                  <c:v>47.997999999999998</c:v>
                </c:pt>
                <c:pt idx="4778">
                  <c:v>48.191000000000003</c:v>
                </c:pt>
                <c:pt idx="4779">
                  <c:v>48.191000000000003</c:v>
                </c:pt>
                <c:pt idx="4780">
                  <c:v>47.902999999999999</c:v>
                </c:pt>
                <c:pt idx="4781">
                  <c:v>47.997999999999998</c:v>
                </c:pt>
                <c:pt idx="4782">
                  <c:v>48.191000000000003</c:v>
                </c:pt>
                <c:pt idx="4783">
                  <c:v>48.095999999999997</c:v>
                </c:pt>
                <c:pt idx="4784">
                  <c:v>48.095999999999997</c:v>
                </c:pt>
                <c:pt idx="4785">
                  <c:v>47.997999999999998</c:v>
                </c:pt>
                <c:pt idx="4786">
                  <c:v>48.286999999999999</c:v>
                </c:pt>
                <c:pt idx="4787">
                  <c:v>47.902999999999999</c:v>
                </c:pt>
                <c:pt idx="4788">
                  <c:v>47.997999999999998</c:v>
                </c:pt>
                <c:pt idx="4789">
                  <c:v>48.381999999999998</c:v>
                </c:pt>
                <c:pt idx="4790">
                  <c:v>48.191000000000003</c:v>
                </c:pt>
                <c:pt idx="4791">
                  <c:v>48.191000000000003</c:v>
                </c:pt>
                <c:pt idx="4792">
                  <c:v>47.997999999999998</c:v>
                </c:pt>
                <c:pt idx="4793">
                  <c:v>47.902999999999999</c:v>
                </c:pt>
                <c:pt idx="4794">
                  <c:v>47.710999999999999</c:v>
                </c:pt>
                <c:pt idx="4795">
                  <c:v>48.286999999999999</c:v>
                </c:pt>
                <c:pt idx="4796">
                  <c:v>48.381999999999998</c:v>
                </c:pt>
                <c:pt idx="4797">
                  <c:v>47.997999999999998</c:v>
                </c:pt>
                <c:pt idx="4798">
                  <c:v>47.997999999999998</c:v>
                </c:pt>
                <c:pt idx="4799">
                  <c:v>48.095999999999997</c:v>
                </c:pt>
                <c:pt idx="4800">
                  <c:v>48.095999999999997</c:v>
                </c:pt>
                <c:pt idx="4801">
                  <c:v>47.616</c:v>
                </c:pt>
                <c:pt idx="4802">
                  <c:v>47.902999999999999</c:v>
                </c:pt>
                <c:pt idx="4803">
                  <c:v>48.191000000000003</c:v>
                </c:pt>
                <c:pt idx="4804">
                  <c:v>48.191000000000003</c:v>
                </c:pt>
                <c:pt idx="4805">
                  <c:v>48.095999999999997</c:v>
                </c:pt>
                <c:pt idx="4806">
                  <c:v>47.997999999999998</c:v>
                </c:pt>
                <c:pt idx="4807">
                  <c:v>48.191000000000003</c:v>
                </c:pt>
                <c:pt idx="4808">
                  <c:v>48.381999999999998</c:v>
                </c:pt>
                <c:pt idx="4809">
                  <c:v>48.191000000000003</c:v>
                </c:pt>
                <c:pt idx="4810">
                  <c:v>48.191000000000003</c:v>
                </c:pt>
                <c:pt idx="4811">
                  <c:v>48.191000000000003</c:v>
                </c:pt>
                <c:pt idx="4812">
                  <c:v>48.191000000000003</c:v>
                </c:pt>
                <c:pt idx="4813">
                  <c:v>48.191000000000003</c:v>
                </c:pt>
                <c:pt idx="4814">
                  <c:v>48.095999999999997</c:v>
                </c:pt>
                <c:pt idx="4815">
                  <c:v>48.095999999999997</c:v>
                </c:pt>
                <c:pt idx="4816">
                  <c:v>48.381999999999998</c:v>
                </c:pt>
                <c:pt idx="4817">
                  <c:v>48.095999999999997</c:v>
                </c:pt>
                <c:pt idx="4818">
                  <c:v>48.381999999999998</c:v>
                </c:pt>
                <c:pt idx="4819">
                  <c:v>48.576000000000001</c:v>
                </c:pt>
                <c:pt idx="4820">
                  <c:v>48.095999999999997</c:v>
                </c:pt>
                <c:pt idx="4821">
                  <c:v>47.807000000000002</c:v>
                </c:pt>
                <c:pt idx="4822">
                  <c:v>48.381999999999998</c:v>
                </c:pt>
                <c:pt idx="4823">
                  <c:v>48.095999999999997</c:v>
                </c:pt>
                <c:pt idx="4824">
                  <c:v>47.807000000000002</c:v>
                </c:pt>
                <c:pt idx="4825">
                  <c:v>47.997999999999998</c:v>
                </c:pt>
                <c:pt idx="4826">
                  <c:v>48.286999999999999</c:v>
                </c:pt>
                <c:pt idx="4827">
                  <c:v>47.902999999999999</c:v>
                </c:pt>
                <c:pt idx="4828">
                  <c:v>48.095999999999997</c:v>
                </c:pt>
                <c:pt idx="4829">
                  <c:v>48.286999999999999</c:v>
                </c:pt>
                <c:pt idx="4830">
                  <c:v>47.997999999999998</c:v>
                </c:pt>
                <c:pt idx="4831">
                  <c:v>47.997999999999998</c:v>
                </c:pt>
                <c:pt idx="4832">
                  <c:v>48.095999999999997</c:v>
                </c:pt>
                <c:pt idx="4833">
                  <c:v>48.286999999999999</c:v>
                </c:pt>
                <c:pt idx="4834">
                  <c:v>48.095999999999997</c:v>
                </c:pt>
                <c:pt idx="4835">
                  <c:v>48.286999999999999</c:v>
                </c:pt>
                <c:pt idx="4836">
                  <c:v>48.191000000000003</c:v>
                </c:pt>
                <c:pt idx="4837">
                  <c:v>48.191000000000003</c:v>
                </c:pt>
                <c:pt idx="4838">
                  <c:v>48.381999999999998</c:v>
                </c:pt>
                <c:pt idx="4839">
                  <c:v>48.191000000000003</c:v>
                </c:pt>
                <c:pt idx="4840">
                  <c:v>48.095999999999997</c:v>
                </c:pt>
                <c:pt idx="4841">
                  <c:v>48.191000000000003</c:v>
                </c:pt>
                <c:pt idx="4842">
                  <c:v>47.997999999999998</c:v>
                </c:pt>
                <c:pt idx="4843">
                  <c:v>47.997999999999998</c:v>
                </c:pt>
                <c:pt idx="4844">
                  <c:v>48.191000000000003</c:v>
                </c:pt>
                <c:pt idx="4845">
                  <c:v>48.478000000000002</c:v>
                </c:pt>
                <c:pt idx="4846">
                  <c:v>48.095999999999997</c:v>
                </c:pt>
                <c:pt idx="4847">
                  <c:v>48.381999999999998</c:v>
                </c:pt>
                <c:pt idx="4848">
                  <c:v>47.997999999999998</c:v>
                </c:pt>
                <c:pt idx="4849">
                  <c:v>47.997999999999998</c:v>
                </c:pt>
                <c:pt idx="4850">
                  <c:v>47.902999999999999</c:v>
                </c:pt>
                <c:pt idx="4851">
                  <c:v>47.997999999999998</c:v>
                </c:pt>
                <c:pt idx="4852">
                  <c:v>47.997999999999998</c:v>
                </c:pt>
                <c:pt idx="4853">
                  <c:v>48.095999999999997</c:v>
                </c:pt>
                <c:pt idx="4854">
                  <c:v>48.478000000000002</c:v>
                </c:pt>
                <c:pt idx="4855">
                  <c:v>48.191000000000003</c:v>
                </c:pt>
                <c:pt idx="4856">
                  <c:v>48.191000000000003</c:v>
                </c:pt>
                <c:pt idx="4857">
                  <c:v>48.381999999999998</c:v>
                </c:pt>
                <c:pt idx="4858">
                  <c:v>47.902999999999999</c:v>
                </c:pt>
                <c:pt idx="4859">
                  <c:v>48.478000000000002</c:v>
                </c:pt>
                <c:pt idx="4860">
                  <c:v>47.997999999999998</c:v>
                </c:pt>
                <c:pt idx="4861">
                  <c:v>48.191000000000003</c:v>
                </c:pt>
                <c:pt idx="4862">
                  <c:v>48.286999999999999</c:v>
                </c:pt>
                <c:pt idx="4863">
                  <c:v>48.191000000000003</c:v>
                </c:pt>
                <c:pt idx="4864">
                  <c:v>48.095999999999997</c:v>
                </c:pt>
                <c:pt idx="4865">
                  <c:v>48.095999999999997</c:v>
                </c:pt>
                <c:pt idx="4866">
                  <c:v>48.095999999999997</c:v>
                </c:pt>
                <c:pt idx="4867">
                  <c:v>48.095999999999997</c:v>
                </c:pt>
                <c:pt idx="4868">
                  <c:v>48.095999999999997</c:v>
                </c:pt>
                <c:pt idx="4869">
                  <c:v>48.191000000000003</c:v>
                </c:pt>
                <c:pt idx="4870">
                  <c:v>48.286999999999999</c:v>
                </c:pt>
                <c:pt idx="4871">
                  <c:v>48.381999999999998</c:v>
                </c:pt>
                <c:pt idx="4872">
                  <c:v>48.381999999999998</c:v>
                </c:pt>
                <c:pt idx="4873">
                  <c:v>48.286999999999999</c:v>
                </c:pt>
                <c:pt idx="4874">
                  <c:v>47.997999999999998</c:v>
                </c:pt>
                <c:pt idx="4875">
                  <c:v>48.286999999999999</c:v>
                </c:pt>
                <c:pt idx="4876">
                  <c:v>47.997999999999998</c:v>
                </c:pt>
                <c:pt idx="4877">
                  <c:v>47.902999999999999</c:v>
                </c:pt>
                <c:pt idx="4878">
                  <c:v>48.286999999999999</c:v>
                </c:pt>
                <c:pt idx="4879">
                  <c:v>48.095999999999997</c:v>
                </c:pt>
                <c:pt idx="4880">
                  <c:v>48.191000000000003</c:v>
                </c:pt>
                <c:pt idx="4881">
                  <c:v>48.286999999999999</c:v>
                </c:pt>
                <c:pt idx="4882">
                  <c:v>48.095999999999997</c:v>
                </c:pt>
                <c:pt idx="4883">
                  <c:v>48.191000000000003</c:v>
                </c:pt>
                <c:pt idx="4884">
                  <c:v>48.286999999999999</c:v>
                </c:pt>
                <c:pt idx="4885">
                  <c:v>48.286999999999999</c:v>
                </c:pt>
                <c:pt idx="4886">
                  <c:v>48.286999999999999</c:v>
                </c:pt>
                <c:pt idx="4887">
                  <c:v>48.191000000000003</c:v>
                </c:pt>
                <c:pt idx="4888">
                  <c:v>48.095999999999997</c:v>
                </c:pt>
                <c:pt idx="4889">
                  <c:v>48.286999999999999</c:v>
                </c:pt>
                <c:pt idx="4890">
                  <c:v>48.478000000000002</c:v>
                </c:pt>
                <c:pt idx="4891">
                  <c:v>47.997999999999998</c:v>
                </c:pt>
                <c:pt idx="4892">
                  <c:v>48.381999999999998</c:v>
                </c:pt>
                <c:pt idx="4893">
                  <c:v>48.478000000000002</c:v>
                </c:pt>
                <c:pt idx="4894">
                  <c:v>48.286999999999999</c:v>
                </c:pt>
                <c:pt idx="4895">
                  <c:v>47.997999999999998</c:v>
                </c:pt>
                <c:pt idx="4896">
                  <c:v>48.286999999999999</c:v>
                </c:pt>
                <c:pt idx="4897">
                  <c:v>48.286999999999999</c:v>
                </c:pt>
                <c:pt idx="4898">
                  <c:v>48.381999999999998</c:v>
                </c:pt>
                <c:pt idx="4899">
                  <c:v>48.286999999999999</c:v>
                </c:pt>
                <c:pt idx="4900">
                  <c:v>48.095999999999997</c:v>
                </c:pt>
                <c:pt idx="4901">
                  <c:v>48.381999999999998</c:v>
                </c:pt>
                <c:pt idx="4902">
                  <c:v>47.997999999999998</c:v>
                </c:pt>
                <c:pt idx="4903">
                  <c:v>48.191000000000003</c:v>
                </c:pt>
                <c:pt idx="4904">
                  <c:v>47.997999999999998</c:v>
                </c:pt>
                <c:pt idx="4905">
                  <c:v>48.381999999999998</c:v>
                </c:pt>
                <c:pt idx="4906">
                  <c:v>48.286999999999999</c:v>
                </c:pt>
                <c:pt idx="4907">
                  <c:v>48.191000000000003</c:v>
                </c:pt>
                <c:pt idx="4908">
                  <c:v>47.997999999999998</c:v>
                </c:pt>
                <c:pt idx="4909">
                  <c:v>48.381999999999998</c:v>
                </c:pt>
                <c:pt idx="4910">
                  <c:v>48.576000000000001</c:v>
                </c:pt>
                <c:pt idx="4911">
                  <c:v>47.997999999999998</c:v>
                </c:pt>
                <c:pt idx="4912">
                  <c:v>48.381999999999998</c:v>
                </c:pt>
                <c:pt idx="4913">
                  <c:v>47.997999999999998</c:v>
                </c:pt>
                <c:pt idx="4914">
                  <c:v>48.191000000000003</c:v>
                </c:pt>
                <c:pt idx="4915">
                  <c:v>48.381999999999998</c:v>
                </c:pt>
                <c:pt idx="4916">
                  <c:v>47.902999999999999</c:v>
                </c:pt>
                <c:pt idx="4917">
                  <c:v>48.286999999999999</c:v>
                </c:pt>
                <c:pt idx="4918">
                  <c:v>48.286999999999999</c:v>
                </c:pt>
                <c:pt idx="4919">
                  <c:v>48.191000000000003</c:v>
                </c:pt>
                <c:pt idx="4920">
                  <c:v>48.381999999999998</c:v>
                </c:pt>
                <c:pt idx="4921">
                  <c:v>48.478000000000002</c:v>
                </c:pt>
                <c:pt idx="4922">
                  <c:v>48.191000000000003</c:v>
                </c:pt>
                <c:pt idx="4923">
                  <c:v>48.576000000000001</c:v>
                </c:pt>
                <c:pt idx="4924">
                  <c:v>48.478000000000002</c:v>
                </c:pt>
                <c:pt idx="4925">
                  <c:v>48.286999999999999</c:v>
                </c:pt>
                <c:pt idx="4926">
                  <c:v>48.381999999999998</c:v>
                </c:pt>
                <c:pt idx="4927">
                  <c:v>48.478000000000002</c:v>
                </c:pt>
                <c:pt idx="4928">
                  <c:v>48.576000000000001</c:v>
                </c:pt>
                <c:pt idx="4929">
                  <c:v>48.191000000000003</c:v>
                </c:pt>
                <c:pt idx="4930">
                  <c:v>48.286999999999999</c:v>
                </c:pt>
                <c:pt idx="4931">
                  <c:v>48.191000000000003</c:v>
                </c:pt>
                <c:pt idx="4932">
                  <c:v>48.381999999999998</c:v>
                </c:pt>
                <c:pt idx="4933">
                  <c:v>48.381999999999998</c:v>
                </c:pt>
                <c:pt idx="4934">
                  <c:v>48.381999999999998</c:v>
                </c:pt>
                <c:pt idx="4935">
                  <c:v>48.286999999999999</c:v>
                </c:pt>
                <c:pt idx="4936">
                  <c:v>48.286999999999999</c:v>
                </c:pt>
                <c:pt idx="4937">
                  <c:v>48.191000000000003</c:v>
                </c:pt>
                <c:pt idx="4938">
                  <c:v>48.191000000000003</c:v>
                </c:pt>
                <c:pt idx="4939">
                  <c:v>48.191000000000003</c:v>
                </c:pt>
                <c:pt idx="4940">
                  <c:v>48.381999999999998</c:v>
                </c:pt>
                <c:pt idx="4941">
                  <c:v>48.576000000000001</c:v>
                </c:pt>
                <c:pt idx="4942">
                  <c:v>48.381999999999998</c:v>
                </c:pt>
                <c:pt idx="4943">
                  <c:v>48.381999999999998</c:v>
                </c:pt>
                <c:pt idx="4944">
                  <c:v>48.381999999999998</c:v>
                </c:pt>
                <c:pt idx="4945">
                  <c:v>48.286999999999999</c:v>
                </c:pt>
                <c:pt idx="4946">
                  <c:v>47.997999999999998</c:v>
                </c:pt>
                <c:pt idx="4947">
                  <c:v>48.286999999999999</c:v>
                </c:pt>
                <c:pt idx="4948">
                  <c:v>48.478000000000002</c:v>
                </c:pt>
                <c:pt idx="4949">
                  <c:v>48.191000000000003</c:v>
                </c:pt>
                <c:pt idx="4950">
                  <c:v>48.286999999999999</c:v>
                </c:pt>
                <c:pt idx="4951">
                  <c:v>48.478000000000002</c:v>
                </c:pt>
                <c:pt idx="4952">
                  <c:v>48.478000000000002</c:v>
                </c:pt>
                <c:pt idx="4953">
                  <c:v>47.902999999999999</c:v>
                </c:pt>
                <c:pt idx="4954">
                  <c:v>48.191000000000003</c:v>
                </c:pt>
                <c:pt idx="4955">
                  <c:v>48.670999999999999</c:v>
                </c:pt>
                <c:pt idx="4956">
                  <c:v>48.191000000000003</c:v>
                </c:pt>
                <c:pt idx="4957">
                  <c:v>47.997999999999998</c:v>
                </c:pt>
                <c:pt idx="4958">
                  <c:v>48.095999999999997</c:v>
                </c:pt>
                <c:pt idx="4959">
                  <c:v>48.478000000000002</c:v>
                </c:pt>
                <c:pt idx="4960">
                  <c:v>48.286999999999999</c:v>
                </c:pt>
                <c:pt idx="4961">
                  <c:v>48.191000000000003</c:v>
                </c:pt>
                <c:pt idx="4962">
                  <c:v>48.286999999999999</c:v>
                </c:pt>
                <c:pt idx="4963">
                  <c:v>48.191000000000003</c:v>
                </c:pt>
                <c:pt idx="4964">
                  <c:v>48.191000000000003</c:v>
                </c:pt>
                <c:pt idx="4965">
                  <c:v>48.670999999999999</c:v>
                </c:pt>
                <c:pt idx="4966">
                  <c:v>48.478000000000002</c:v>
                </c:pt>
                <c:pt idx="4967">
                  <c:v>48.381999999999998</c:v>
                </c:pt>
                <c:pt idx="4968">
                  <c:v>48.381999999999998</c:v>
                </c:pt>
                <c:pt idx="4969">
                  <c:v>48.381999999999998</c:v>
                </c:pt>
                <c:pt idx="4970">
                  <c:v>48.095999999999997</c:v>
                </c:pt>
                <c:pt idx="4971">
                  <c:v>48.478000000000002</c:v>
                </c:pt>
                <c:pt idx="4972">
                  <c:v>48.381999999999998</c:v>
                </c:pt>
                <c:pt idx="4973">
                  <c:v>48.286999999999999</c:v>
                </c:pt>
                <c:pt idx="4974">
                  <c:v>48.191000000000003</c:v>
                </c:pt>
                <c:pt idx="4975">
                  <c:v>48.286999999999999</c:v>
                </c:pt>
                <c:pt idx="4976">
                  <c:v>48.191000000000003</c:v>
                </c:pt>
                <c:pt idx="4977">
                  <c:v>48.286999999999999</c:v>
                </c:pt>
                <c:pt idx="4978">
                  <c:v>48.478000000000002</c:v>
                </c:pt>
                <c:pt idx="4979">
                  <c:v>48.191000000000003</c:v>
                </c:pt>
                <c:pt idx="4980">
                  <c:v>48.286999999999999</c:v>
                </c:pt>
                <c:pt idx="4981">
                  <c:v>48.478000000000002</c:v>
                </c:pt>
                <c:pt idx="4982">
                  <c:v>48.478000000000002</c:v>
                </c:pt>
                <c:pt idx="4983">
                  <c:v>48.191000000000003</c:v>
                </c:pt>
                <c:pt idx="4984">
                  <c:v>48.670999999999999</c:v>
                </c:pt>
                <c:pt idx="4985">
                  <c:v>48.957999999999998</c:v>
                </c:pt>
                <c:pt idx="4986">
                  <c:v>48.191000000000003</c:v>
                </c:pt>
                <c:pt idx="4987">
                  <c:v>48.381999999999998</c:v>
                </c:pt>
                <c:pt idx="4988">
                  <c:v>48.576000000000001</c:v>
                </c:pt>
                <c:pt idx="4989">
                  <c:v>48.286999999999999</c:v>
                </c:pt>
                <c:pt idx="4990">
                  <c:v>48.191000000000003</c:v>
                </c:pt>
                <c:pt idx="4991">
                  <c:v>48.381999999999998</c:v>
                </c:pt>
                <c:pt idx="4992">
                  <c:v>48.286999999999999</c:v>
                </c:pt>
                <c:pt idx="4993">
                  <c:v>48.670999999999999</c:v>
                </c:pt>
                <c:pt idx="4994">
                  <c:v>48.381999999999998</c:v>
                </c:pt>
                <c:pt idx="4995">
                  <c:v>48.576000000000001</c:v>
                </c:pt>
                <c:pt idx="4996">
                  <c:v>48.478000000000002</c:v>
                </c:pt>
                <c:pt idx="4997">
                  <c:v>48.286999999999999</c:v>
                </c:pt>
                <c:pt idx="4998">
                  <c:v>47.997999999999998</c:v>
                </c:pt>
                <c:pt idx="4999">
                  <c:v>48.478000000000002</c:v>
                </c:pt>
              </c:numCache>
            </c:numRef>
          </c:yVal>
          <c:smooth val="1"/>
          <c:extLst>
            <c:ext xmlns:c16="http://schemas.microsoft.com/office/drawing/2014/chart" uri="{C3380CC4-5D6E-409C-BE32-E72D297353CC}">
              <c16:uniqueId val="{00000003-ADAB-43DA-B4FD-9B2CD11B1D63}"/>
            </c:ext>
          </c:extLst>
        </c:ser>
        <c:dLbls>
          <c:showLegendKey val="0"/>
          <c:showVal val="0"/>
          <c:showCatName val="0"/>
          <c:showSerName val="0"/>
          <c:showPercent val="0"/>
          <c:showBubbleSize val="0"/>
        </c:dLbls>
        <c:axId val="263781488"/>
        <c:axId val="263776912"/>
      </c:scatterChart>
      <c:valAx>
        <c:axId val="77991136"/>
        <c:scaling>
          <c:orientation val="minMax"/>
          <c:max val="1"/>
          <c:min val="0.5"/>
        </c:scaling>
        <c:delete val="0"/>
        <c:axPos val="b"/>
        <c:majorGridlines>
          <c:spPr>
            <a:ln w="3175" cap="flat" cmpd="sng" algn="ctr">
              <a:solidFill>
                <a:srgbClr val="E9E6E6"/>
              </a:solidFill>
              <a:prstDash val="solid"/>
              <a:round/>
            </a:ln>
            <a:effectLst/>
          </c:spPr>
        </c:majorGridlines>
        <c:title>
          <c:tx>
            <c:rich>
              <a:bodyPr rot="0" spcFirstLastPara="1" vertOverflow="ellipsis" vert="horz" wrap="square" anchor="ctr" anchorCtr="1"/>
              <a:lstStyle/>
              <a:p>
                <a:pPr>
                  <a:defRPr sz="1000" b="0" i="0" u="none" strike="noStrike" kern="1200" baseline="0">
                    <a:solidFill>
                      <a:srgbClr val="1D1D1D"/>
                    </a:solidFill>
                    <a:latin typeface="Arial"/>
                    <a:ea typeface="Arial"/>
                    <a:cs typeface="Arial"/>
                  </a:defRPr>
                </a:pPr>
                <a:r>
                  <a:rPr lang="de-AT"/>
                  <a:t>[µsec]</a:t>
                </a:r>
              </a:p>
            </c:rich>
          </c:tx>
          <c:layout>
            <c:manualLayout>
              <c:xMode val="edge"/>
              <c:yMode val="edge"/>
              <c:x val="0.46497752298997086"/>
              <c:y val="0.82685574253097305"/>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1D1D1D"/>
                  </a:solidFill>
                  <a:latin typeface="Arial"/>
                  <a:ea typeface="Arial"/>
                  <a:cs typeface="Arial"/>
                </a:defRPr>
              </a:pPr>
              <a:endParaRPr lang="de-DE"/>
            </a:p>
          </c:txPr>
        </c:title>
        <c:numFmt formatCode="General" sourceLinked="1"/>
        <c:majorTickMark val="none"/>
        <c:minorTickMark val="none"/>
        <c:tickLblPos val="nextTo"/>
        <c:spPr>
          <a:noFill/>
          <a:ln w="3175" cap="flat" cmpd="sng" algn="ctr">
            <a:solidFill>
              <a:srgbClr val="D1C9CA"/>
            </a:solidFill>
            <a:prstDash val="solid"/>
            <a:round/>
          </a:ln>
          <a:effectLst/>
        </c:spPr>
        <c:txPr>
          <a:bodyPr rot="-60000000" spcFirstLastPara="1" vertOverflow="ellipsis" vert="horz" wrap="square" anchor="ctr" anchorCtr="1"/>
          <a:lstStyle/>
          <a:p>
            <a:pPr>
              <a:defRPr sz="900" b="0" i="0" u="none" strike="noStrike" kern="1200" baseline="0">
                <a:solidFill>
                  <a:srgbClr val="1D1D1D"/>
                </a:solidFill>
                <a:latin typeface="Arial"/>
                <a:ea typeface="Arial"/>
                <a:cs typeface="Arial"/>
              </a:defRPr>
            </a:pPr>
            <a:endParaRPr lang="de-DE"/>
          </a:p>
        </c:txPr>
        <c:crossAx val="263764016"/>
        <c:crosses val="autoZero"/>
        <c:crossBetween val="midCat"/>
        <c:majorUnit val="0.1"/>
      </c:valAx>
      <c:valAx>
        <c:axId val="263764016"/>
        <c:scaling>
          <c:orientation val="minMax"/>
          <c:max val="650"/>
          <c:min val="0"/>
        </c:scaling>
        <c:delete val="0"/>
        <c:axPos val="l"/>
        <c:majorGridlines>
          <c:spPr>
            <a:ln w="3175" cap="flat" cmpd="sng" algn="ctr">
              <a:solidFill>
                <a:srgbClr val="E9E6E6"/>
              </a:solidFill>
              <a:prstDash val="solid"/>
              <a:round/>
            </a:ln>
            <a:effectLst/>
          </c:spPr>
        </c:majorGridlines>
        <c:title>
          <c:tx>
            <c:rich>
              <a:bodyPr rot="-5400000" spcFirstLastPara="1" vertOverflow="ellipsis" vert="horz" wrap="square" anchor="ctr" anchorCtr="1"/>
              <a:lstStyle/>
              <a:p>
                <a:pPr>
                  <a:defRPr sz="1000" b="0" i="0" u="none" strike="noStrike" kern="1200" baseline="0">
                    <a:solidFill>
                      <a:srgbClr val="1D1D1D"/>
                    </a:solidFill>
                    <a:latin typeface="Arial"/>
                    <a:ea typeface="Arial"/>
                    <a:cs typeface="Arial"/>
                  </a:defRPr>
                </a:pPr>
                <a:r>
                  <a:rPr lang="de-AT"/>
                  <a:t>[V]</a:t>
                </a:r>
              </a:p>
            </c:rich>
          </c:tx>
          <c:layout>
            <c:manualLayout>
              <c:xMode val="edge"/>
              <c:yMode val="edge"/>
              <c:x val="1.1000433087916848E-2"/>
              <c:y val="0.4313081186217845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rgbClr val="1D1D1D"/>
                  </a:solidFill>
                  <a:latin typeface="Arial"/>
                  <a:ea typeface="Arial"/>
                  <a:cs typeface="Arial"/>
                </a:defRPr>
              </a:pPr>
              <a:endParaRPr lang="de-DE"/>
            </a:p>
          </c:txPr>
        </c:title>
        <c:numFmt formatCode="General" sourceLinked="1"/>
        <c:majorTickMark val="none"/>
        <c:minorTickMark val="none"/>
        <c:tickLblPos val="nextTo"/>
        <c:spPr>
          <a:noFill/>
          <a:ln w="3175" cap="flat" cmpd="sng" algn="ctr">
            <a:solidFill>
              <a:srgbClr val="D1C9CA"/>
            </a:solidFill>
            <a:prstDash val="solid"/>
            <a:round/>
          </a:ln>
          <a:effectLst/>
        </c:spPr>
        <c:txPr>
          <a:bodyPr rot="-60000000" spcFirstLastPara="1" vertOverflow="ellipsis" vert="horz" wrap="square" anchor="ctr" anchorCtr="1"/>
          <a:lstStyle/>
          <a:p>
            <a:pPr>
              <a:defRPr sz="900" b="0" i="0" u="none" strike="noStrike" kern="1200" baseline="0">
                <a:solidFill>
                  <a:srgbClr val="1D1D1D"/>
                </a:solidFill>
                <a:latin typeface="Arial"/>
                <a:ea typeface="Arial"/>
                <a:cs typeface="Arial"/>
              </a:defRPr>
            </a:pPr>
            <a:endParaRPr lang="de-DE"/>
          </a:p>
        </c:txPr>
        <c:crossAx val="77991136"/>
        <c:crosses val="autoZero"/>
        <c:crossBetween val="midCat"/>
        <c:majorUnit val="50"/>
      </c:valAx>
      <c:valAx>
        <c:axId val="263776912"/>
        <c:scaling>
          <c:orientation val="minMax"/>
          <c:max val="100"/>
          <c:min val="0"/>
        </c:scaling>
        <c:delete val="0"/>
        <c:axPos val="r"/>
        <c:title>
          <c:tx>
            <c:rich>
              <a:bodyPr rot="-5400000" spcFirstLastPara="1" vertOverflow="ellipsis" vert="horz" wrap="square" anchor="ctr" anchorCtr="1"/>
              <a:lstStyle/>
              <a:p>
                <a:pPr>
                  <a:defRPr sz="1000" b="0" i="0" u="none" strike="noStrike" kern="1200" baseline="0">
                    <a:solidFill>
                      <a:srgbClr val="1D1D1D"/>
                    </a:solidFill>
                    <a:latin typeface="Arial"/>
                    <a:ea typeface="Arial"/>
                    <a:cs typeface="Arial"/>
                  </a:defRPr>
                </a:pPr>
                <a:r>
                  <a:rPr lang="de-AT"/>
                  <a:t>[A]</a:t>
                </a:r>
              </a:p>
            </c:rich>
          </c:tx>
          <c:layout>
            <c:manualLayout>
              <c:xMode val="edge"/>
              <c:yMode val="edge"/>
              <c:x val="0.94637288869640535"/>
              <c:y val="0.42541549384487504"/>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rgbClr val="1D1D1D"/>
                  </a:solidFill>
                  <a:latin typeface="Arial"/>
                  <a:ea typeface="Arial"/>
                  <a:cs typeface="Arial"/>
                </a:defRPr>
              </a:pPr>
              <a:endParaRPr lang="de-DE"/>
            </a:p>
          </c:txPr>
        </c:title>
        <c:numFmt formatCode="General" sourceLinked="1"/>
        <c:majorTickMark val="out"/>
        <c:minorTickMark val="none"/>
        <c:tickLblPos val="nextTo"/>
        <c:spPr>
          <a:noFill/>
          <a:ln w="3175" cap="flat" cmpd="sng" algn="ctr">
            <a:solidFill>
              <a:srgbClr val="D1C9CA"/>
            </a:solidFill>
            <a:prstDash val="solid"/>
            <a:round/>
          </a:ln>
          <a:effectLst/>
        </c:spPr>
        <c:txPr>
          <a:bodyPr rot="-60000000" spcFirstLastPara="1" vertOverflow="ellipsis" vert="horz" wrap="square" anchor="ctr" anchorCtr="1"/>
          <a:lstStyle/>
          <a:p>
            <a:pPr>
              <a:defRPr sz="900" b="0" i="0" u="none" strike="noStrike" kern="1200" baseline="0">
                <a:solidFill>
                  <a:srgbClr val="1D1D1D"/>
                </a:solidFill>
                <a:latin typeface="Arial"/>
                <a:ea typeface="Arial"/>
                <a:cs typeface="Arial"/>
              </a:defRPr>
            </a:pPr>
            <a:endParaRPr lang="de-DE"/>
          </a:p>
        </c:txPr>
        <c:crossAx val="263781488"/>
        <c:crosses val="max"/>
        <c:crossBetween val="midCat"/>
      </c:valAx>
      <c:valAx>
        <c:axId val="263781488"/>
        <c:scaling>
          <c:orientation val="minMax"/>
        </c:scaling>
        <c:delete val="1"/>
        <c:axPos val="b"/>
        <c:numFmt formatCode="General" sourceLinked="1"/>
        <c:majorTickMark val="out"/>
        <c:minorTickMark val="none"/>
        <c:tickLblPos val="nextTo"/>
        <c:crossAx val="263776912"/>
        <c:crosses val="autoZero"/>
        <c:crossBetween val="midCat"/>
      </c:valAx>
      <c:spPr>
        <a:noFill/>
        <a:ln>
          <a:noFill/>
        </a:ln>
        <a:effectLst/>
      </c:spPr>
    </c:plotArea>
    <c:legend>
      <c:legendPos val="b"/>
      <c:legendEntry>
        <c:idx val="0"/>
        <c:txPr>
          <a:bodyPr rot="0" spcFirstLastPara="1" vertOverflow="ellipsis" vert="horz" wrap="square" anchor="ctr" anchorCtr="1"/>
          <a:lstStyle/>
          <a:p>
            <a:pPr>
              <a:defRPr sz="800" b="0" i="0" u="none" strike="noStrike" kern="1200" baseline="0">
                <a:solidFill>
                  <a:srgbClr val="1D1D1D"/>
                </a:solidFill>
                <a:latin typeface="+mn-lt"/>
                <a:ea typeface="+mn-ea"/>
                <a:cs typeface="+mn-cs"/>
              </a:defRPr>
            </a:pPr>
            <a:endParaRPr lang="de-DE"/>
          </a:p>
        </c:txPr>
      </c:legendEntry>
      <c:legendEntry>
        <c:idx val="1"/>
        <c:txPr>
          <a:bodyPr rot="0" spcFirstLastPara="1" vertOverflow="ellipsis" vert="horz" wrap="square" anchor="ctr" anchorCtr="1"/>
          <a:lstStyle/>
          <a:p>
            <a:pPr>
              <a:defRPr sz="800" b="0" i="0" u="none" strike="noStrike" kern="1200" baseline="0">
                <a:solidFill>
                  <a:srgbClr val="1D1D1D"/>
                </a:solidFill>
                <a:latin typeface="+mn-lt"/>
                <a:ea typeface="+mn-ea"/>
                <a:cs typeface="+mn-cs"/>
              </a:defRPr>
            </a:pPr>
            <a:endParaRPr lang="de-DE"/>
          </a:p>
        </c:txPr>
      </c:legendEntry>
      <c:legendEntry>
        <c:idx val="2"/>
        <c:txPr>
          <a:bodyPr rot="0" spcFirstLastPara="1" vertOverflow="ellipsis" vert="horz" wrap="square" anchor="ctr" anchorCtr="1"/>
          <a:lstStyle/>
          <a:p>
            <a:pPr>
              <a:defRPr sz="800" b="0" i="0" u="none" strike="noStrike" kern="1200" baseline="0">
                <a:solidFill>
                  <a:srgbClr val="1D1D1D"/>
                </a:solidFill>
                <a:latin typeface="+mn-lt"/>
                <a:ea typeface="+mn-ea"/>
                <a:cs typeface="+mn-cs"/>
              </a:defRPr>
            </a:pPr>
            <a:endParaRPr lang="de-DE"/>
          </a:p>
        </c:txPr>
      </c:legendEntry>
      <c:legendEntry>
        <c:idx val="3"/>
        <c:txPr>
          <a:bodyPr rot="0" spcFirstLastPara="1" vertOverflow="ellipsis" vert="horz" wrap="square" anchor="ctr" anchorCtr="1"/>
          <a:lstStyle/>
          <a:p>
            <a:pPr>
              <a:defRPr sz="800" b="0" i="0" u="none" strike="noStrike" kern="1200" baseline="0">
                <a:solidFill>
                  <a:srgbClr val="1D1D1D"/>
                </a:solidFill>
                <a:latin typeface="+mn-lt"/>
                <a:ea typeface="+mn-ea"/>
                <a:cs typeface="+mn-cs"/>
              </a:defRPr>
            </a:pPr>
            <a:endParaRPr lang="de-DE"/>
          </a:p>
        </c:txPr>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tx1"/>
                </a:solidFill>
                <a:latin typeface="+mn-lt"/>
                <a:ea typeface="+mn-ea"/>
                <a:cs typeface="+mn-cs"/>
              </a:defRPr>
            </a:pPr>
            <a:r>
              <a:rPr lang="de-AT" dirty="0"/>
              <a:t>Turn on losses 3-pin vs. 4-pin</a:t>
            </a:r>
          </a:p>
          <a:p>
            <a:pPr>
              <a:defRPr/>
            </a:pPr>
            <a:r>
              <a:rPr lang="de-AT" dirty="0"/>
              <a:t>@ T = 150 [°C] V = 600 [V] Rg = 10.1 [</a:t>
            </a:r>
            <a:r>
              <a:rPr lang="el-GR" dirty="0"/>
              <a:t>Ω</a:t>
            </a:r>
            <a:r>
              <a:rPr lang="en-US" dirty="0"/>
              <a:t>] </a:t>
            </a:r>
            <a:r>
              <a:rPr lang="de-AT" dirty="0"/>
              <a:t>Vg = 15 [V]</a:t>
            </a:r>
          </a:p>
        </c:rich>
      </c:tx>
      <c:overlay val="0"/>
      <c:spPr>
        <a:noFill/>
        <a:ln>
          <a:noFill/>
        </a:ln>
        <a:effectLst/>
      </c:spPr>
      <c:txPr>
        <a:bodyPr rot="0" spcFirstLastPara="1" vertOverflow="ellipsis" vert="horz" wrap="square" anchor="ctr" anchorCtr="1"/>
        <a:lstStyle/>
        <a:p>
          <a:pPr>
            <a:defRPr sz="108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15905599300087489"/>
          <c:y val="0.1369445998153799"/>
          <c:w val="0.79648578302712159"/>
          <c:h val="0.63197751151671755"/>
        </c:manualLayout>
      </c:layout>
      <c:scatterChart>
        <c:scatterStyle val="smoothMarker"/>
        <c:varyColors val="0"/>
        <c:ser>
          <c:idx val="0"/>
          <c:order val="0"/>
          <c:tx>
            <c:strRef>
              <c:f>'[Chart in Microsoft PowerPoint]Competitor'!$D$1</c:f>
              <c:strCache>
                <c:ptCount val="1"/>
                <c:pt idx="0">
                  <c:v>IKZA40N120CS7</c:v>
                </c:pt>
              </c:strCache>
            </c:strRef>
          </c:tx>
          <c:spPr>
            <a:ln w="19050" cap="rnd">
              <a:solidFill>
                <a:schemeClr val="accent1"/>
              </a:solidFill>
              <a:round/>
            </a:ln>
            <a:effectLst/>
          </c:spPr>
          <c:marker>
            <c:symbol val="none"/>
          </c:marker>
          <c:xVal>
            <c:numRef>
              <c:f>'[Chart in Microsoft PowerPoint]Competitor'!$A$3:$A$7</c:f>
              <c:numCache>
                <c:formatCode>General</c:formatCode>
                <c:ptCount val="5"/>
                <c:pt idx="0">
                  <c:v>4</c:v>
                </c:pt>
                <c:pt idx="1">
                  <c:v>10</c:v>
                </c:pt>
                <c:pt idx="2">
                  <c:v>20</c:v>
                </c:pt>
                <c:pt idx="3">
                  <c:v>40</c:v>
                </c:pt>
                <c:pt idx="4">
                  <c:v>80</c:v>
                </c:pt>
              </c:numCache>
            </c:numRef>
          </c:xVal>
          <c:yVal>
            <c:numRef>
              <c:f>'[Chart in Microsoft PowerPoint]Competitor'!$E$3:$E$7</c:f>
              <c:numCache>
                <c:formatCode>General</c:formatCode>
                <c:ptCount val="5"/>
                <c:pt idx="0">
                  <c:v>6.4400000000000004E-4</c:v>
                </c:pt>
                <c:pt idx="1">
                  <c:v>1.1130000000000001E-3</c:v>
                </c:pt>
                <c:pt idx="2">
                  <c:v>1.786E-3</c:v>
                </c:pt>
                <c:pt idx="3">
                  <c:v>2.921E-3</c:v>
                </c:pt>
                <c:pt idx="4">
                  <c:v>5.8370000000000002E-3</c:v>
                </c:pt>
              </c:numCache>
            </c:numRef>
          </c:yVal>
          <c:smooth val="1"/>
          <c:extLst>
            <c:ext xmlns:c16="http://schemas.microsoft.com/office/drawing/2014/chart" uri="{C3380CC4-5D6E-409C-BE32-E72D297353CC}">
              <c16:uniqueId val="{00000000-958D-4359-AEEC-57AE370477E3}"/>
            </c:ext>
          </c:extLst>
        </c:ser>
        <c:ser>
          <c:idx val="1"/>
          <c:order val="1"/>
          <c:tx>
            <c:strRef>
              <c:f>'[Chart in Microsoft PowerPoint]Competitor'!$H$1</c:f>
              <c:strCache>
                <c:ptCount val="1"/>
                <c:pt idx="0">
                  <c:v>IKW40N120CS7</c:v>
                </c:pt>
              </c:strCache>
            </c:strRef>
          </c:tx>
          <c:spPr>
            <a:ln w="19050" cap="rnd">
              <a:solidFill>
                <a:schemeClr val="accent3"/>
              </a:solidFill>
              <a:round/>
            </a:ln>
            <a:effectLst/>
          </c:spPr>
          <c:marker>
            <c:symbol val="none"/>
          </c:marker>
          <c:xVal>
            <c:numRef>
              <c:f>'[Chart in Microsoft PowerPoint]Competitor'!$A$3:$A$7</c:f>
              <c:numCache>
                <c:formatCode>General</c:formatCode>
                <c:ptCount val="5"/>
                <c:pt idx="0">
                  <c:v>4</c:v>
                </c:pt>
                <c:pt idx="1">
                  <c:v>10</c:v>
                </c:pt>
                <c:pt idx="2">
                  <c:v>20</c:v>
                </c:pt>
                <c:pt idx="3">
                  <c:v>40</c:v>
                </c:pt>
                <c:pt idx="4">
                  <c:v>80</c:v>
                </c:pt>
              </c:numCache>
            </c:numRef>
          </c:xVal>
          <c:yVal>
            <c:numRef>
              <c:f>'[Chart in Microsoft PowerPoint]Competitor'!$I$3:$I$7</c:f>
              <c:numCache>
                <c:formatCode>General</c:formatCode>
                <c:ptCount val="5"/>
                <c:pt idx="0">
                  <c:v>7.4149999999999997E-4</c:v>
                </c:pt>
                <c:pt idx="1">
                  <c:v>1.33E-3</c:v>
                </c:pt>
                <c:pt idx="2">
                  <c:v>2.3370000000000001E-3</c:v>
                </c:pt>
                <c:pt idx="3">
                  <c:v>4.6010000000000001E-3</c:v>
                </c:pt>
                <c:pt idx="4">
                  <c:v>1.2290000000000001E-2</c:v>
                </c:pt>
              </c:numCache>
            </c:numRef>
          </c:yVal>
          <c:smooth val="1"/>
          <c:extLst>
            <c:ext xmlns:c16="http://schemas.microsoft.com/office/drawing/2014/chart" uri="{C3380CC4-5D6E-409C-BE32-E72D297353CC}">
              <c16:uniqueId val="{00000001-958D-4359-AEEC-57AE370477E3}"/>
            </c:ext>
          </c:extLst>
        </c:ser>
        <c:dLbls>
          <c:showLegendKey val="0"/>
          <c:showVal val="0"/>
          <c:showCatName val="0"/>
          <c:showSerName val="0"/>
          <c:showPercent val="0"/>
          <c:showBubbleSize val="0"/>
        </c:dLbls>
        <c:axId val="1847904352"/>
        <c:axId val="1481097264"/>
      </c:scatterChart>
      <c:valAx>
        <c:axId val="1847904352"/>
        <c:scaling>
          <c:orientation val="minMax"/>
          <c:max val="80"/>
          <c:min val="5"/>
        </c:scaling>
        <c:delete val="0"/>
        <c:axPos val="b"/>
        <c:majorGridlines>
          <c:spPr>
            <a:ln w="3175" cap="flat" cmpd="sng" algn="ctr">
              <a:solidFill>
                <a:schemeClr val="bg2">
                  <a:lumMod val="20000"/>
                  <a:lumOff val="80000"/>
                </a:schemeClr>
              </a:solidFill>
              <a:round/>
            </a:ln>
            <a:effectLst/>
          </c:spPr>
        </c:majorGridlines>
        <c:title>
          <c:tx>
            <c:rich>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US"/>
                  <a:t>Ic [A]</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481097264"/>
        <c:crosses val="autoZero"/>
        <c:crossBetween val="midCat"/>
        <c:majorUnit val="15"/>
        <c:minorUnit val="5"/>
      </c:valAx>
      <c:valAx>
        <c:axId val="1481097264"/>
        <c:scaling>
          <c:orientation val="minMax"/>
        </c:scaling>
        <c:delete val="0"/>
        <c:axPos val="l"/>
        <c:majorGridlines>
          <c:spPr>
            <a:ln w="3175" cap="flat" cmpd="sng" algn="ctr">
              <a:solidFill>
                <a:schemeClr val="bg2">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US"/>
                  <a:t>Eon [J]</a:t>
                </a:r>
              </a:p>
            </c:rich>
          </c:tx>
          <c:layout>
            <c:manualLayout>
              <c:xMode val="edge"/>
              <c:yMode val="edge"/>
              <c:x val="3.0172827026690476E-2"/>
              <c:y val="0.39990997504839954"/>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84790435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b="0">
          <a:solidFill>
            <a:schemeClr val="tx1"/>
          </a:solidFill>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rgbClr val="575352"/>
                </a:solidFill>
                <a:latin typeface="+mj-lt"/>
                <a:ea typeface="Source Sans Pro" panose="020B0503030403020204" pitchFamily="34" charset="0"/>
                <a:cs typeface="Times New Roman" panose="02020603050405020304" pitchFamily="18" charset="0"/>
              </a:defRPr>
            </a:pPr>
            <a:r>
              <a:rPr lang="en-US" sz="1400" dirty="0">
                <a:solidFill>
                  <a:srgbClr val="575352"/>
                </a:solidFill>
                <a:latin typeface="+mj-lt"/>
              </a:rPr>
              <a:t>Efficiency vs. Temp</a:t>
            </a:r>
          </a:p>
        </c:rich>
      </c:tx>
      <c:overlay val="0"/>
      <c:spPr>
        <a:noFill/>
        <a:ln>
          <a:noFill/>
        </a:ln>
        <a:effectLst/>
      </c:spPr>
      <c:txPr>
        <a:bodyPr rot="0" spcFirstLastPara="1" vertOverflow="ellipsis" vert="horz" wrap="square" anchor="ctr" anchorCtr="1"/>
        <a:lstStyle/>
        <a:p>
          <a:pPr>
            <a:defRPr sz="1200" b="1" i="0" u="none" strike="noStrike" kern="1200" spc="0" baseline="0">
              <a:solidFill>
                <a:srgbClr val="575352"/>
              </a:solidFill>
              <a:latin typeface="+mj-lt"/>
              <a:ea typeface="Source Sans Pro" panose="020B0503030403020204" pitchFamily="34" charset="0"/>
              <a:cs typeface="Times New Roman" panose="02020603050405020304" pitchFamily="18" charset="0"/>
            </a:defRPr>
          </a:pPr>
          <a:endParaRPr lang="de-DE"/>
        </a:p>
      </c:txPr>
    </c:title>
    <c:autoTitleDeleted val="0"/>
    <c:plotArea>
      <c:layout>
        <c:manualLayout>
          <c:layoutTarget val="inner"/>
          <c:xMode val="edge"/>
          <c:yMode val="edge"/>
          <c:x val="0.10515676231435216"/>
          <c:y val="9.120776136453719E-2"/>
          <c:w val="0.79509620146825566"/>
          <c:h val="0.77022746992243196"/>
        </c:manualLayout>
      </c:layout>
      <c:scatterChart>
        <c:scatterStyle val="smoothMarker"/>
        <c:varyColors val="0"/>
        <c:ser>
          <c:idx val="0"/>
          <c:order val="0"/>
          <c:tx>
            <c:strRef>
              <c:f>Data!$B$8</c:f>
              <c:strCache>
                <c:ptCount val="1"/>
                <c:pt idx="0">
                  <c:v>IKZA40N120CH7</c:v>
                </c:pt>
              </c:strCache>
            </c:strRef>
          </c:tx>
          <c:spPr>
            <a:ln w="28575" cap="rnd">
              <a:solidFill>
                <a:srgbClr val="0A8276"/>
              </a:solidFill>
              <a:round/>
            </a:ln>
            <a:effectLst/>
          </c:spPr>
          <c:marker>
            <c:symbol val="none"/>
          </c:marker>
          <c:xVal>
            <c:numRef>
              <c:f>Data!$E$8:$E$15</c:f>
              <c:numCache>
                <c:formatCode>General</c:formatCode>
                <c:ptCount val="8"/>
                <c:pt idx="0">
                  <c:v>0.48399999999999999</c:v>
                </c:pt>
                <c:pt idx="1">
                  <c:v>1.179</c:v>
                </c:pt>
                <c:pt idx="2">
                  <c:v>1.639</c:v>
                </c:pt>
                <c:pt idx="3">
                  <c:v>2.3239999999999998</c:v>
                </c:pt>
                <c:pt idx="4">
                  <c:v>2.7789999999999999</c:v>
                </c:pt>
                <c:pt idx="5">
                  <c:v>3.23</c:v>
                </c:pt>
                <c:pt idx="6">
                  <c:v>3.6829999999999998</c:v>
                </c:pt>
                <c:pt idx="7">
                  <c:v>4.3540000000000001</c:v>
                </c:pt>
              </c:numCache>
            </c:numRef>
          </c:xVal>
          <c:yVal>
            <c:numRef>
              <c:f>Data!$I$8:$I$15</c:f>
              <c:numCache>
                <c:formatCode>General</c:formatCode>
                <c:ptCount val="8"/>
                <c:pt idx="0">
                  <c:v>95.54</c:v>
                </c:pt>
                <c:pt idx="1">
                  <c:v>97.51</c:v>
                </c:pt>
                <c:pt idx="2">
                  <c:v>97.745000000000005</c:v>
                </c:pt>
                <c:pt idx="3">
                  <c:v>97.771000000000001</c:v>
                </c:pt>
                <c:pt idx="4">
                  <c:v>97.721999999999994</c:v>
                </c:pt>
                <c:pt idx="5">
                  <c:v>97.623000000000005</c:v>
                </c:pt>
                <c:pt idx="6">
                  <c:v>97.495000000000005</c:v>
                </c:pt>
                <c:pt idx="7">
                  <c:v>97.284999999999997</c:v>
                </c:pt>
              </c:numCache>
            </c:numRef>
          </c:yVal>
          <c:smooth val="1"/>
          <c:extLst>
            <c:ext xmlns:c16="http://schemas.microsoft.com/office/drawing/2014/chart" uri="{C3380CC4-5D6E-409C-BE32-E72D297353CC}">
              <c16:uniqueId val="{00000000-7788-425F-82D0-DB8F75645C57}"/>
            </c:ext>
          </c:extLst>
        </c:ser>
        <c:ser>
          <c:idx val="3"/>
          <c:order val="1"/>
          <c:tx>
            <c:strRef>
              <c:f>Data!$A$44</c:f>
              <c:strCache>
                <c:ptCount val="1"/>
                <c:pt idx="0">
                  <c:v>Competitor </c:v>
                </c:pt>
              </c:strCache>
            </c:strRef>
          </c:tx>
          <c:spPr>
            <a:ln w="28575" cap="rnd">
              <a:solidFill>
                <a:srgbClr val="6CB4AD"/>
              </a:solidFill>
              <a:round/>
            </a:ln>
            <a:effectLst/>
          </c:spPr>
          <c:marker>
            <c:symbol val="none"/>
          </c:marker>
          <c:xVal>
            <c:numRef>
              <c:f>(Data!$E$41:$E$45,Data!$E$47:$E$48)</c:f>
              <c:numCache>
                <c:formatCode>General</c:formatCode>
                <c:ptCount val="7"/>
                <c:pt idx="0">
                  <c:v>0.48199999999999998</c:v>
                </c:pt>
                <c:pt idx="1">
                  <c:v>1.17</c:v>
                </c:pt>
                <c:pt idx="2">
                  <c:v>1.623</c:v>
                </c:pt>
                <c:pt idx="3">
                  <c:v>2.31</c:v>
                </c:pt>
                <c:pt idx="4">
                  <c:v>2.7610000000000001</c:v>
                </c:pt>
                <c:pt idx="5">
                  <c:v>3.6589999999999998</c:v>
                </c:pt>
                <c:pt idx="6">
                  <c:v>4.327</c:v>
                </c:pt>
              </c:numCache>
            </c:numRef>
          </c:xVal>
          <c:yVal>
            <c:numRef>
              <c:f>(Data!$I$41:$I$45,Data!$I$47:$I$48)</c:f>
              <c:numCache>
                <c:formatCode>General</c:formatCode>
                <c:ptCount val="7"/>
                <c:pt idx="0">
                  <c:v>95.122</c:v>
                </c:pt>
                <c:pt idx="1">
                  <c:v>97.34</c:v>
                </c:pt>
                <c:pt idx="2">
                  <c:v>97.563999999999993</c:v>
                </c:pt>
                <c:pt idx="3">
                  <c:v>97.614000000000004</c:v>
                </c:pt>
                <c:pt idx="4">
                  <c:v>97.554000000000002</c:v>
                </c:pt>
                <c:pt idx="5">
                  <c:v>97.346999999999994</c:v>
                </c:pt>
                <c:pt idx="6">
                  <c:v>97.149000000000001</c:v>
                </c:pt>
              </c:numCache>
            </c:numRef>
          </c:yVal>
          <c:smooth val="1"/>
          <c:extLst>
            <c:ext xmlns:c16="http://schemas.microsoft.com/office/drawing/2014/chart" uri="{C3380CC4-5D6E-409C-BE32-E72D297353CC}">
              <c16:uniqueId val="{00000001-7788-425F-82D0-DB8F75645C57}"/>
            </c:ext>
          </c:extLst>
        </c:ser>
        <c:dLbls>
          <c:showLegendKey val="0"/>
          <c:showVal val="0"/>
          <c:showCatName val="0"/>
          <c:showSerName val="0"/>
          <c:showPercent val="0"/>
          <c:showBubbleSize val="0"/>
        </c:dLbls>
        <c:axId val="1622423263"/>
        <c:axId val="1406861727"/>
      </c:scatterChart>
      <c:scatterChart>
        <c:scatterStyle val="smoothMarker"/>
        <c:varyColors val="0"/>
        <c:ser>
          <c:idx val="4"/>
          <c:order val="2"/>
          <c:spPr>
            <a:ln w="19050" cap="rnd">
              <a:solidFill>
                <a:srgbClr val="0A8276"/>
              </a:solidFill>
              <a:prstDash val="sysDash"/>
              <a:round/>
            </a:ln>
            <a:effectLst/>
          </c:spPr>
          <c:marker>
            <c:symbol val="none"/>
          </c:marker>
          <c:xVal>
            <c:numRef>
              <c:f>Data!$E$8:$E$15</c:f>
              <c:numCache>
                <c:formatCode>General</c:formatCode>
                <c:ptCount val="8"/>
                <c:pt idx="0">
                  <c:v>0.48399999999999999</c:v>
                </c:pt>
                <c:pt idx="1">
                  <c:v>1.179</c:v>
                </c:pt>
                <c:pt idx="2">
                  <c:v>1.639</c:v>
                </c:pt>
                <c:pt idx="3">
                  <c:v>2.3239999999999998</c:v>
                </c:pt>
                <c:pt idx="4">
                  <c:v>2.7789999999999999</c:v>
                </c:pt>
                <c:pt idx="5">
                  <c:v>3.23</c:v>
                </c:pt>
                <c:pt idx="6">
                  <c:v>3.6829999999999998</c:v>
                </c:pt>
                <c:pt idx="7">
                  <c:v>4.3540000000000001</c:v>
                </c:pt>
              </c:numCache>
            </c:numRef>
          </c:xVal>
          <c:yVal>
            <c:numRef>
              <c:f>Data!$F$8:$F$15</c:f>
              <c:numCache>
                <c:formatCode>General</c:formatCode>
                <c:ptCount val="8"/>
                <c:pt idx="0">
                  <c:v>41.6</c:v>
                </c:pt>
                <c:pt idx="1">
                  <c:v>50.5</c:v>
                </c:pt>
                <c:pt idx="2">
                  <c:v>56.3</c:v>
                </c:pt>
                <c:pt idx="3">
                  <c:v>69.8</c:v>
                </c:pt>
                <c:pt idx="4">
                  <c:v>78.8</c:v>
                </c:pt>
                <c:pt idx="5">
                  <c:v>86.9</c:v>
                </c:pt>
                <c:pt idx="6">
                  <c:v>97</c:v>
                </c:pt>
                <c:pt idx="7">
                  <c:v>111.8</c:v>
                </c:pt>
              </c:numCache>
            </c:numRef>
          </c:yVal>
          <c:smooth val="1"/>
          <c:extLst>
            <c:ext xmlns:c16="http://schemas.microsoft.com/office/drawing/2014/chart" uri="{C3380CC4-5D6E-409C-BE32-E72D297353CC}">
              <c16:uniqueId val="{00000002-7788-425F-82D0-DB8F75645C57}"/>
            </c:ext>
          </c:extLst>
        </c:ser>
        <c:ser>
          <c:idx val="7"/>
          <c:order val="3"/>
          <c:spPr>
            <a:ln w="19050" cap="rnd">
              <a:solidFill>
                <a:srgbClr val="6CB4AD"/>
              </a:solidFill>
              <a:prstDash val="sysDash"/>
              <a:round/>
            </a:ln>
            <a:effectLst/>
          </c:spPr>
          <c:marker>
            <c:symbol val="none"/>
          </c:marker>
          <c:xVal>
            <c:numRef>
              <c:f>Data!$E$41:$E$48</c:f>
              <c:numCache>
                <c:formatCode>General</c:formatCode>
                <c:ptCount val="8"/>
                <c:pt idx="0">
                  <c:v>0.48199999999999998</c:v>
                </c:pt>
                <c:pt idx="1">
                  <c:v>1.17</c:v>
                </c:pt>
                <c:pt idx="2">
                  <c:v>1.623</c:v>
                </c:pt>
                <c:pt idx="3">
                  <c:v>2.31</c:v>
                </c:pt>
                <c:pt idx="4">
                  <c:v>2.7610000000000001</c:v>
                </c:pt>
                <c:pt idx="5">
                  <c:v>3.2090000000000001</c:v>
                </c:pt>
                <c:pt idx="6">
                  <c:v>3.6589999999999998</c:v>
                </c:pt>
                <c:pt idx="7">
                  <c:v>4.327</c:v>
                </c:pt>
              </c:numCache>
            </c:numRef>
          </c:xVal>
          <c:yVal>
            <c:numRef>
              <c:f>Data!$F$41:$F$48</c:f>
              <c:numCache>
                <c:formatCode>General</c:formatCode>
                <c:ptCount val="8"/>
                <c:pt idx="0">
                  <c:v>46.9</c:v>
                </c:pt>
                <c:pt idx="1">
                  <c:v>56.2</c:v>
                </c:pt>
                <c:pt idx="2">
                  <c:v>65.099999999999994</c:v>
                </c:pt>
                <c:pt idx="3">
                  <c:v>77.099999999999994</c:v>
                </c:pt>
                <c:pt idx="4">
                  <c:v>87.8</c:v>
                </c:pt>
                <c:pt idx="5">
                  <c:v>98.2</c:v>
                </c:pt>
                <c:pt idx="6">
                  <c:v>107.9</c:v>
                </c:pt>
                <c:pt idx="7">
                  <c:v>126</c:v>
                </c:pt>
              </c:numCache>
            </c:numRef>
          </c:yVal>
          <c:smooth val="1"/>
          <c:extLst>
            <c:ext xmlns:c16="http://schemas.microsoft.com/office/drawing/2014/chart" uri="{C3380CC4-5D6E-409C-BE32-E72D297353CC}">
              <c16:uniqueId val="{00000003-7788-425F-82D0-DB8F75645C57}"/>
            </c:ext>
          </c:extLst>
        </c:ser>
        <c:dLbls>
          <c:showLegendKey val="0"/>
          <c:showVal val="0"/>
          <c:showCatName val="0"/>
          <c:showSerName val="0"/>
          <c:showPercent val="0"/>
          <c:showBubbleSize val="0"/>
        </c:dLbls>
        <c:axId val="1612094031"/>
        <c:axId val="1612092367"/>
      </c:scatterChart>
      <c:valAx>
        <c:axId val="1622423263"/>
        <c:scaling>
          <c:orientation val="minMax"/>
          <c:max val="4.5"/>
          <c:min val="0.5"/>
        </c:scaling>
        <c:delete val="0"/>
        <c:axPos val="b"/>
        <c:title>
          <c:tx>
            <c:rich>
              <a:bodyPr rot="0" spcFirstLastPara="1" vertOverflow="ellipsis" vert="horz" wrap="square" anchor="ctr" anchorCtr="1"/>
              <a:lstStyle/>
              <a:p>
                <a:pPr>
                  <a:defRPr sz="1000" b="1" i="0" u="none" strike="noStrike" kern="1200" baseline="0">
                    <a:solidFill>
                      <a:srgbClr val="575352"/>
                    </a:solidFill>
                    <a:latin typeface="+mn-lt"/>
                    <a:ea typeface="Source Sans Pro" panose="020B0503030403020204" pitchFamily="34" charset="0"/>
                    <a:cs typeface="Times New Roman" panose="02020603050405020304" pitchFamily="18" charset="0"/>
                  </a:defRPr>
                </a:pPr>
                <a:r>
                  <a:rPr lang="en-US"/>
                  <a:t>System output power [kW]</a:t>
                </a:r>
              </a:p>
            </c:rich>
          </c:tx>
          <c:layout>
            <c:manualLayout>
              <c:xMode val="edge"/>
              <c:yMode val="edge"/>
              <c:x val="0.40877633722717233"/>
              <c:y val="0.91562300203975799"/>
            </c:manualLayout>
          </c:layout>
          <c:overlay val="0"/>
          <c:spPr>
            <a:noFill/>
            <a:ln>
              <a:noFill/>
            </a:ln>
            <a:effectLst/>
          </c:spPr>
          <c:txPr>
            <a:bodyPr rot="0" spcFirstLastPara="1" vertOverflow="ellipsis" vert="horz" wrap="square" anchor="ctr" anchorCtr="1"/>
            <a:lstStyle/>
            <a:p>
              <a:pPr>
                <a:defRPr sz="1000" b="1" i="0" u="none" strike="noStrike" kern="1200" baseline="0">
                  <a:solidFill>
                    <a:srgbClr val="575352"/>
                  </a:solidFill>
                  <a:latin typeface="+mn-lt"/>
                  <a:ea typeface="Source Sans Pro" panose="020B0503030403020204" pitchFamily="34" charset="0"/>
                  <a:cs typeface="Times New Roman" panose="02020603050405020304" pitchFamily="18" charset="0"/>
                </a:defRPr>
              </a:pPr>
              <a:endParaRPr lang="de-DE"/>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rgbClr val="575352"/>
                </a:solidFill>
                <a:latin typeface="Arial"/>
                <a:ea typeface="Arial"/>
                <a:cs typeface="Arial"/>
              </a:defRPr>
            </a:pPr>
            <a:endParaRPr lang="de-DE"/>
          </a:p>
        </c:txPr>
        <c:crossAx val="1406861727"/>
        <c:crosses val="autoZero"/>
        <c:crossBetween val="midCat"/>
      </c:valAx>
      <c:valAx>
        <c:axId val="1406861727"/>
        <c:scaling>
          <c:orientation val="minMax"/>
          <c:max val="97.9"/>
          <c:min val="95.6"/>
        </c:scaling>
        <c:delete val="0"/>
        <c:axPos val="l"/>
        <c:title>
          <c:tx>
            <c:rich>
              <a:bodyPr rot="-5400000" spcFirstLastPara="1" vertOverflow="ellipsis" vert="horz" wrap="square" anchor="ctr" anchorCtr="1"/>
              <a:lstStyle/>
              <a:p>
                <a:pPr>
                  <a:defRPr sz="1000" b="1" i="0" u="none" strike="noStrike" kern="1200" baseline="0">
                    <a:solidFill>
                      <a:srgbClr val="575352"/>
                    </a:solidFill>
                    <a:latin typeface="+mj-lt"/>
                    <a:ea typeface="Source Sans Pro" panose="020B0503030403020204" pitchFamily="34" charset="0"/>
                    <a:cs typeface="Times New Roman" panose="02020603050405020304" pitchFamily="18" charset="0"/>
                  </a:defRPr>
                </a:pPr>
                <a:r>
                  <a:rPr lang="en-US"/>
                  <a:t>Efficiency [%]</a:t>
                </a:r>
              </a:p>
            </c:rich>
          </c:tx>
          <c:layout>
            <c:manualLayout>
              <c:xMode val="edge"/>
              <c:yMode val="edge"/>
              <c:x val="1.4237864877129256E-2"/>
              <c:y val="0.42269830627573751"/>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rgbClr val="575352"/>
                  </a:solidFill>
                  <a:latin typeface="+mj-lt"/>
                  <a:ea typeface="Source Sans Pro" panose="020B0503030403020204" pitchFamily="34" charset="0"/>
                  <a:cs typeface="Times New Roman" panose="02020603050405020304" pitchFamily="18" charset="0"/>
                </a:defRPr>
              </a:pPr>
              <a:endParaRPr lang="de-DE"/>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rgbClr val="575352"/>
                </a:solidFill>
                <a:latin typeface="Arial"/>
                <a:ea typeface="Arial"/>
                <a:cs typeface="Arial"/>
              </a:defRPr>
            </a:pPr>
            <a:endParaRPr lang="de-DE"/>
          </a:p>
        </c:txPr>
        <c:crossAx val="1622423263"/>
        <c:crosses val="autoZero"/>
        <c:crossBetween val="midCat"/>
        <c:majorUnit val="0.2"/>
        <c:minorUnit val="0.1"/>
      </c:valAx>
      <c:valAx>
        <c:axId val="1612092367"/>
        <c:scaling>
          <c:orientation val="minMax"/>
          <c:max val="130"/>
          <c:min val="40"/>
        </c:scaling>
        <c:delete val="0"/>
        <c:axPos val="r"/>
        <c:title>
          <c:tx>
            <c:rich>
              <a:bodyPr rot="-5400000" spcFirstLastPara="1" vertOverflow="ellipsis" vert="horz" wrap="square" anchor="ctr" anchorCtr="1"/>
              <a:lstStyle/>
              <a:p>
                <a:pPr>
                  <a:defRPr sz="1000" b="1" i="0" u="none" strike="noStrike" kern="1200" baseline="0">
                    <a:solidFill>
                      <a:srgbClr val="575352"/>
                    </a:solidFill>
                    <a:latin typeface="+mn-lt"/>
                    <a:ea typeface="Source Sans Pro" panose="020B0503030403020204" pitchFamily="34" charset="0"/>
                    <a:cs typeface="Times New Roman" panose="02020603050405020304" pitchFamily="18" charset="0"/>
                  </a:defRPr>
                </a:pPr>
                <a:r>
                  <a:rPr lang="en-US"/>
                  <a:t>Tmold compound case [°C]</a:t>
                </a:r>
              </a:p>
            </c:rich>
          </c:tx>
          <c:layout>
            <c:manualLayout>
              <c:xMode val="edge"/>
              <c:yMode val="edge"/>
              <c:x val="0.94939088082245515"/>
              <c:y val="0.35509214957931068"/>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rgbClr val="575352"/>
                  </a:solidFill>
                  <a:latin typeface="+mn-lt"/>
                  <a:ea typeface="Source Sans Pro" panose="020B0503030403020204" pitchFamily="34" charset="0"/>
                  <a:cs typeface="Times New Roman" panose="02020603050405020304" pitchFamily="18" charset="0"/>
                </a:defRPr>
              </a:pPr>
              <a:endParaRPr lang="de-DE"/>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rgbClr val="575352"/>
                </a:solidFill>
                <a:latin typeface="Arial"/>
                <a:ea typeface="Arial"/>
                <a:cs typeface="Arial"/>
              </a:defRPr>
            </a:pPr>
            <a:endParaRPr lang="de-DE"/>
          </a:p>
        </c:txPr>
        <c:crossAx val="1612094031"/>
        <c:crosses val="max"/>
        <c:crossBetween val="midCat"/>
        <c:majorUnit val="15"/>
      </c:valAx>
      <c:valAx>
        <c:axId val="1612094031"/>
        <c:scaling>
          <c:orientation val="minMax"/>
        </c:scaling>
        <c:delete val="1"/>
        <c:axPos val="b"/>
        <c:numFmt formatCode="General" sourceLinked="1"/>
        <c:majorTickMark val="out"/>
        <c:minorTickMark val="none"/>
        <c:tickLblPos val="nextTo"/>
        <c:crossAx val="1612092367"/>
        <c:crosses val="autoZero"/>
        <c:crossBetween val="midCat"/>
      </c:valAx>
      <c:spPr>
        <a:noFill/>
        <a:ln>
          <a:noFill/>
        </a:ln>
        <a:effectLst/>
      </c:spPr>
    </c:plotArea>
    <c:legend>
      <c:legendPos val="r"/>
      <c:legendEntry>
        <c:idx val="0"/>
        <c:delete val="1"/>
      </c:legendEntry>
      <c:legendEntry>
        <c:idx val="1"/>
        <c:delete val="1"/>
      </c:legendEntry>
      <c:legendEntry>
        <c:idx val="2"/>
        <c:delete val="1"/>
      </c:legendEntry>
      <c:legendEntry>
        <c:idx val="3"/>
        <c:delete val="1"/>
      </c:legendEntry>
      <c:layout>
        <c:manualLayout>
          <c:xMode val="edge"/>
          <c:yMode val="edge"/>
          <c:x val="0.55186744880297567"/>
          <c:y val="0.60284512359939024"/>
          <c:w val="0.27699687196301714"/>
          <c:h val="0.23261375385708324"/>
        </c:manualLayout>
      </c:layout>
      <c:overlay val="0"/>
      <c:spPr>
        <a:solidFill>
          <a:schemeClr val="bg1"/>
        </a:solidFill>
        <a:ln w="9525">
          <a:solidFill>
            <a:schemeClr val="tx1"/>
          </a:solidFill>
          <a:prstDash val="solid"/>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Times New Roman" panose="02020603050405020304" pitchFamily="18" charset="0"/>
              <a:ea typeface="Source Sans Pro" panose="020B0503030403020204" pitchFamily="34" charset="0"/>
              <a:cs typeface="Times New Roman" panose="02020603050405020304" pitchFamily="18"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a:noFill/>
    </a:ln>
    <a:effectLst/>
  </c:spPr>
  <c:txPr>
    <a:bodyPr/>
    <a:lstStyle/>
    <a:p>
      <a:pPr>
        <a:defRPr sz="1000" b="1">
          <a:latin typeface="Times New Roman" panose="02020603050405020304" pitchFamily="18" charset="0"/>
          <a:ea typeface="Source Sans Pro" panose="020B0503030403020204" pitchFamily="34" charset="0"/>
          <a:cs typeface="Times New Roman" panose="02020603050405020304" pitchFamily="18" charset="0"/>
        </a:defRPr>
      </a:pPr>
      <a:endParaRPr lang="de-DE"/>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3.emf"/></Relationships>
</file>

<file path=ppt/drawings/drawing1.xml><?xml version="1.0" encoding="utf-8"?>
<c:userShapes xmlns:c="http://schemas.openxmlformats.org/drawingml/2006/chart">
  <cdr:relSizeAnchor xmlns:cdr="http://schemas.openxmlformats.org/drawingml/2006/chartDrawing">
    <cdr:from>
      <cdr:x>0.11286</cdr:x>
      <cdr:y>0.23363</cdr:y>
    </cdr:from>
    <cdr:to>
      <cdr:x>0.19165</cdr:x>
      <cdr:y>0.23363</cdr:y>
    </cdr:to>
    <cdr:cxnSp macro="">
      <cdr:nvCxnSpPr>
        <cdr:cNvPr id="4" name="Straight Arrow Connector 3">
          <a:extLst xmlns:a="http://schemas.openxmlformats.org/drawingml/2006/main">
            <a:ext uri="{FF2B5EF4-FFF2-40B4-BE49-F238E27FC236}">
              <a16:creationId xmlns:a16="http://schemas.microsoft.com/office/drawing/2014/main" id="{4C4F6761-F599-3AAA-8C9B-4F34B16C685E}"/>
            </a:ext>
          </a:extLst>
        </cdr:cNvPr>
        <cdr:cNvCxnSpPr/>
      </cdr:nvCxnSpPr>
      <cdr:spPr>
        <a:xfrm xmlns:a="http://schemas.openxmlformats.org/drawingml/2006/main" flipH="1">
          <a:off x="720080" y="1075714"/>
          <a:ext cx="502709" cy="0"/>
        </a:xfrm>
        <a:prstGeom xmlns:a="http://schemas.openxmlformats.org/drawingml/2006/main" prst="straightConnector1">
          <a:avLst/>
        </a:prstGeom>
        <a:ln xmlns:a="http://schemas.openxmlformats.org/drawingml/2006/main" w="41275">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4725</cdr:x>
      <cdr:y>0.39055</cdr:y>
    </cdr:from>
    <cdr:to>
      <cdr:x>0.82604</cdr:x>
      <cdr:y>0.39055</cdr:y>
    </cdr:to>
    <cdr:cxnSp macro="">
      <cdr:nvCxnSpPr>
        <cdr:cNvPr id="5" name="Straight Arrow Connector 4">
          <a:extLst xmlns:a="http://schemas.openxmlformats.org/drawingml/2006/main">
            <a:ext uri="{FF2B5EF4-FFF2-40B4-BE49-F238E27FC236}">
              <a16:creationId xmlns:a16="http://schemas.microsoft.com/office/drawing/2014/main" id="{2A5E9E53-27E9-44CE-17BE-274C9066704C}"/>
            </a:ext>
          </a:extLst>
        </cdr:cNvPr>
        <cdr:cNvCxnSpPr/>
      </cdr:nvCxnSpPr>
      <cdr:spPr>
        <a:xfrm xmlns:a="http://schemas.openxmlformats.org/drawingml/2006/main">
          <a:off x="4767711" y="1798238"/>
          <a:ext cx="502709" cy="0"/>
        </a:xfrm>
        <a:prstGeom xmlns:a="http://schemas.openxmlformats.org/drawingml/2006/main" prst="straightConnector1">
          <a:avLst/>
        </a:prstGeom>
        <a:ln xmlns:a="http://schemas.openxmlformats.org/drawingml/2006/main" w="41275">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5.png"/><Relationship Id="rId2" Type="http://schemas.openxmlformats.org/officeDocument/2006/relationships/tags" Target="../tags/tag204.xml"/><Relationship Id="rId1" Type="http://schemas.openxmlformats.org/officeDocument/2006/relationships/theme" Target="../theme/theme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5.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09.2025</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5.png"/><Relationship Id="rId2" Type="http://schemas.openxmlformats.org/officeDocument/2006/relationships/tags" Target="../tags/tag194.xml"/><Relationship Id="rId1" Type="http://schemas.openxmlformats.org/officeDocument/2006/relationships/theme" Target="../theme/theme2.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5.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09.2025</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91641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13" name="IFXSHAPE"/>
          <p:cNvSpPr>
            <a:spLocks noGrp="1"/>
          </p:cNvSpPr>
          <p:nvPr>
            <p:ph type="body" idx="3"/>
          </p:nvPr>
        </p:nvSpPr>
        <p:spPr>
          <a:xfrm>
            <a:off x="453306" y="4708042"/>
            <a:ext cx="6191968" cy="4832456"/>
          </a:xfrm>
        </p:spPr>
        <p:txBody>
          <a:bodyPr/>
          <a:lstStyle/>
          <a:p>
            <a:endParaRPr lang="de-AT" dirty="0">
              <a:solidFill>
                <a:schemeClr val="tx1"/>
              </a:solidFill>
            </a:endParaRPr>
          </a:p>
        </p:txBody>
      </p:sp>
      <p:sp>
        <p:nvSpPr>
          <p:cNvPr id="14" name="IFXSHAPE"/>
          <p:cNvSpPr>
            <a:spLocks noGrp="1"/>
          </p:cNvSpPr>
          <p:nvPr>
            <p:ph type="hdr" sz="quarter"/>
          </p:nvPr>
        </p:nvSpPr>
        <p:spPr>
          <a:xfrm>
            <a:off x="454025" y="295163"/>
            <a:ext cx="4422857" cy="419422"/>
          </a:xfrm>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de-AT"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15" name="IFXSHAPE"/>
          <p:cNvSpPr>
            <a:spLocks noGrp="1"/>
          </p:cNvSpPr>
          <p:nvPr>
            <p:ph type="ftr" sz="quarter" idx="4"/>
          </p:nvPr>
        </p:nvSpPr>
        <p:spPr>
          <a:xfrm>
            <a:off x="1317625" y="9940925"/>
            <a:ext cx="4824411" cy="144933"/>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AT"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AT" sz="100" b="1"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restricted</a:t>
            </a:r>
            <a:endParaRPr kumimoji="0" lang="de-AT" sz="1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16" name="IFXSHAPE"/>
          <p:cNvSpPr>
            <a:spLocks noGrp="1"/>
          </p:cNvSpPr>
          <p:nvPr>
            <p:ph type="dt" idx="1"/>
          </p:nvPr>
        </p:nvSpPr>
        <p:spPr>
          <a:xfrm>
            <a:off x="453306" y="9940925"/>
            <a:ext cx="864320" cy="14493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2020-09-29</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AT"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17" name="IFXSHAPE"/>
          <p:cNvSpPr>
            <a:spLocks noGrp="1"/>
          </p:cNvSpPr>
          <p:nvPr>
            <p:ph type="sldNum" sz="quarter" idx="5"/>
          </p:nvPr>
        </p:nvSpPr>
        <p:spPr>
          <a:xfrm>
            <a:off x="6142037" y="9940925"/>
            <a:ext cx="503237" cy="1449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de-AT"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de-AT" sz="800" b="0" i="0" u="none" strike="noStrike" kern="1200" cap="none" spc="0" normalizeH="0" baseline="0" noProof="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AT"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1003587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09-28</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38970467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AT" dirty="0"/>
              <a:t>9 products</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96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AT" dirty="0"/>
              <a:t>8 </a:t>
            </a:r>
            <a:r>
              <a:rPr lang="de-AT" b="1" dirty="0"/>
              <a:t>products</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23966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8567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Copyright © Infineon Technologies AG 2021. All rights reserved.</a:t>
            </a:r>
            <a:endParaRPr lang="en-US" b="1" dirty="0">
              <a:solidFill>
                <a:srgbClr val="E30034"/>
              </a:solidFill>
              <a:latin typeface="Arial" panose="020B0604020202020204" pitchFamily="34" charset="0"/>
              <a:cs typeface="Arial" panose="020B0604020202020204" pitchFamily="34" charset="0"/>
            </a:endParaRPr>
          </a:p>
        </p:txBody>
      </p:sp>
      <p:sp>
        <p:nvSpPr>
          <p:cNvPr id="6" name="Datumsplatzhalter 5"/>
          <p:cNvSpPr>
            <a:spLocks noGrp="1"/>
          </p:cNvSpPr>
          <p:nvPr>
            <p:ph type="dt" idx="12"/>
          </p:nvPr>
        </p:nvSpPr>
        <p:spPr/>
        <p:txBody>
          <a:bodyPr/>
          <a:lstStyle/>
          <a:p>
            <a:r>
              <a:rPr lang="en-US" dirty="0"/>
              <a:t>2021-05-04</a:t>
            </a:r>
          </a:p>
        </p:txBody>
      </p:sp>
      <p:sp>
        <p:nvSpPr>
          <p:cNvPr id="7" name="Foliennummernplatzhalter 6"/>
          <p:cNvSpPr>
            <a:spLocks noGrp="1"/>
          </p:cNvSpPr>
          <p:nvPr>
            <p:ph type="sldNum" sz="quarter" idx="13"/>
          </p:nvPr>
        </p:nvSpPr>
        <p:spPr/>
        <p:txBody>
          <a:bodyPr/>
          <a:lstStyle/>
          <a:p>
            <a:fld id="{89A302B8-5C08-4CE5-A1ED-F597E61FC911}" type="slidenum">
              <a:rPr lang="en-US" smtClean="0">
                <a:latin typeface="Arial" panose="020B0604020202020204" pitchFamily="34" charset="0"/>
                <a:cs typeface="Arial" panose="020B0604020202020204" pitchFamily="34" charset="0"/>
              </a:rPr>
              <a:pPr/>
              <a:t>1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7597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603250" y="982663"/>
            <a:ext cx="8004175" cy="4503737"/>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sldNum" sz="quarter" idx="10"/>
          </p:nvPr>
        </p:nvSpPr>
        <p:spPr/>
        <p:txBody>
          <a:bodyPr/>
          <a:lstStyle/>
          <a:p>
            <a:pPr defTabSz="882213">
              <a:defRPr/>
            </a:pPr>
            <a:fld id="{CE223578-F621-4BAB-A86D-25197B63B860}" type="slidenum">
              <a:rPr lang="en-US">
                <a:solidFill>
                  <a:prstClr val="black"/>
                </a:solidFill>
                <a:latin typeface="Calibri"/>
              </a:rPr>
              <a:pPr defTabSz="882213">
                <a:defRPr/>
              </a:pPr>
              <a:t>19</a:t>
            </a:fld>
            <a:endParaRPr lang="en-US" dirty="0">
              <a:solidFill>
                <a:prstClr val="black"/>
              </a:solidFill>
              <a:latin typeface="Calibri"/>
            </a:endParaRPr>
          </a:p>
          <a:p>
            <a:pPr defTabSz="882213">
              <a:defRPr/>
            </a:pPr>
            <a:endParaRPr lang="en-US" dirty="0">
              <a:solidFill>
                <a:prstClr val="black"/>
              </a:solidFill>
              <a:latin typeface="Calibri"/>
            </a:endParaRPr>
          </a:p>
        </p:txBody>
      </p:sp>
    </p:spTree>
    <p:extLst>
      <p:ext uri="{BB962C8B-B14F-4D97-AF65-F5344CB8AC3E}">
        <p14:creationId xmlns:p14="http://schemas.microsoft.com/office/powerpoint/2010/main" val="2197137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603250" y="982663"/>
            <a:ext cx="8004175" cy="4503737"/>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sldNum" sz="quarter" idx="10"/>
          </p:nvPr>
        </p:nvSpPr>
        <p:spPr/>
        <p:txBody>
          <a:bodyPr/>
          <a:lstStyle/>
          <a:p>
            <a:pPr defTabSz="882213">
              <a:defRPr/>
            </a:pPr>
            <a:fld id="{CE223578-F621-4BAB-A86D-25197B63B860}" type="slidenum">
              <a:rPr lang="en-US">
                <a:solidFill>
                  <a:prstClr val="black"/>
                </a:solidFill>
                <a:latin typeface="Calibri"/>
              </a:rPr>
              <a:pPr defTabSz="882213">
                <a:defRPr/>
              </a:pPr>
              <a:t>20</a:t>
            </a:fld>
            <a:endParaRPr lang="en-US" dirty="0">
              <a:solidFill>
                <a:prstClr val="black"/>
              </a:solidFill>
              <a:latin typeface="Calibri"/>
            </a:endParaRPr>
          </a:p>
          <a:p>
            <a:pPr defTabSz="882213">
              <a:defRPr/>
            </a:pPr>
            <a:endParaRPr lang="en-US" dirty="0">
              <a:solidFill>
                <a:prstClr val="black"/>
              </a:solidFill>
              <a:latin typeface="Calibri"/>
            </a:endParaRPr>
          </a:p>
        </p:txBody>
      </p:sp>
    </p:spTree>
    <p:extLst>
      <p:ext uri="{BB962C8B-B14F-4D97-AF65-F5344CB8AC3E}">
        <p14:creationId xmlns:p14="http://schemas.microsoft.com/office/powerpoint/2010/main" val="1324449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posed IGBT structure is based on micro-pattern trenches as shown in the top right corner drawing. In contrast to former Infineon technology, trenches can be utilized in several ways</a:t>
            </a:r>
          </a:p>
          <a:p>
            <a:r>
              <a:rPr lang="en-US" dirty="0"/>
              <a:t>As active channel </a:t>
            </a:r>
            <a:r>
              <a:rPr lang="en-US" dirty="0">
                <a:sym typeface="Wingdings" panose="05000000000000000000" pitchFamily="2" charset="2"/>
              </a:rPr>
              <a:t> active gate</a:t>
            </a:r>
          </a:p>
          <a:p>
            <a:r>
              <a:rPr lang="en-US" dirty="0"/>
              <a:t>As </a:t>
            </a:r>
            <a:r>
              <a:rPr lang="en-US" dirty="0">
                <a:sym typeface="Wingdings" panose="05000000000000000000" pitchFamily="2" charset="2"/>
              </a:rPr>
              <a:t>dummy gate</a:t>
            </a:r>
          </a:p>
          <a:p>
            <a:r>
              <a:rPr lang="en-US" dirty="0"/>
              <a:t>As and emitter trenches</a:t>
            </a:r>
          </a:p>
          <a:p>
            <a:r>
              <a:rPr lang="en-US" dirty="0"/>
              <a:t>These three trench-cell building blocks allow tailoring the IGBT design, particularly the ratio active and dummy gate versus emitter trenches influence the capacitive coupling between collector and gate.</a:t>
            </a:r>
          </a:p>
          <a:p>
            <a:r>
              <a:rPr lang="en-US" dirty="0"/>
              <a:t>In the article mentioned, it has been demonstrated that the collector gate  capacitance is mainly influencing the controllability, thereby the trade-off design of the </a:t>
            </a:r>
            <a:r>
              <a:rPr lang="en-US" sz="1100" kern="1200" dirty="0">
                <a:solidFill>
                  <a:schemeClr val="bg1"/>
                </a:solidFill>
                <a:latin typeface="Arial" panose="020B0604020202020204" pitchFamily="34" charset="0"/>
                <a:ea typeface="+mn-ea"/>
                <a:cs typeface="Arial" panose="020B0604020202020204" pitchFamily="34" charset="0"/>
              </a:rPr>
              <a:t>Infineon IGBT7 S7 enhances softness during switching events maintaining low static losses and short circuit robustness.</a:t>
            </a:r>
          </a:p>
          <a:p>
            <a:endParaRPr lang="en-US" sz="1100" kern="1200" dirty="0">
              <a:solidFill>
                <a:schemeClr val="bg1"/>
              </a:solidFill>
              <a:latin typeface="Arial" panose="020B0604020202020204" pitchFamily="34" charset="0"/>
              <a:ea typeface="+mn-ea"/>
              <a:cs typeface="Arial" panose="020B0604020202020204" pitchFamily="34" charset="0"/>
            </a:endParaRP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09-28</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1873261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posed IGBT structure is based on micro-pattern trenches as shown in the top right corner drawing. In contrast to former Infineon technology, trenches can be utilized in several ways</a:t>
            </a:r>
          </a:p>
          <a:p>
            <a:r>
              <a:rPr lang="en-US" dirty="0"/>
              <a:t>As active channel </a:t>
            </a:r>
            <a:r>
              <a:rPr lang="en-US" dirty="0">
                <a:sym typeface="Wingdings" panose="05000000000000000000" pitchFamily="2" charset="2"/>
              </a:rPr>
              <a:t> active gate</a:t>
            </a:r>
          </a:p>
          <a:p>
            <a:r>
              <a:rPr lang="en-US" dirty="0"/>
              <a:t>As </a:t>
            </a:r>
            <a:r>
              <a:rPr lang="en-US" dirty="0">
                <a:sym typeface="Wingdings" panose="05000000000000000000" pitchFamily="2" charset="2"/>
              </a:rPr>
              <a:t>dummy gate</a:t>
            </a:r>
          </a:p>
          <a:p>
            <a:r>
              <a:rPr lang="en-US" dirty="0"/>
              <a:t>As and emitter trenches</a:t>
            </a:r>
          </a:p>
          <a:p>
            <a:r>
              <a:rPr lang="en-US" dirty="0"/>
              <a:t>These three trench-cell building blocks allow tailoring the IGBT design, particularly the ratio active and dummy gate versus emitter trenches influence the capacitive coupling between collector and gate.</a:t>
            </a:r>
          </a:p>
          <a:p>
            <a:r>
              <a:rPr lang="en-US" dirty="0"/>
              <a:t>In the article mentioned, it has been demonstrated that the collector gate  capacitance is mainly influencing the controllability, thereby the trade-off design of the </a:t>
            </a:r>
            <a:r>
              <a:rPr lang="en-US" sz="1100" kern="1200" dirty="0">
                <a:solidFill>
                  <a:schemeClr val="bg1"/>
                </a:solidFill>
                <a:latin typeface="Arial" panose="020B0604020202020204" pitchFamily="34" charset="0"/>
                <a:ea typeface="+mn-ea"/>
                <a:cs typeface="Arial" panose="020B0604020202020204" pitchFamily="34" charset="0"/>
              </a:rPr>
              <a:t>Infineon IGBT7 S7 enhances softness during switching events maintaining low static losses and short circuit robustness.</a:t>
            </a:r>
          </a:p>
          <a:p>
            <a:endParaRPr lang="en-US" sz="1100" kern="1200" dirty="0">
              <a:solidFill>
                <a:schemeClr val="bg1"/>
              </a:solidFill>
              <a:latin typeface="Arial" panose="020B0604020202020204" pitchFamily="34" charset="0"/>
              <a:ea typeface="+mn-ea"/>
              <a:cs typeface="Arial" panose="020B0604020202020204" pitchFamily="34" charset="0"/>
            </a:endParaRP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09-28</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153142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Decisive 5 Values</a:t>
            </a:r>
          </a:p>
        </p:txBody>
      </p:sp>
      <p:sp>
        <p:nvSpPr>
          <p:cNvPr id="4" name="Kopfzeilenplatzhalter 3"/>
          <p:cNvSpPr>
            <a:spLocks noGrp="1"/>
          </p:cNvSpPr>
          <p:nvPr>
            <p:ph type="hdr" sz="quarter"/>
          </p:nvPr>
        </p:nvSpPr>
        <p:spPr/>
        <p:txBody>
          <a:bodyPr/>
          <a:lstStyle/>
          <a:p>
            <a:endParaRPr lang="en-US" sz="100" dirty="0"/>
          </a:p>
        </p:txBody>
      </p:sp>
      <p:sp>
        <p:nvSpPr>
          <p:cNvPr id="5" name="Fußzeilenplatzhalt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umsplatzhalter 5"/>
          <p:cNvSpPr>
            <a:spLocks noGrp="1"/>
          </p:cNvSpPr>
          <p:nvPr>
            <p:ph type="dt" idx="1"/>
          </p:nvPr>
        </p:nvSpPr>
        <p:spPr/>
        <p:txBody>
          <a:bodyPr/>
          <a:lstStyle/>
          <a:p>
            <a:r>
              <a:rPr lang="en-US" dirty="0"/>
              <a:t>2020-09-28</a:t>
            </a:r>
          </a:p>
          <a:p>
            <a:endParaRPr lang="en-US" dirty="0"/>
          </a:p>
        </p:txBody>
      </p:sp>
      <p:sp>
        <p:nvSpPr>
          <p:cNvPr id="7" name="Foliennummernplatzhalt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26246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Copyright © Infineon Technologies AG 2021. All rights reserved.</a:t>
            </a:r>
            <a:endParaRPr lang="en-US" b="1" dirty="0">
              <a:solidFill>
                <a:srgbClr val="E30034"/>
              </a:solidFill>
              <a:latin typeface="Arial" panose="020B0604020202020204" pitchFamily="34" charset="0"/>
              <a:cs typeface="Arial" panose="020B0604020202020204" pitchFamily="34" charset="0"/>
            </a:endParaRPr>
          </a:p>
        </p:txBody>
      </p:sp>
      <p:sp>
        <p:nvSpPr>
          <p:cNvPr id="6" name="Datumsplatzhalter 5"/>
          <p:cNvSpPr>
            <a:spLocks noGrp="1"/>
          </p:cNvSpPr>
          <p:nvPr>
            <p:ph type="dt" idx="12"/>
          </p:nvPr>
        </p:nvSpPr>
        <p:spPr/>
        <p:txBody>
          <a:bodyPr/>
          <a:lstStyle/>
          <a:p>
            <a:r>
              <a:rPr lang="en-US" dirty="0"/>
              <a:t>2021-05-04</a:t>
            </a:r>
          </a:p>
        </p:txBody>
      </p:sp>
      <p:sp>
        <p:nvSpPr>
          <p:cNvPr id="7" name="Foliennummernplatzhalter 6"/>
          <p:cNvSpPr>
            <a:spLocks noGrp="1"/>
          </p:cNvSpPr>
          <p:nvPr>
            <p:ph type="sldNum" sz="quarter" idx="13"/>
          </p:nvPr>
        </p:nvSpPr>
        <p:spPr/>
        <p:txBody>
          <a:bodyPr/>
          <a:lstStyle/>
          <a:p>
            <a:fld id="{89A302B8-5C08-4CE5-A1ED-F597E61FC911}" type="slidenum">
              <a:rPr lang="en-US" smtClean="0">
                <a:latin typeface="Arial" panose="020B0604020202020204" pitchFamily="34" charset="0"/>
                <a:cs typeface="Arial" panose="020B0604020202020204" pitchFamily="34" charset="0"/>
              </a:rPr>
              <a:pPr/>
              <a:t>2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31537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pPr defTabSz="884081"/>
            <a:endParaRPr lang="en-US" altLang="en-US" dirty="0">
              <a:latin typeface="Arial" pitchFamily="34" charset="0"/>
              <a:cs typeface="Arial" pitchFamily="34" charset="0"/>
            </a:endParaRPr>
          </a:p>
        </p:txBody>
      </p:sp>
    </p:spTree>
    <p:extLst>
      <p:ext uri="{BB962C8B-B14F-4D97-AF65-F5344CB8AC3E}">
        <p14:creationId xmlns:p14="http://schemas.microsoft.com/office/powerpoint/2010/main" val="38248215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108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01392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90570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ecrease the switching speed? Mainly to decrease stress in the machine insulation, due to voltage spikes.</a:t>
            </a:r>
          </a:p>
          <a:p>
            <a:r>
              <a:rPr lang="en-US" dirty="0"/>
              <a:t>How to do it? Increasing the gate drive resistor. Consequently the dV/dt slows down, but the total dynamic losses rise, especially during turn-on. </a:t>
            </a:r>
          </a:p>
          <a:p>
            <a:r>
              <a:rPr lang="en-US" dirty="0"/>
              <a:t>The dV/dt slope is also influenced by other boundary conditions, such as the collector current and device temperature. Thus, the selection of the turn-on gate resistor ensures that even at low current and low room temperature the event is sufficiently “soft”. While the turn-off gate resistor selection ensures that at nominal current and low room temperature the event is sufficiently “soft”. </a:t>
            </a:r>
          </a:p>
          <a:p>
            <a:endParaRPr lang="en-US" dirty="0"/>
          </a:p>
          <a:p>
            <a:r>
              <a:rPr lang="en-US" dirty="0"/>
              <a:t>The dV/dt of the devices under test are plotted in the figure and the gate resistances selection summarized in the table. As we can clearly see, fast trade of device as the one of the competitor X needs higher gate resistor to fulfill the requirement, while slower trade off components as the device of the competitor Y and </a:t>
            </a:r>
            <a:r>
              <a:rPr lang="en-US" dirty="0">
                <a:solidFill>
                  <a:schemeClr val="tx1"/>
                </a:solidFill>
              </a:rPr>
              <a:t>the </a:t>
            </a:r>
            <a:r>
              <a:rPr lang="en-US" sz="1200" dirty="0">
                <a:solidFill>
                  <a:srgbClr val="AB377A"/>
                </a:solidFill>
                <a:latin typeface="Arial" panose="020B0604020202020204" pitchFamily="34" charset="0"/>
                <a:cs typeface="Arial" panose="020B0604020202020204" pitchFamily="34" charset="0"/>
              </a:rPr>
              <a:t>Infineon IKW40N120CS7 easily reach the goal with moderate magnitude.</a:t>
            </a:r>
            <a:endParaRPr lang="en-US" dirty="0"/>
          </a:p>
        </p:txBody>
      </p:sp>
      <p:sp>
        <p:nvSpPr>
          <p:cNvPr id="4" name="Header Placeholder 3"/>
          <p:cNvSpPr>
            <a:spLocks noGrp="1"/>
          </p:cNvSpPr>
          <p:nvPr>
            <p:ph type="hdr" sz="quarter"/>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09-28</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3200262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79208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41964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577850" y="1012825"/>
            <a:ext cx="8255000" cy="4643438"/>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IFXSHAPE"/>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2.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endParaRPr kumimoji="0" lang="en-US" sz="1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6" name="IFXSHAPE"/>
          <p:cNvSpPr>
            <a:spLocks noGrp="1"/>
          </p:cNvSpPr>
          <p:nvPr>
            <p:ph type="dt"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2-06-24</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IFXSHAPE"/>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29435966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pPr defTabSz="884081"/>
            <a:r>
              <a:rPr lang="en-US" altLang="en-US" dirty="0">
                <a:latin typeface="Arial" pitchFamily="34" charset="0"/>
                <a:cs typeface="Arial" pitchFamily="34" charset="0"/>
              </a:rPr>
              <a:t>Include </a:t>
            </a:r>
            <a:r>
              <a:rPr lang="en-US" altLang="en-US" dirty="0" err="1">
                <a:latin typeface="Arial" pitchFamily="34" charset="0"/>
                <a:cs typeface="Arial" pitchFamily="34" charset="0"/>
              </a:rPr>
              <a:t>ePA</a:t>
            </a:r>
            <a:r>
              <a:rPr lang="en-US" altLang="en-US" dirty="0">
                <a:latin typeface="Arial" pitchFamily="34" charset="0"/>
                <a:cs typeface="Arial" pitchFamily="34" charset="0"/>
              </a:rPr>
              <a:t> measurement</a:t>
            </a:r>
          </a:p>
        </p:txBody>
      </p:sp>
    </p:spTree>
    <p:extLst>
      <p:ext uri="{BB962C8B-B14F-4D97-AF65-F5344CB8AC3E}">
        <p14:creationId xmlns:p14="http://schemas.microsoft.com/office/powerpoint/2010/main" val="4239170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Copyright © Infineon Technologies AG 2021. All rights reserved.</a:t>
            </a:r>
            <a:endParaRPr lang="en-US" b="1" dirty="0">
              <a:solidFill>
                <a:srgbClr val="E30034"/>
              </a:solidFill>
              <a:latin typeface="Arial" panose="020B0604020202020204" pitchFamily="34" charset="0"/>
              <a:cs typeface="Arial" panose="020B0604020202020204" pitchFamily="34" charset="0"/>
            </a:endParaRPr>
          </a:p>
        </p:txBody>
      </p:sp>
      <p:sp>
        <p:nvSpPr>
          <p:cNvPr id="6" name="Datumsplatzhalter 5"/>
          <p:cNvSpPr>
            <a:spLocks noGrp="1"/>
          </p:cNvSpPr>
          <p:nvPr>
            <p:ph type="dt" idx="12"/>
          </p:nvPr>
        </p:nvSpPr>
        <p:spPr/>
        <p:txBody>
          <a:bodyPr/>
          <a:lstStyle/>
          <a:p>
            <a:r>
              <a:rPr lang="en-US" dirty="0"/>
              <a:t>2021-05-04</a:t>
            </a:r>
          </a:p>
        </p:txBody>
      </p:sp>
      <p:sp>
        <p:nvSpPr>
          <p:cNvPr id="7" name="Foliennummernplatzhalter 6"/>
          <p:cNvSpPr>
            <a:spLocks noGrp="1"/>
          </p:cNvSpPr>
          <p:nvPr>
            <p:ph type="sldNum" sz="quarter" idx="13"/>
          </p:nvPr>
        </p:nvSpPr>
        <p:spPr/>
        <p:txBody>
          <a:bodyPr/>
          <a:lstStyle/>
          <a:p>
            <a:fld id="{89A302B8-5C08-4CE5-A1ED-F597E61FC911}" type="slidenum">
              <a:rPr lang="en-US" smtClean="0">
                <a:latin typeface="Arial" panose="020B0604020202020204" pitchFamily="34" charset="0"/>
                <a:cs typeface="Arial" panose="020B0604020202020204" pitchFamily="34" charset="0"/>
              </a:rPr>
              <a:pPr/>
              <a:t>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5197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jump into the power density and their outcome let’s have a deeper look into the system trends using discrete devices and how the IGBT7 address all the challenges in the design.</a:t>
            </a:r>
          </a:p>
          <a:p>
            <a:r>
              <a:rPr lang="en-US" dirty="0"/>
              <a:t>As the trend, we see more and more discrete devices are used in many applications by increasing the power density and output power. This trend is met in different ways, either by using high-current class devices and reducing the risk of paralleling or by paralleling and reducing the thermal stress on each device.</a:t>
            </a:r>
          </a:p>
          <a:p>
            <a:r>
              <a:rPr lang="en-GB" dirty="0"/>
              <a:t>Symmetry in all Aspects – PCB design and Device parameters</a:t>
            </a:r>
          </a:p>
          <a:p>
            <a:r>
              <a:rPr lang="en-GB" dirty="0"/>
              <a:t>With a symmetrical PCB design, we can avoid the issues of paralleling</a:t>
            </a:r>
          </a:p>
          <a:p>
            <a:r>
              <a:rPr lang="en-GB" dirty="0"/>
              <a:t>Several parameters of the device will also play a crucial role</a:t>
            </a:r>
          </a:p>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5646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As we know power density is one of the main value proposition that all designers consider during their system design face, how the IGBT7 will help this? There where the high current density devices comes into play which results in having a high current class devices in the system. So here we have one of the examples showing the power density increase in drives application where the 40A 3pin is took as a reference in comparison to 75A, 100A and 120A devices where two different thermal interface materials are also evaluated with the standard boundary conditions for the drives as shown in the left. From this we can clearly see that using a 120A device we can boost </a:t>
            </a:r>
            <a:r>
              <a:rPr lang="en-US" dirty="0" err="1"/>
              <a:t>upto</a:t>
            </a:r>
            <a:r>
              <a:rPr lang="en-US" dirty="0"/>
              <a:t> 74% power density using </a:t>
            </a:r>
            <a:r>
              <a:rPr lang="en-US" dirty="0" err="1"/>
              <a:t>silion</a:t>
            </a:r>
            <a:r>
              <a:rPr lang="en-US" dirty="0"/>
              <a:t> pad and </a:t>
            </a:r>
            <a:r>
              <a:rPr lang="en-US" dirty="0" err="1"/>
              <a:t>upto</a:t>
            </a:r>
            <a:r>
              <a:rPr lang="en-US" dirty="0"/>
              <a:t> 120% using ceramic. Which clearly states that we can empower the system for higher power rating with the same system size.</a:t>
            </a:r>
          </a:p>
          <a:p>
            <a:endParaRPr lang="en-US" dirty="0"/>
          </a:p>
        </p:txBody>
      </p:sp>
      <p:sp>
        <p:nvSpPr>
          <p:cNvPr id="4" name="Header Placeholder 3"/>
          <p:cNvSpPr>
            <a:spLocks noGrp="1"/>
          </p:cNvSpPr>
          <p:nvPr>
            <p:ph type="hdr" sz="quarter"/>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09-28</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123382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An another advantage of having higher current class devices is that we can reduce the risk of paralleling which was explained earlier which is also linked to the power density. In this graph you can see the outcome of 1 - 75A vs 2 – 40A devices of two different competitors where you clearly see the 75A IGBT7 can replace 2-40A devices from the competitor under the same test condition and also with the thermal interface material not only against competitor but also against  pervious generation of IGBT from Infineon. In the end we can see that high current class devices of IGBT7 can helps in boosting the power density with higher performance. On the other hand its also wort to note that with higher current class devices there is also we brighter possibility to increase the output power of the system by having parallel device for </a:t>
            </a:r>
            <a:r>
              <a:rPr lang="en-US" dirty="0" err="1"/>
              <a:t>eg.</a:t>
            </a:r>
            <a:r>
              <a:rPr lang="en-US" dirty="0"/>
              <a:t> We can reach ~200kW with 4*140A in parallel.</a:t>
            </a:r>
          </a:p>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88844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pPr defTabSz="884081"/>
            <a:r>
              <a:rPr lang="en-US" altLang="en-US" dirty="0">
                <a:latin typeface="Arial" pitchFamily="34" charset="0"/>
                <a:cs typeface="Arial" pitchFamily="34" charset="0"/>
              </a:rPr>
              <a:t>Include </a:t>
            </a:r>
            <a:r>
              <a:rPr lang="en-US" altLang="en-US" dirty="0" err="1">
                <a:latin typeface="Arial" pitchFamily="34" charset="0"/>
                <a:cs typeface="Arial" pitchFamily="34" charset="0"/>
              </a:rPr>
              <a:t>ePA</a:t>
            </a:r>
            <a:r>
              <a:rPr lang="en-US" altLang="en-US" dirty="0">
                <a:latin typeface="Arial" pitchFamily="34" charset="0"/>
                <a:cs typeface="Arial" pitchFamily="34" charset="0"/>
              </a:rPr>
              <a:t> measurement</a:t>
            </a:r>
          </a:p>
        </p:txBody>
      </p:sp>
    </p:spTree>
    <p:extLst>
      <p:ext uri="{BB962C8B-B14F-4D97-AF65-F5344CB8AC3E}">
        <p14:creationId xmlns:p14="http://schemas.microsoft.com/office/powerpoint/2010/main" val="27376590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D02B5-A68F-B32B-8DC2-98A6D8D373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AF9F6C-BC11-D43A-BB3E-220231613E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16471-991B-D846-30D5-825DB438A92D}"/>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650 V IGBT co-pack with EC7 Rapid Diode technologies shows better tradeoff performance versus previous generation IGBT5 - S5/H5</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1200 V IGBT co-pack with EC7 Rapid Diode technologies shows better tradeoff performance versus previous generation IGBT – S6/H3 (with Short circuit withstand tim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Test condition for 650V– </a:t>
            </a:r>
            <a:r>
              <a:rPr lang="en-US" dirty="0" err="1"/>
              <a:t>Vbus</a:t>
            </a:r>
            <a:r>
              <a:rPr lang="en-US" dirty="0"/>
              <a:t> – 400V, </a:t>
            </a:r>
            <a:r>
              <a:rPr lang="en-US" dirty="0" err="1"/>
              <a:t>Vge</a:t>
            </a:r>
            <a:r>
              <a:rPr lang="en-US" dirty="0"/>
              <a:t> -0/15V, Rg – 10ohms, Temp – 175°C</a:t>
            </a:r>
          </a:p>
          <a:p>
            <a:r>
              <a:rPr lang="en-US" dirty="0"/>
              <a:t>Test condition for 1200V– </a:t>
            </a:r>
            <a:r>
              <a:rPr lang="en-US" dirty="0" err="1"/>
              <a:t>Vbus</a:t>
            </a:r>
            <a:r>
              <a:rPr lang="en-US" dirty="0"/>
              <a:t> – 600V, </a:t>
            </a:r>
            <a:r>
              <a:rPr lang="en-US" dirty="0" err="1"/>
              <a:t>Vge</a:t>
            </a:r>
            <a:r>
              <a:rPr lang="en-US" dirty="0"/>
              <a:t> -0/15V, Rg – 10ohms, Temp -175°C</a:t>
            </a:r>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In general, IGBT H7 shows lower Eon and higher Eoff losses, Resulting in lower total switching losses </a:t>
            </a:r>
            <a:r>
              <a:rPr lang="en-US" dirty="0" err="1"/>
              <a:t>Ets</a:t>
            </a:r>
            <a:r>
              <a:rPr lang="en-US" dirty="0"/>
              <a:t> for IGBT7 H7 </a:t>
            </a:r>
            <a:endParaRPr lang="en-US" dirty="0">
              <a:sym typeface="Symbol" panose="05050102010706020507" pitchFamily="18" charset="2"/>
            </a:endParaRPr>
          </a:p>
          <a:p>
            <a:endParaRPr lang="en-US" dirty="0"/>
          </a:p>
        </p:txBody>
      </p:sp>
      <p:sp>
        <p:nvSpPr>
          <p:cNvPr id="4" name="Header Placeholder 3">
            <a:extLst>
              <a:ext uri="{FF2B5EF4-FFF2-40B4-BE49-F238E27FC236}">
                <a16:creationId xmlns:a16="http://schemas.microsoft.com/office/drawing/2014/main" id="{57216380-989E-B1CE-2583-58632F08BBC4}"/>
              </a:ext>
            </a:extLst>
          </p:cNvPr>
          <p:cNvSpPr>
            <a:spLocks noGrp="1"/>
          </p:cNvSpPr>
          <p:nvPr>
            <p:ph type="hdr" sz="quarter"/>
          </p:nvPr>
        </p:nvSpPr>
        <p:spPr/>
        <p:txBody>
          <a:bodyPr/>
          <a:lstStyle/>
          <a:p>
            <a:endParaRPr lang="en-US" dirty="0">
              <a:noFill/>
            </a:endParaRPr>
          </a:p>
        </p:txBody>
      </p:sp>
      <p:sp>
        <p:nvSpPr>
          <p:cNvPr id="5" name="Footer Placeholder 4">
            <a:extLst>
              <a:ext uri="{FF2B5EF4-FFF2-40B4-BE49-F238E27FC236}">
                <a16:creationId xmlns:a16="http://schemas.microsoft.com/office/drawing/2014/main" id="{2CB10B73-ED0C-1159-BA4E-0F8BD5DB826A}"/>
              </a:ext>
            </a:extLst>
          </p:cNvPr>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D6AE66E0-7CE3-9ABB-7BC8-09C6BCDAA2E4}"/>
              </a:ext>
            </a:extLst>
          </p:cNvPr>
          <p:cNvSpPr>
            <a:spLocks noGrp="1"/>
          </p:cNvSpPr>
          <p:nvPr>
            <p:ph type="dt" idx="1"/>
          </p:nvPr>
        </p:nvSpPr>
        <p:spPr/>
        <p:txBody>
          <a:bodyPr/>
          <a:lstStyle/>
          <a:p>
            <a:r>
              <a:rPr lang="en-US" dirty="0"/>
              <a:t>2020-09-29</a:t>
            </a:r>
          </a:p>
          <a:p>
            <a:endParaRPr lang="en-US" dirty="0"/>
          </a:p>
        </p:txBody>
      </p:sp>
      <p:sp>
        <p:nvSpPr>
          <p:cNvPr id="7" name="Slide Number Placeholder 6">
            <a:extLst>
              <a:ext uri="{FF2B5EF4-FFF2-40B4-BE49-F238E27FC236}">
                <a16:creationId xmlns:a16="http://schemas.microsoft.com/office/drawing/2014/main" id="{1067E7EB-5C30-BF2C-11D5-9C8285B38854}"/>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58198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87167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21448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With 4 pin you benefit much compared to the 3 pin for </a:t>
            </a:r>
            <a:r>
              <a:rPr lang="en-US" dirty="0" err="1"/>
              <a:t>eg.</a:t>
            </a:r>
            <a:r>
              <a:rPr lang="en-US" dirty="0"/>
              <a:t> With lower the </a:t>
            </a:r>
            <a:r>
              <a:rPr lang="en-US" dirty="0" err="1"/>
              <a:t>rg</a:t>
            </a:r>
            <a:r>
              <a:rPr lang="en-US"/>
              <a:t> and higher the current the system losses will be lower </a:t>
            </a:r>
          </a:p>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339221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577850" y="1012825"/>
            <a:ext cx="8255000" cy="4643438"/>
          </a:xfrm>
        </p:spPr>
      </p:sp>
      <p:sp>
        <p:nvSpPr>
          <p:cNvPr id="3" name="IFXSHAPE"/>
          <p:cNvSpPr>
            <a:spLocks noGrp="1"/>
          </p:cNvSpPr>
          <p:nvPr>
            <p:ph type="body" idx="1"/>
          </p:nvPr>
        </p:nvSpPr>
        <p:spPr/>
        <p:txBody>
          <a:bodyPr/>
          <a:lstStyle/>
          <a:p>
            <a:endParaRPr lang="en-US" dirty="0"/>
          </a:p>
        </p:txBody>
      </p:sp>
      <p:sp>
        <p:nvSpPr>
          <p:cNvPr id="4" name="IFXSHAPE"/>
          <p:cNvSpPr>
            <a:spLocks noGrp="1"/>
          </p:cNvSpPr>
          <p:nvPr>
            <p:ph type="hdr" sz="quarter" idx="10"/>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IFXSHAPE"/>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rPr>
              <a:t>confidential</a:t>
            </a:r>
          </a:p>
        </p:txBody>
      </p:sp>
      <p:sp>
        <p:nvSpPr>
          <p:cNvPr id="6" name="IFXSHAPE"/>
          <p:cNvSpPr>
            <a:spLocks noGrp="1"/>
          </p:cNvSpPr>
          <p:nvPr>
            <p:ph type="dt"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05-15</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IFXSHAPE"/>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23606971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pPr defTabSz="884081"/>
            <a:r>
              <a:rPr lang="en-US" altLang="en-US" dirty="0">
                <a:latin typeface="Arial" pitchFamily="34" charset="0"/>
                <a:cs typeface="Arial" pitchFamily="34" charset="0"/>
              </a:rPr>
              <a:t>Include </a:t>
            </a:r>
            <a:r>
              <a:rPr lang="en-US" altLang="en-US" dirty="0" err="1">
                <a:latin typeface="Arial" pitchFamily="34" charset="0"/>
                <a:cs typeface="Arial" pitchFamily="34" charset="0"/>
              </a:rPr>
              <a:t>ePA</a:t>
            </a:r>
            <a:r>
              <a:rPr lang="en-US" altLang="en-US" dirty="0">
                <a:latin typeface="Arial" pitchFamily="34" charset="0"/>
                <a:cs typeface="Arial" pitchFamily="34" charset="0"/>
              </a:rPr>
              <a:t> measurement</a:t>
            </a:r>
          </a:p>
        </p:txBody>
      </p:sp>
    </p:spTree>
    <p:extLst>
      <p:ext uri="{BB962C8B-B14F-4D97-AF65-F5344CB8AC3E}">
        <p14:creationId xmlns:p14="http://schemas.microsoft.com/office/powerpoint/2010/main" val="3188335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13" name="IFXSHAPE"/>
          <p:cNvSpPr>
            <a:spLocks noGrp="1"/>
          </p:cNvSpPr>
          <p:nvPr>
            <p:ph type="body" idx="3"/>
          </p:nvPr>
        </p:nvSpPr>
        <p:spPr>
          <a:xfrm>
            <a:off x="453306" y="4708042"/>
            <a:ext cx="6191968" cy="4832456"/>
          </a:xfrm>
        </p:spPr>
        <p:txBody>
          <a:bodyPr/>
          <a:lstStyle/>
          <a:p>
            <a:endParaRPr lang="de-AT" dirty="0">
              <a:solidFill>
                <a:schemeClr val="tx1"/>
              </a:solidFill>
            </a:endParaRPr>
          </a:p>
        </p:txBody>
      </p:sp>
      <p:sp>
        <p:nvSpPr>
          <p:cNvPr id="14" name="IFXSHAPE"/>
          <p:cNvSpPr>
            <a:spLocks noGrp="1"/>
          </p:cNvSpPr>
          <p:nvPr>
            <p:ph type="hdr" sz="quarter"/>
          </p:nvPr>
        </p:nvSpPr>
        <p:spPr>
          <a:xfrm>
            <a:off x="454025" y="295163"/>
            <a:ext cx="4422857" cy="419422"/>
          </a:xfrm>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de-AT"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15" name="IFXSHAPE"/>
          <p:cNvSpPr>
            <a:spLocks noGrp="1"/>
          </p:cNvSpPr>
          <p:nvPr>
            <p:ph type="ftr" sz="quarter" idx="4"/>
          </p:nvPr>
        </p:nvSpPr>
        <p:spPr>
          <a:xfrm>
            <a:off x="1317625" y="9940925"/>
            <a:ext cx="4824411" cy="144933"/>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AT"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AT" sz="100" b="1"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restricted</a:t>
            </a:r>
            <a:endParaRPr kumimoji="0" lang="de-AT" sz="1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16" name="IFXSHAPE"/>
          <p:cNvSpPr>
            <a:spLocks noGrp="1"/>
          </p:cNvSpPr>
          <p:nvPr>
            <p:ph type="dt" idx="1"/>
          </p:nvPr>
        </p:nvSpPr>
        <p:spPr>
          <a:xfrm>
            <a:off x="453306" y="9940925"/>
            <a:ext cx="864320" cy="14493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2020-09-29</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AT"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17" name="IFXSHAPE"/>
          <p:cNvSpPr>
            <a:spLocks noGrp="1"/>
          </p:cNvSpPr>
          <p:nvPr>
            <p:ph type="sldNum" sz="quarter" idx="5"/>
          </p:nvPr>
        </p:nvSpPr>
        <p:spPr>
          <a:xfrm>
            <a:off x="6142037" y="9940925"/>
            <a:ext cx="503237" cy="1449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de-AT"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de-AT" sz="800" b="0" i="0" u="none" strike="noStrike" kern="1200" cap="none" spc="0" normalizeH="0" baseline="0" noProof="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AT"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1964425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kern="1200" dirty="0">
                <a:solidFill>
                  <a:schemeClr val="tx1"/>
                </a:solidFill>
                <a:effectLst/>
                <a:latin typeface="Arial" panose="020B0604020202020204" pitchFamily="34" charset="0"/>
                <a:ea typeface="+mn-ea"/>
                <a:cs typeface="Arial" panose="020B0604020202020204" pitchFamily="34" charset="0"/>
              </a:rPr>
              <a:t>"Get the best of both worlds with IGBT7 - combining the reliability of traditional Silicon IGBTs with the efficiency of </a:t>
            </a:r>
            <a:r>
              <a:rPr lang="en-US" sz="1200" b="0" i="0" kern="1200" dirty="0" err="1">
                <a:solidFill>
                  <a:schemeClr val="tx1"/>
                </a:solidFill>
                <a:effectLst/>
                <a:latin typeface="Arial" panose="020B0604020202020204" pitchFamily="34" charset="0"/>
                <a:ea typeface="+mn-ea"/>
                <a:cs typeface="Arial" panose="020B0604020202020204" pitchFamily="34" charset="0"/>
              </a:rPr>
              <a:t>widebandgap</a:t>
            </a:r>
            <a:r>
              <a:rPr lang="en-US" sz="1200" b="0" i="0" kern="1200" dirty="0">
                <a:solidFill>
                  <a:schemeClr val="tx1"/>
                </a:solidFill>
                <a:effectLst/>
                <a:latin typeface="Arial" panose="020B0604020202020204" pitchFamily="34" charset="0"/>
                <a:ea typeface="+mn-ea"/>
                <a:cs typeface="Arial" panose="020B0604020202020204" pitchFamily="34" charset="0"/>
              </a:rPr>
              <a:t> solutions."</a:t>
            </a:r>
          </a:p>
          <a:p>
            <a:r>
              <a:rPr lang="en-US" sz="1200" b="0" i="0" kern="1200" dirty="0">
                <a:solidFill>
                  <a:schemeClr val="tx1"/>
                </a:solidFill>
                <a:effectLst/>
                <a:latin typeface="Arial" panose="020B0604020202020204" pitchFamily="34" charset="0"/>
                <a:ea typeface="+mn-ea"/>
                <a:cs typeface="Arial" panose="020B0604020202020204" pitchFamily="34" charset="0"/>
              </a:rPr>
              <a:t>"Experience the power of innovation with IGBT7 - the perfect solution for modern power designs."</a:t>
            </a:r>
          </a:p>
          <a:p>
            <a:r>
              <a:rPr lang="en-US" sz="1200" b="0" i="0" kern="1200" dirty="0">
                <a:solidFill>
                  <a:schemeClr val="tx1"/>
                </a:solidFill>
                <a:effectLst/>
                <a:latin typeface="Arial" panose="020B0604020202020204" pitchFamily="34" charset="0"/>
                <a:ea typeface="+mn-ea"/>
                <a:cs typeface="Arial" panose="020B0604020202020204" pitchFamily="34" charset="0"/>
              </a:rPr>
              <a:t>"Step up your power game with IGBT7 - the future of efficiency and cost-effectiveness."</a:t>
            </a:r>
          </a:p>
          <a:p>
            <a:r>
              <a:rPr lang="en-US" sz="1200" b="0" i="0" kern="1200" dirty="0">
                <a:solidFill>
                  <a:schemeClr val="tx1"/>
                </a:solidFill>
                <a:effectLst/>
                <a:latin typeface="Arial" panose="020B0604020202020204" pitchFamily="34" charset="0"/>
                <a:ea typeface="+mn-ea"/>
                <a:cs typeface="Arial" panose="020B0604020202020204" pitchFamily="34" charset="0"/>
              </a:rPr>
              <a:t>"Say goodbye to trade-offs with IGBT7 - the ultimate solution for high-performance power designs."</a:t>
            </a:r>
          </a:p>
          <a:p>
            <a:r>
              <a:rPr lang="en-US" sz="1200" b="0" i="0" kern="1200" dirty="0">
                <a:solidFill>
                  <a:schemeClr val="tx1"/>
                </a:solidFill>
                <a:effectLst/>
                <a:latin typeface="Arial" panose="020B0604020202020204" pitchFamily="34" charset="0"/>
                <a:ea typeface="+mn-ea"/>
                <a:cs typeface="Arial" panose="020B0604020202020204" pitchFamily="34" charset="0"/>
              </a:rPr>
              <a:t>"Choose IGBT7 for superior power performance at an affordable price point - bridging the gap in today's power market."</a:t>
            </a:r>
          </a:p>
          <a:p>
            <a:br>
              <a:rPr lang="en-US" dirty="0"/>
            </a:br>
            <a:endParaRPr lang="en-US" dirty="0"/>
          </a:p>
        </p:txBody>
      </p:sp>
      <p:sp>
        <p:nvSpPr>
          <p:cNvPr id="4" name="Kopfzeilenplatzhalter 3"/>
          <p:cNvSpPr>
            <a:spLocks noGrp="1"/>
          </p:cNvSpPr>
          <p:nvPr>
            <p:ph type="hdr" sz="quarter"/>
          </p:nvPr>
        </p:nvSpPr>
        <p:spPr/>
        <p:txBody>
          <a:bodyPr/>
          <a:lstStyle/>
          <a:p>
            <a:endParaRPr lang="en-US" dirty="0"/>
          </a:p>
        </p:txBody>
      </p:sp>
      <p:sp>
        <p:nvSpPr>
          <p:cNvPr id="5" name="Fußzeilenplatzhalt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umsplatzhalter 5"/>
          <p:cNvSpPr>
            <a:spLocks noGrp="1"/>
          </p:cNvSpPr>
          <p:nvPr>
            <p:ph type="dt" idx="1"/>
          </p:nvPr>
        </p:nvSpPr>
        <p:spPr/>
        <p:txBody>
          <a:bodyPr/>
          <a:lstStyle/>
          <a:p>
            <a:r>
              <a:rPr lang="en-US" dirty="0"/>
              <a:t>2020-09-28</a:t>
            </a:r>
          </a:p>
          <a:p>
            <a:endParaRPr lang="en-US" dirty="0"/>
          </a:p>
        </p:txBody>
      </p:sp>
      <p:sp>
        <p:nvSpPr>
          <p:cNvPr id="7" name="Foliennummernplatzhalt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87692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pPr defTabSz="884081"/>
            <a:r>
              <a:rPr lang="en-US" altLang="en-US" dirty="0">
                <a:latin typeface="Arial" pitchFamily="34" charset="0"/>
                <a:cs typeface="Arial" pitchFamily="34" charset="0"/>
              </a:rPr>
              <a:t>Include </a:t>
            </a:r>
            <a:r>
              <a:rPr lang="en-US" altLang="en-US" dirty="0" err="1">
                <a:latin typeface="Arial" pitchFamily="34" charset="0"/>
                <a:cs typeface="Arial" pitchFamily="34" charset="0"/>
              </a:rPr>
              <a:t>ePA</a:t>
            </a:r>
            <a:r>
              <a:rPr lang="en-US" altLang="en-US" dirty="0">
                <a:latin typeface="Arial" pitchFamily="34" charset="0"/>
                <a:cs typeface="Arial" pitchFamily="34" charset="0"/>
              </a:rPr>
              <a:t> measurement</a:t>
            </a:r>
          </a:p>
        </p:txBody>
      </p:sp>
    </p:spTree>
    <p:extLst>
      <p:ext uri="{BB962C8B-B14F-4D97-AF65-F5344CB8AC3E}">
        <p14:creationId xmlns:p14="http://schemas.microsoft.com/office/powerpoint/2010/main" val="17670483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13" name="IFXSHAPE"/>
          <p:cNvSpPr>
            <a:spLocks noGrp="1"/>
          </p:cNvSpPr>
          <p:nvPr>
            <p:ph type="body" idx="3"/>
          </p:nvPr>
        </p:nvSpPr>
        <p:spPr>
          <a:xfrm>
            <a:off x="453306" y="4708042"/>
            <a:ext cx="6191968" cy="4832456"/>
          </a:xfrm>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Why this are the failures that can happen</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it is Humidity robust device and has enhanced</a:t>
            </a:r>
            <a:r>
              <a:rPr lang="en-US" sz="1200" kern="1200" baseline="0" dirty="0">
                <a:solidFill>
                  <a:schemeClr val="tx1"/>
                </a:solidFill>
                <a:effectLst/>
                <a:latin typeface="Arial" panose="020B0604020202020204" pitchFamily="34" charset="0"/>
                <a:ea typeface="+mn-ea"/>
                <a:cs typeface="Arial" panose="020B0604020202020204" pitchFamily="34" charset="0"/>
              </a:rPr>
              <a:t> cosmic ray </a:t>
            </a:r>
            <a:r>
              <a:rPr lang="en-US" sz="1200" kern="1200" dirty="0">
                <a:solidFill>
                  <a:schemeClr val="tx1"/>
                </a:solidFill>
                <a:effectLst/>
                <a:latin typeface="Arial" panose="020B0604020202020204" pitchFamily="34" charset="0"/>
                <a:ea typeface="+mn-ea"/>
                <a:cs typeface="Arial" panose="020B0604020202020204" pitchFamily="34" charset="0"/>
              </a:rPr>
              <a:t>robustness.</a:t>
            </a:r>
            <a:r>
              <a:rPr lang="en-US" sz="1200" kern="1200" baseline="0" dirty="0">
                <a:solidFill>
                  <a:schemeClr val="tx1"/>
                </a:solidFill>
                <a:effectLst/>
                <a:latin typeface="Arial" panose="020B0604020202020204" pitchFamily="34" charset="0"/>
                <a:ea typeface="+mn-ea"/>
                <a:cs typeface="Arial" panose="020B0604020202020204" pitchFamily="34" charset="0"/>
              </a:rPr>
              <a:t> I</a:t>
            </a:r>
            <a:r>
              <a:rPr lang="en-US" sz="1200" kern="1200" dirty="0">
                <a:solidFill>
                  <a:schemeClr val="tx1"/>
                </a:solidFill>
                <a:effectLst/>
                <a:latin typeface="Arial" panose="020B0604020202020204" pitchFamily="34" charset="0"/>
                <a:ea typeface="+mn-ea"/>
                <a:cs typeface="Arial" panose="020B0604020202020204" pitchFamily="34" charset="0"/>
              </a:rPr>
              <a:t>t is the first time we´ve ever promote something like this. This is a key value differentiator from the competition on this topic. It is a new ring that goes around, basically humidity robustness if often effecting, it is like a junction between an isolation ring and active cell, but here sometimes short is happening, so then the device can be destroyed, but now this edge for IGBT7 is much more (further improved) robust.</a:t>
            </a:r>
          </a:p>
          <a:p>
            <a:r>
              <a:rPr lang="en-US" sz="1200" kern="1200" dirty="0">
                <a:solidFill>
                  <a:schemeClr val="tx1"/>
                </a:solidFill>
                <a:effectLst/>
                <a:latin typeface="Arial" panose="020B0604020202020204" pitchFamily="34" charset="0"/>
                <a:ea typeface="+mn-ea"/>
                <a:cs typeface="Arial" panose="020B0604020202020204" pitchFamily="34" charset="0"/>
              </a:rPr>
              <a:t>Which</a:t>
            </a:r>
            <a:r>
              <a:rPr lang="en-US" sz="1200" kern="1200" baseline="0" dirty="0">
                <a:solidFill>
                  <a:schemeClr val="tx1"/>
                </a:solidFill>
                <a:effectLst/>
                <a:latin typeface="Arial" panose="020B0604020202020204" pitchFamily="34" charset="0"/>
                <a:ea typeface="+mn-ea"/>
                <a:cs typeface="Arial" panose="020B0604020202020204" pitchFamily="34" charset="0"/>
              </a:rPr>
              <a:t> is very important as drives are working in harsh industrial environemnt</a:t>
            </a:r>
            <a:endParaRPr lang="en-US" dirty="0"/>
          </a:p>
          <a:p>
            <a:endParaRPr lang="en-US" dirty="0">
              <a:solidFill>
                <a:schemeClr val="tx1"/>
              </a:solidFill>
            </a:endParaRPr>
          </a:p>
        </p:txBody>
      </p:sp>
      <p:sp>
        <p:nvSpPr>
          <p:cNvPr id="14" name="IFXSHAPE"/>
          <p:cNvSpPr>
            <a:spLocks noGrp="1"/>
          </p:cNvSpPr>
          <p:nvPr>
            <p:ph type="hdr" sz="quarter"/>
          </p:nvPr>
        </p:nvSpPr>
        <p:spPr>
          <a:xfrm>
            <a:off x="454025" y="295163"/>
            <a:ext cx="4422857" cy="419422"/>
          </a:xfrm>
        </p:spPr>
        <p:txBody>
          <a:bodyPr/>
          <a:lstStyle/>
          <a:p>
            <a:endParaRPr lang="en-US" dirty="0"/>
          </a:p>
        </p:txBody>
      </p:sp>
      <p:sp>
        <p:nvSpPr>
          <p:cNvPr id="15" name="IFXSHAPE"/>
          <p:cNvSpPr>
            <a:spLocks noGrp="1"/>
          </p:cNvSpPr>
          <p:nvPr>
            <p:ph type="ftr" sz="quarter" idx="4"/>
          </p:nvPr>
        </p:nvSpPr>
        <p:spPr>
          <a:xfrm>
            <a:off x="1317625" y="9940925"/>
            <a:ext cx="4824411" cy="144933"/>
          </a:xfrm>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16" name="IFXSHAPE"/>
          <p:cNvSpPr>
            <a:spLocks noGrp="1"/>
          </p:cNvSpPr>
          <p:nvPr>
            <p:ph type="dt" idx="1"/>
          </p:nvPr>
        </p:nvSpPr>
        <p:spPr>
          <a:xfrm>
            <a:off x="453306" y="9940925"/>
            <a:ext cx="864320" cy="144933"/>
          </a:xfrm>
        </p:spPr>
        <p:txBody>
          <a:bodyPr/>
          <a:lstStyle/>
          <a:p>
            <a:r>
              <a:rPr lang="en-US"/>
              <a:t>2020-09-29</a:t>
            </a:r>
          </a:p>
          <a:p>
            <a:endParaRPr lang="en-US" dirty="0"/>
          </a:p>
        </p:txBody>
      </p:sp>
      <p:sp>
        <p:nvSpPr>
          <p:cNvPr id="17" name="IFXSHAPE"/>
          <p:cNvSpPr>
            <a:spLocks noGrp="1"/>
          </p:cNvSpPr>
          <p:nvPr>
            <p:ph type="sldNum" sz="quarter" idx="5"/>
          </p:nvPr>
        </p:nvSpPr>
        <p:spPr>
          <a:xfrm>
            <a:off x="6142037" y="9940925"/>
            <a:ext cx="503237" cy="144933"/>
          </a:xfrm>
        </p:spPr>
        <p:txBody>
          <a:bodyPr/>
          <a:lstStyle/>
          <a:p>
            <a:fld id="{4165D906-55BD-49C5-997D-27A40DB53D15}" type="slidenum">
              <a:rPr lang="en-US" smtClean="0">
                <a:latin typeface="Arial" panose="020B0604020202020204" pitchFamily="34" charset="0"/>
                <a:cs typeface="Arial" panose="020B0604020202020204" pitchFamily="34" charset="0"/>
              </a:rPr>
              <a:pPr/>
              <a:t>46</a:t>
            </a:fld>
            <a:endParaRPr lang="en-US">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53998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13" name="IFXSHAPE"/>
          <p:cNvSpPr>
            <a:spLocks noGrp="1"/>
          </p:cNvSpPr>
          <p:nvPr>
            <p:ph type="body" idx="3"/>
          </p:nvPr>
        </p:nvSpPr>
        <p:spPr>
          <a:xfrm>
            <a:off x="453306" y="4708042"/>
            <a:ext cx="6191968" cy="4832456"/>
          </a:xfrm>
        </p:spPr>
        <p:txBody>
          <a:bodyPr/>
          <a:lstStyle/>
          <a:p>
            <a:endParaRPr lang="en-US" dirty="0">
              <a:solidFill>
                <a:schemeClr val="tx1"/>
              </a:solidFill>
            </a:endParaRPr>
          </a:p>
        </p:txBody>
      </p:sp>
      <p:sp>
        <p:nvSpPr>
          <p:cNvPr id="14" name="IFXSHAPE"/>
          <p:cNvSpPr>
            <a:spLocks noGrp="1"/>
          </p:cNvSpPr>
          <p:nvPr>
            <p:ph type="hdr" sz="quarter"/>
          </p:nvPr>
        </p:nvSpPr>
        <p:spPr>
          <a:xfrm>
            <a:off x="454025" y="295163"/>
            <a:ext cx="4422857" cy="419422"/>
          </a:xfrm>
        </p:spPr>
        <p:txBody>
          <a:bodyPr/>
          <a:lstStyle/>
          <a:p>
            <a:endParaRPr lang="en-US" dirty="0"/>
          </a:p>
        </p:txBody>
      </p:sp>
      <p:sp>
        <p:nvSpPr>
          <p:cNvPr id="15" name="IFXSHAPE"/>
          <p:cNvSpPr>
            <a:spLocks noGrp="1"/>
          </p:cNvSpPr>
          <p:nvPr>
            <p:ph type="ftr" sz="quarter" idx="4"/>
          </p:nvPr>
        </p:nvSpPr>
        <p:spPr>
          <a:xfrm>
            <a:off x="1317625" y="9940925"/>
            <a:ext cx="4824411" cy="144933"/>
          </a:xfrm>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solidFill>
                <a:srgbClr val="E30034"/>
              </a:solidFill>
              <a:latin typeface="Arial" panose="020B0604020202020204" pitchFamily="34" charset="0"/>
              <a:cs typeface="Arial" panose="020B0604020202020204" pitchFamily="34" charset="0"/>
            </a:endParaRPr>
          </a:p>
        </p:txBody>
      </p:sp>
      <p:sp>
        <p:nvSpPr>
          <p:cNvPr id="16" name="IFXSHAPE"/>
          <p:cNvSpPr>
            <a:spLocks noGrp="1"/>
          </p:cNvSpPr>
          <p:nvPr>
            <p:ph type="dt" idx="1"/>
          </p:nvPr>
        </p:nvSpPr>
        <p:spPr>
          <a:xfrm>
            <a:off x="453306" y="9940925"/>
            <a:ext cx="864320" cy="144933"/>
          </a:xfrm>
        </p:spPr>
        <p:txBody>
          <a:bodyPr/>
          <a:lstStyle/>
          <a:p>
            <a:r>
              <a:rPr lang="en-US"/>
              <a:t>2020-09-29</a:t>
            </a:r>
          </a:p>
          <a:p>
            <a:endParaRPr lang="en-US" dirty="0"/>
          </a:p>
        </p:txBody>
      </p:sp>
      <p:sp>
        <p:nvSpPr>
          <p:cNvPr id="17" name="IFXSHAPE"/>
          <p:cNvSpPr>
            <a:spLocks noGrp="1"/>
          </p:cNvSpPr>
          <p:nvPr>
            <p:ph type="sldNum" sz="quarter" idx="5"/>
          </p:nvPr>
        </p:nvSpPr>
        <p:spPr>
          <a:xfrm>
            <a:off x="6142037" y="9940925"/>
            <a:ext cx="503237" cy="144933"/>
          </a:xfrm>
        </p:spPr>
        <p:txBody>
          <a:bodyPr/>
          <a:lstStyle/>
          <a:p>
            <a:fld id="{4165D906-55BD-49C5-997D-27A40DB53D15}" type="slidenum">
              <a:rPr lang="en-US" smtClean="0">
                <a:latin typeface="Arial" panose="020B0604020202020204" pitchFamily="34" charset="0"/>
                <a:cs typeface="Arial" panose="020B0604020202020204" pitchFamily="34" charset="0"/>
              </a:rPr>
              <a:pPr/>
              <a:t>47</a:t>
            </a:fld>
            <a:endParaRPr lang="en-US">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49639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3" name="IFXSHAPE"/>
          <p:cNvSpPr>
            <a:spLocks noGrp="1"/>
          </p:cNvSpPr>
          <p:nvPr>
            <p:ph type="body" idx="1"/>
          </p:nvPr>
        </p:nvSpPr>
        <p:spPr/>
        <p:txBody>
          <a:bodyPr/>
          <a:lstStyle/>
          <a:p>
            <a:r>
              <a:rPr lang="en-US" dirty="0"/>
              <a:t>Goes hand in hand with Infineon </a:t>
            </a:r>
            <a:r>
              <a:rPr lang="en-US" dirty="0" err="1"/>
              <a:t>gatedrivers</a:t>
            </a:r>
            <a:endParaRPr lang="en-US" dirty="0"/>
          </a:p>
        </p:txBody>
      </p:sp>
      <p:sp>
        <p:nvSpPr>
          <p:cNvPr id="4" name="IFXSHAPE"/>
          <p:cNvSpPr>
            <a:spLocks noGrp="1"/>
          </p:cNvSpPr>
          <p:nvPr>
            <p:ph type="hdr" sz="quarter"/>
          </p:nvPr>
        </p:nvSpPr>
        <p:spPr/>
        <p:txBody>
          <a:bodyPr/>
          <a:lstStyle/>
          <a:p>
            <a:endParaRPr lang="en-US" dirty="0"/>
          </a:p>
        </p:txBody>
      </p:sp>
      <p:sp>
        <p:nvSpPr>
          <p:cNvPr id="5" name="IFXSHAPE"/>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1. All rights reserved.</a:t>
            </a:r>
            <a:endParaRPr lang="en-US" b="1" dirty="0">
              <a:solidFill>
                <a:srgbClr val="E30034"/>
              </a:solidFill>
              <a:latin typeface="Arial" panose="020B0604020202020204" pitchFamily="34" charset="0"/>
              <a:cs typeface="Arial" panose="020B0604020202020204" pitchFamily="34" charset="0"/>
            </a:endParaRPr>
          </a:p>
        </p:txBody>
      </p:sp>
      <p:sp>
        <p:nvSpPr>
          <p:cNvPr id="6" name="IFXSHAPE"/>
          <p:cNvSpPr>
            <a:spLocks noGrp="1"/>
          </p:cNvSpPr>
          <p:nvPr>
            <p:ph type="dt" idx="1"/>
          </p:nvPr>
        </p:nvSpPr>
        <p:spPr/>
        <p:txBody>
          <a:bodyPr/>
          <a:lstStyle/>
          <a:p>
            <a:r>
              <a:rPr lang="en-US" dirty="0"/>
              <a:t>2021-05-04</a:t>
            </a:r>
          </a:p>
        </p:txBody>
      </p:sp>
      <p:sp>
        <p:nvSpPr>
          <p:cNvPr id="7" name="IFXSHAPE"/>
          <p:cNvSpPr>
            <a:spLocks noGrp="1"/>
          </p:cNvSpPr>
          <p:nvPr>
            <p:ph type="sldNum" sz="quarter" idx="5"/>
          </p:nvPr>
        </p:nvSpPr>
        <p:spPr/>
        <p:txBody>
          <a:bodyPr/>
          <a:lstStyle/>
          <a:p>
            <a:fld id="{E24E58BD-468E-44AE-B311-963CF5151137}" type="slidenum">
              <a:rPr lang="en-US" smtClean="0">
                <a:latin typeface="Arial" panose="020B0604020202020204" pitchFamily="34" charset="0"/>
                <a:cs typeface="Arial" panose="020B0604020202020204" pitchFamily="34" charset="0"/>
              </a:rPr>
              <a:t>4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09351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5613" y="1012825"/>
            <a:ext cx="6191250" cy="3482975"/>
          </a:xfrm>
        </p:spPr>
      </p:sp>
      <p:sp>
        <p:nvSpPr>
          <p:cNvPr id="3" name="IFXSHAPE"/>
          <p:cNvSpPr>
            <a:spLocks noGrp="1"/>
          </p:cNvSpPr>
          <p:nvPr>
            <p:ph type="body" idx="1"/>
          </p:nvPr>
        </p:nvSpPr>
        <p:spPr/>
        <p:txBody>
          <a:bodyPr/>
          <a:lstStyle/>
          <a:p>
            <a:endParaRPr lang="de-DE"/>
          </a:p>
        </p:txBody>
      </p:sp>
      <p:sp>
        <p:nvSpPr>
          <p:cNvPr id="4" name="IFXSHAPE"/>
          <p:cNvSpPr>
            <a:spLocks noGrp="1"/>
          </p:cNvSpPr>
          <p:nvPr>
            <p:ph type="hdr" sz="quarter" idx="10"/>
          </p:nvPr>
        </p:nvSpPr>
        <p:spPr/>
        <p:txBody>
          <a:bodyPr/>
          <a:lstStyle/>
          <a:p>
            <a:endParaRPr lang="en-US" dirty="0"/>
          </a:p>
        </p:txBody>
      </p:sp>
      <p:sp>
        <p:nvSpPr>
          <p:cNvPr id="5" name="IFXSHAPE"/>
          <p:cNvSpPr>
            <a:spLocks noGrp="1"/>
          </p:cNvSpPr>
          <p:nvPr>
            <p:ph type="ftr" sz="quarter" idx="11"/>
          </p:nvPr>
        </p:nvSpPr>
        <p:spPr/>
        <p:txBody>
          <a:bodyPr/>
          <a:lstStyle/>
          <a:p>
            <a:r>
              <a:rPr lang="en-US">
                <a:latin typeface="Arial" panose="020B0604020202020204" pitchFamily="34" charset="0"/>
                <a:cs typeface="Arial" panose="020B0604020202020204" pitchFamily="34" charset="0"/>
              </a:rPr>
              <a:t>Copyright © Infineon Technologies AG 2021. All rights reserved.</a:t>
            </a:r>
            <a:endParaRPr lang="en-US" b="1" dirty="0">
              <a:solidFill>
                <a:srgbClr val="E30034"/>
              </a:solidFill>
              <a:latin typeface="Arial" panose="020B0604020202020204" pitchFamily="34" charset="0"/>
              <a:cs typeface="Arial" panose="020B0604020202020204" pitchFamily="34" charset="0"/>
            </a:endParaRPr>
          </a:p>
        </p:txBody>
      </p:sp>
      <p:sp>
        <p:nvSpPr>
          <p:cNvPr id="6" name="IFXSHAPE"/>
          <p:cNvSpPr>
            <a:spLocks noGrp="1"/>
          </p:cNvSpPr>
          <p:nvPr>
            <p:ph type="dt" idx="12"/>
          </p:nvPr>
        </p:nvSpPr>
        <p:spPr/>
        <p:txBody>
          <a:bodyPr/>
          <a:lstStyle/>
          <a:p>
            <a:r>
              <a:rPr lang="en-US"/>
              <a:t>2021-02-04</a:t>
            </a:r>
          </a:p>
        </p:txBody>
      </p:sp>
      <p:sp>
        <p:nvSpPr>
          <p:cNvPr id="7" name="IFXSHAPE"/>
          <p:cNvSpPr>
            <a:spLocks noGrp="1"/>
          </p:cNvSpPr>
          <p:nvPr>
            <p:ph type="sldNum" sz="quarter" idx="13"/>
          </p:nvPr>
        </p:nvSpPr>
        <p:spPr/>
        <p:txBody>
          <a:bodyPr/>
          <a:lstStyle/>
          <a:p>
            <a:fld id="{C636C3E0-E7F6-4909-B730-32CE0D754E66}" type="slidenum">
              <a:rPr lang="en-US" smtClean="0">
                <a:latin typeface="Arial" panose="020B0604020202020204" pitchFamily="34" charset="0"/>
                <a:cs typeface="Arial" panose="020B0604020202020204" pitchFamily="34" charset="0"/>
              </a:rPr>
              <a:t>49</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3679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34829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 b="1"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restricted</a:t>
            </a:r>
            <a:endParaRPr kumimoji="0" lang="en-US" sz="1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6" name="Date Placeholder 5"/>
          <p:cNvSpPr>
            <a:spLocks noGrp="1"/>
          </p:cNvSpPr>
          <p:nvPr>
            <p:ph type="dt"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rPr>
              <a:t>2020-12-16</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7" name="Slide Number Placeholder 6"/>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en-US"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877345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2829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7849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FXSHAPE"/>
          <p:cNvSpPr>
            <a:spLocks noGrp="1" noRot="1" noChangeAspect="1"/>
          </p:cNvSpPr>
          <p:nvPr>
            <p:ph type="sldImg"/>
          </p:nvPr>
        </p:nvSpPr>
        <p:spPr>
          <a:xfrm>
            <a:off x="454025" y="1012825"/>
            <a:ext cx="6191250" cy="3482975"/>
          </a:xfrm>
        </p:spPr>
      </p:sp>
      <p:sp>
        <p:nvSpPr>
          <p:cNvPr id="13" name="IFXSHAPE"/>
          <p:cNvSpPr>
            <a:spLocks noGrp="1"/>
          </p:cNvSpPr>
          <p:nvPr>
            <p:ph type="body" idx="3"/>
          </p:nvPr>
        </p:nvSpPr>
        <p:spPr>
          <a:xfrm>
            <a:off x="453306" y="4708042"/>
            <a:ext cx="6191968" cy="4832456"/>
          </a:xfrm>
        </p:spPr>
        <p:txBody>
          <a:bodyPr/>
          <a:lstStyle/>
          <a:p>
            <a:endParaRPr lang="de-AT" dirty="0">
              <a:solidFill>
                <a:schemeClr val="tx1"/>
              </a:solidFill>
            </a:endParaRPr>
          </a:p>
        </p:txBody>
      </p:sp>
      <p:sp>
        <p:nvSpPr>
          <p:cNvPr id="14" name="IFXSHAPE"/>
          <p:cNvSpPr>
            <a:spLocks noGrp="1"/>
          </p:cNvSpPr>
          <p:nvPr>
            <p:ph type="hdr" sz="quarter"/>
          </p:nvPr>
        </p:nvSpPr>
        <p:spPr>
          <a:xfrm>
            <a:off x="454025" y="295163"/>
            <a:ext cx="4422857" cy="419422"/>
          </a:xfrm>
        </p:spPr>
        <p:txBody>
          <a:bodyPr/>
          <a:lstStyle/>
          <a:p>
            <a:pPr marL="0" marR="0" lvl="0" indent="0" algn="l" defTabSz="955819" rtl="0" eaLnBrk="1" fontAlgn="base" latinLnBrk="0" hangingPunct="1">
              <a:lnSpc>
                <a:spcPct val="100000"/>
              </a:lnSpc>
              <a:spcBef>
                <a:spcPct val="0"/>
              </a:spcBef>
              <a:spcAft>
                <a:spcPct val="0"/>
              </a:spcAft>
              <a:buClrTx/>
              <a:buSzTx/>
              <a:buFontTx/>
              <a:buNone/>
              <a:tabLst/>
              <a:defRPr/>
            </a:pPr>
            <a:endParaRPr kumimoji="0" lang="de-AT" sz="100" b="0" i="0" u="none" strike="noStrike" kern="1200" cap="none" spc="0" normalizeH="0" baseline="0" noProof="0" dirty="0">
              <a:ln>
                <a:noFill/>
              </a:ln>
              <a:noFill/>
              <a:effectLst/>
              <a:uLnTx/>
              <a:uFillTx/>
              <a:latin typeface="Arial" panose="020B0604020202020204" pitchFamily="34" charset="0"/>
              <a:ea typeface="+mn-ea"/>
              <a:cs typeface="Arial" panose="020B0604020202020204" pitchFamily="34" charset="0"/>
            </a:endParaRPr>
          </a:p>
        </p:txBody>
      </p:sp>
      <p:sp>
        <p:nvSpPr>
          <p:cNvPr id="15" name="IFXSHAPE"/>
          <p:cNvSpPr>
            <a:spLocks noGrp="1"/>
          </p:cNvSpPr>
          <p:nvPr>
            <p:ph type="ftr" sz="quarter" idx="4"/>
          </p:nvPr>
        </p:nvSpPr>
        <p:spPr>
          <a:xfrm>
            <a:off x="1317625" y="9940925"/>
            <a:ext cx="4824411" cy="144933"/>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AT"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Copyright © Infineon Technologies AG 2020. All rights reserv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AT" sz="100" b="1"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restricted</a:t>
            </a:r>
            <a:endParaRPr kumimoji="0" lang="de-AT" sz="100" b="1" i="0" u="none" strike="noStrike" kern="1200" cap="none" spc="0" normalizeH="0" baseline="0" noProof="0" dirty="0">
              <a:ln>
                <a:noFill/>
              </a:ln>
              <a:solidFill>
                <a:srgbClr val="E30034"/>
              </a:solidFill>
              <a:effectLst/>
              <a:uLnTx/>
              <a:uFillTx/>
              <a:latin typeface="Arial" panose="020B0604020202020204" pitchFamily="34" charset="0"/>
              <a:ea typeface="Verdana" pitchFamily="34" charset="0"/>
              <a:cs typeface="Arial" panose="020B0604020202020204" pitchFamily="34" charset="0"/>
            </a:endParaRPr>
          </a:p>
        </p:txBody>
      </p:sp>
      <p:sp>
        <p:nvSpPr>
          <p:cNvPr id="16" name="IFXSHAPE"/>
          <p:cNvSpPr>
            <a:spLocks noGrp="1"/>
          </p:cNvSpPr>
          <p:nvPr>
            <p:ph type="dt" idx="1"/>
          </p:nvPr>
        </p:nvSpPr>
        <p:spPr>
          <a:xfrm>
            <a:off x="453306" y="9940925"/>
            <a:ext cx="864320" cy="14493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00" b="0" i="0" u="none" strike="noStrike" kern="1200" cap="none" spc="0" normalizeH="0" baseline="0" noProof="0">
                <a:ln>
                  <a:noFill/>
                </a:ln>
                <a:noFill/>
                <a:effectLst/>
                <a:uLnTx/>
                <a:uFillTx/>
                <a:latin typeface="Arial" panose="020B0604020202020204" pitchFamily="34" charset="0"/>
                <a:ea typeface="Verdana" pitchFamily="34" charset="0"/>
                <a:cs typeface="Arial" panose="020B0604020202020204" pitchFamily="34" charset="0"/>
              </a:rPr>
              <a:t>2020-09-29</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AT" sz="100" b="0" i="0" u="none" strike="noStrike" kern="1200" cap="none" spc="0" normalizeH="0" baseline="0" noProof="0" dirty="0">
              <a:ln>
                <a:noFill/>
              </a:ln>
              <a:noFill/>
              <a:effectLst/>
              <a:uLnTx/>
              <a:uFillTx/>
              <a:latin typeface="Arial" panose="020B0604020202020204" pitchFamily="34" charset="0"/>
              <a:ea typeface="Verdana" pitchFamily="34" charset="0"/>
              <a:cs typeface="Arial" panose="020B0604020202020204" pitchFamily="34" charset="0"/>
            </a:endParaRPr>
          </a:p>
        </p:txBody>
      </p:sp>
      <p:sp>
        <p:nvSpPr>
          <p:cNvPr id="17" name="IFXSHAPE"/>
          <p:cNvSpPr>
            <a:spLocks noGrp="1"/>
          </p:cNvSpPr>
          <p:nvPr>
            <p:ph type="sldNum" sz="quarter" idx="5"/>
          </p:nvPr>
        </p:nvSpPr>
        <p:spPr>
          <a:xfrm>
            <a:off x="6142037" y="9940925"/>
            <a:ext cx="503237" cy="14493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65D906-55BD-49C5-997D-27A40DB53D15}" type="slidenum">
              <a:rPr kumimoji="0" lang="de-AT" sz="800" b="0" i="0" u="none" strike="noStrike" kern="1200" cap="none" spc="0" normalizeH="0" baseline="0" noProof="0" smtClean="0">
                <a:ln>
                  <a:noFill/>
                </a:ln>
                <a:solidFill>
                  <a:srgbClr val="928285"/>
                </a:solidFill>
                <a:effectLst/>
                <a:uLnTx/>
                <a:uFillTx/>
                <a:latin typeface="Arial" panose="020B0604020202020204" pitchFamily="34" charset="0"/>
                <a:ea typeface="Verdana" pitchFamily="34"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de-AT" sz="800" b="0" i="0" u="none" strike="noStrike" kern="1200" cap="none" spc="0" normalizeH="0" baseline="0" noProof="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AT" sz="800" b="0" i="0" u="none" strike="noStrike" kern="1200" cap="none" spc="0" normalizeH="0" baseline="0" noProof="0" dirty="0">
              <a:ln>
                <a:noFill/>
              </a:ln>
              <a:solidFill>
                <a:srgbClr val="928285"/>
              </a:solidFill>
              <a:effectLst/>
              <a:uLnTx/>
              <a:uFillTx/>
              <a:latin typeface="Arial" panose="020B0604020202020204" pitchFamily="34" charset="0"/>
              <a:ea typeface="Verdana" pitchFamily="34" charset="0"/>
              <a:cs typeface="Arial" panose="020B0604020202020204" pitchFamily="34" charset="0"/>
            </a:endParaRPr>
          </a:p>
        </p:txBody>
      </p:sp>
    </p:spTree>
    <p:extLst>
      <p:ext uri="{BB962C8B-B14F-4D97-AF65-F5344CB8AC3E}">
        <p14:creationId xmlns:p14="http://schemas.microsoft.com/office/powerpoint/2010/main" val="1565350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37417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1.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slideMaster" Target="../slideMasters/slideMaster1.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0" Type="http://schemas.openxmlformats.org/officeDocument/2006/relationships/tags" Target="../tags/tag182.xml"/><Relationship Id="rId4" Type="http://schemas.openxmlformats.org/officeDocument/2006/relationships/tags" Target="../tags/tag176.xml"/><Relationship Id="rId9" Type="http://schemas.openxmlformats.org/officeDocument/2006/relationships/tags" Target="../tags/tag18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slideMaster" Target="../slideMasters/slideMaster1.xml"/><Relationship Id="rId4" Type="http://schemas.openxmlformats.org/officeDocument/2006/relationships/tags" Target="../tags/tag18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slideMaster" Target="../slideMasters/slideMaster1.xml"/><Relationship Id="rId5" Type="http://schemas.openxmlformats.org/officeDocument/2006/relationships/tags" Target="../tags/tag193.xml"/><Relationship Id="rId4" Type="http://schemas.openxmlformats.org/officeDocument/2006/relationships/tags" Target="../tags/tag19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g"/><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1.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Crystal Picture Placeholder">
            <a:extLst>
              <a:ext uri="{FF2B5EF4-FFF2-40B4-BE49-F238E27FC236}">
                <a16:creationId xmlns:a16="http://schemas.microsoft.com/office/drawing/2014/main" id="{5805FCC4-D045-0733-8C95-81CAFF95804B}"/>
              </a:ext>
            </a:extLst>
          </p:cNvPr>
          <p:cNvSpPr>
            <a:spLocks noGrp="1"/>
          </p:cNvSpPr>
          <p:nvPr>
            <p:ph type="pic" sz="quarter" idx="15"/>
          </p:nvPr>
        </p:nvSpPr>
        <p:spPr>
          <a:xfrm>
            <a:off x="3" y="2"/>
            <a:ext cx="121919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2"/>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endParaRPr lang="en-US" sz="800" b="1" kern="0" baseline="0" noProof="0" dirty="0">
              <a:solidFill>
                <a:schemeClr val="tx2"/>
              </a:solidFill>
              <a:latin typeface="+mn-lt"/>
              <a:ea typeface="+mn-ea"/>
              <a:cs typeface="+mn-cs"/>
            </a:endParaRPr>
          </a:p>
        </p:txBody>
      </p:sp>
      <p:sp>
        <p:nvSpPr>
          <p:cNvPr id="10" name="empower_classification_placeholder">
            <a:extLst>
              <a:ext uri="{FF2B5EF4-FFF2-40B4-BE49-F238E27FC236}">
                <a16:creationId xmlns:a16="http://schemas.microsoft.com/office/drawing/2014/main" id="{2D16A7B9-CA23-4C66-B2AF-3682EAAE8159}"/>
              </a:ext>
            </a:extLst>
          </p:cNvPr>
          <p:cNvSpPr txBox="1"/>
          <p:nvPr>
            <p:custDataLst>
              <p:tags r:id="rId4"/>
            </p:custDataLst>
          </p:nvPr>
        </p:nvSpPr>
        <p:spPr bwMode="auto">
          <a:xfrm>
            <a:off x="5412000" y="6500314"/>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endParaRPr lang="en-US" sz="800" kern="0" baseline="0" noProof="0" dirty="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5"/>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7"/>
            </p:custDataLst>
          </p:nvPr>
        </p:nvSpPr>
        <p:spPr/>
        <p:txBody>
          <a:bodyPr/>
          <a:lstStyle/>
          <a:p>
            <a:endParaRPr lang="en-US" b="1" dirty="0"/>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8"/>
            </p:custDataLst>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92DC6926-96FF-4BB1-823E-5F2FFE796E7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1374895876"/>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FC21F178-EFAA-49DE-A35E-72E2C0CA3B0B}"/>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endParaRPr lang="en-US" sz="800" kern="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761235938"/>
      </p:ext>
    </p:extLst>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F09BE8EF-EBD2-4B7A-9878-8440DC26C91A}"/>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720612159"/>
      </p:ext>
    </p:extLst>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10" name="empower_additionalText_placeholder">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4E82CE8C-8E20-4C1A-B65C-F8A30CF5A153}"/>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2559994296"/>
      </p:ext>
    </p:extLst>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D547197E-1EC3-47AA-B644-4B7771421A2B}"/>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07540778"/>
      </p:ext>
    </p:extLst>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4" name="empower_classification_placeholder">
            <a:extLst>
              <a:ext uri="{FF2B5EF4-FFF2-40B4-BE49-F238E27FC236}">
                <a16:creationId xmlns:a16="http://schemas.microsoft.com/office/drawing/2014/main" id="{B1D76006-023D-437E-80D1-B8FC83CA1329}"/>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10"/>
            </p:custDataLst>
          </p:nvPr>
        </p:nvSpPr>
        <p:spPr/>
        <p:txBody>
          <a:bodyPr/>
          <a:lstStyle/>
          <a:p>
            <a:endParaRPr lang="en-US" b="1" dirty="0"/>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11"/>
            </p:custDataLst>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12"/>
            </p:custDataLst>
          </p:nvPr>
        </p:nvSpPr>
        <p:spPr/>
        <p:txBody>
          <a:bodyPr/>
          <a:lstStyle/>
          <a:p>
            <a:r>
              <a:rPr lang="en-US"/>
              <a:t> </a:t>
            </a:r>
            <a:endParaRPr lang="en-US" dirty="0"/>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660175821"/>
      </p:ext>
    </p:extLst>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1" name="empower_classification_placeholder">
            <a:extLst>
              <a:ext uri="{FF2B5EF4-FFF2-40B4-BE49-F238E27FC236}">
                <a16:creationId xmlns:a16="http://schemas.microsoft.com/office/drawing/2014/main" id="{DBAA7875-DC7B-4CB1-AFAA-A99AEDD01BF7}"/>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endParaRPr lang="en-US" sz="800" kern="0" noProof="0" dirty="0">
              <a:solidFill>
                <a:schemeClr val="tx1"/>
              </a:solidFill>
              <a:latin typeface="+mn-lt"/>
              <a:ea typeface="+mn-ea"/>
              <a:cs typeface="+mn-cs"/>
            </a:endParaRP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11"/>
            </p:custDataLst>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12"/>
            </p:custDataLst>
          </p:nvPr>
        </p:nvSpPr>
        <p:spPr/>
        <p:txBody>
          <a:bodyPr/>
          <a:lstStyle/>
          <a:p>
            <a:r>
              <a:rPr lang="en-US"/>
              <a:t> </a:t>
            </a:r>
            <a:endParaRPr lang="en-US" dirty="0"/>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925194116"/>
      </p:ext>
    </p:extLst>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5. All rights reserved.</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5CA1B3C-86AD-43CD-94E9-5A2E81B7D24E}"/>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09.2025</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9"/>
            </p:custDataLst>
          </p:nvPr>
        </p:nvSpPr>
        <p:spPr/>
        <p:txBody>
          <a:bodyPr/>
          <a:lstStyle/>
          <a:p>
            <a:endParaRPr lang="en-US" b="1" dirty="0"/>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10"/>
            </p:custDataLst>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11"/>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12"/>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979732499"/>
      </p:ext>
    </p:extLst>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4020">
          <p15:clr>
            <a:srgbClr val="FBAE40"/>
          </p15:clr>
        </p15:guide>
        <p15:guide id="4" orient="horz" pos="79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endParaRPr lang="en-US" noProof="0"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dirty="0"/>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endParaRPr lang="en-US" dirty="0"/>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474184550"/>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1D664F82-C381-42D9-B168-31F6D4282D2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66446" y="2755984"/>
            <a:ext cx="3077814" cy="1346031"/>
          </a:xfrm>
          <a:prstGeom prst="rect">
            <a:avLst/>
          </a:prstGeom>
        </p:spPr>
      </p:pic>
    </p:spTree>
    <p:extLst>
      <p:ext uri="{BB962C8B-B14F-4D97-AF65-F5344CB8AC3E}">
        <p14:creationId xmlns:p14="http://schemas.microsoft.com/office/powerpoint/2010/main" val="3591870215"/>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7" name="Crystal Picture Placeholder">
            <a:extLst>
              <a:ext uri="{FF2B5EF4-FFF2-40B4-BE49-F238E27FC236}">
                <a16:creationId xmlns:a16="http://schemas.microsoft.com/office/drawing/2014/main" id="{2B034C47-A659-3457-E1A7-79A7F521356A}"/>
              </a:ext>
            </a:extLst>
          </p:cNvPr>
          <p:cNvSpPr>
            <a:spLocks noGrp="1"/>
          </p:cNvSpPr>
          <p:nvPr>
            <p:ph type="pic" sz="quarter" idx="22"/>
          </p:nvPr>
        </p:nvSpPr>
        <p:spPr>
          <a:xfrm>
            <a:off x="-1" y="0"/>
            <a:ext cx="5205158"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1"/>
            <a:stretch>
              <a:fillRect/>
            </a:stretch>
          </a:blipFill>
        </p:spPr>
        <p:txBody>
          <a:bodyPr wrap="square" tIns="2700000">
            <a:noAutofit/>
          </a:bodyPr>
          <a:lstStyle>
            <a:lvl1pPr marL="0" indent="0" algn="ctr" rtl="0">
              <a:buNone/>
              <a:defRPr/>
            </a:lvl1pPr>
          </a:lstStyle>
          <a:p>
            <a:r>
              <a:rPr lang="en-US"/>
              <a:t>Click icon to add picture</a:t>
            </a:r>
            <a:endParaRPr lang="de-DE"/>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2E1A11AC-1395-4E21-827C-BF03F1350E73}"/>
              </a:ext>
            </a:extLst>
          </p:cNvPr>
          <p:cNvSpPr txBox="1"/>
          <p:nvPr>
            <p:custDataLst>
              <p:tags r:id="rId4"/>
            </p:custDataLst>
          </p:nvPr>
        </p:nvSpPr>
        <p:spPr bwMode="auto">
          <a:xfrm>
            <a:off x="5808608"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endParaRPr lang="en-US" sz="800" kern="0" baseline="0" noProof="0" dirty="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5"/>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6"/>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A2558C1A-A4CE-495C-941B-21CFE7DE6C2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3327923327"/>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F2A69E30-B66A-4640-A0FD-5D2C3EE160B0}"/>
              </a:ext>
            </a:extLst>
          </p:cNvPr>
          <p:cNvSpPr txBox="1"/>
          <p:nvPr>
            <p:custDataLst>
              <p:tags r:id="rId4"/>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5"/>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9"/>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0090C8BE-0F32-4CF4-BB5D-F435E6072DC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1373272657"/>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5. All rights reserved.</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7C1E426-F34B-4FFB-A688-C9E251A8BC0B}"/>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09.2025</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10"/>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11"/>
            </p:custDataLst>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200226906"/>
      </p:ext>
    </p:extLst>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8" name="empower_additionalText_placeholder">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10"/>
            </p:custDataLst>
          </p:nvPr>
        </p:nvSpPr>
        <p:spPr/>
        <p:txBody>
          <a:bodyPr/>
          <a:lstStyle/>
          <a:p>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11"/>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884799292"/>
      </p:ext>
    </p:extLst>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endParaRPr lang="en-US" sz="800" b="1" kern="0" noProof="0" dirty="0">
              <a:solidFill>
                <a:schemeClr val="tx1"/>
              </a:solidFill>
              <a:latin typeface="+mn-lt"/>
              <a:ea typeface="+mn-ea"/>
              <a:cs typeface="+mn-cs"/>
            </a:endParaRP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2" name="empower_classification_placeholder">
            <a:extLst>
              <a:ext uri="{FF2B5EF4-FFF2-40B4-BE49-F238E27FC236}">
                <a16:creationId xmlns:a16="http://schemas.microsoft.com/office/drawing/2014/main" id="{A254D557-505E-4B08-8C5B-DEA083728C5A}"/>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endParaRPr lang="en-US" sz="800" b="1" kern="0" noProof="0" dirty="0">
              <a:solidFill>
                <a:schemeClr val="tx1"/>
              </a:solidFill>
              <a:latin typeface="+mn-lt"/>
              <a:ea typeface="+mn-ea"/>
              <a:cs typeface="+mn-cs"/>
            </a:endParaRP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10"/>
            </p:custDataLst>
          </p:nvPr>
        </p:nvSpPr>
        <p:spPr/>
        <p:txBody>
          <a:bodyPr/>
          <a:lstStyle/>
          <a:p>
            <a:endParaRPr lang="en-US" b="1" dirty="0"/>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11"/>
            </p:custDataLst>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631650372"/>
      </p:ext>
    </p:extLst>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0A827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dirty="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49179904"/>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dirty="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endParaRPr lang="en-US" dirty="0"/>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4046892407"/>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5. All rights reserved.</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3F4900C8-0A39-4B02-8E0A-398AAC4831BF}"/>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09.2025</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791906754"/>
      </p:ext>
    </p:extLst>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endParaRPr lang="en-US" dirty="0"/>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dirty="0"/>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dirty="0"/>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empower - DO NOT DELETE!!!" hidden="1"/>
          <p:cNvSpPr/>
          <p:nvPr>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dirty="0">
              <a:solidFill>
                <a:schemeClr val="tx1"/>
              </a:solidFill>
              <a:latin typeface="+mn-lt"/>
              <a:ea typeface="+mn-ea"/>
              <a:cs typeface="+mn-cs"/>
            </a:endParaRPr>
          </a:p>
        </p:txBody>
      </p:sp>
      <p:pic>
        <p:nvPicPr>
          <p:cNvPr id="10" name="LOGO">
            <a:extLst>
              <a:ext uri="{FF2B5EF4-FFF2-40B4-BE49-F238E27FC236}">
                <a16:creationId xmlns:a16="http://schemas.microsoft.com/office/drawing/2014/main" id="{F0C8D1F1-BA28-4973-A394-021D3C969BE1}"/>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634184972"/>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Lst>
  <p:hf hdr="0" dt="0"/>
  <p:txStyles>
    <p:title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14.xml"/><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image" Target="../media/image45.png"/><Relationship Id="rId3" Type="http://schemas.openxmlformats.org/officeDocument/2006/relationships/tags" Target="../tags/tag335.xml"/><Relationship Id="rId21" Type="http://schemas.openxmlformats.org/officeDocument/2006/relationships/image" Target="../media/image41.png"/><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image" Target="../media/image39.png"/><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notesSlide" Target="../notesSlides/notesSlide9.xml"/><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image" Target="../media/image37.png"/><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image" Target="../media/image36.png"/><Relationship Id="rId28" Type="http://schemas.openxmlformats.org/officeDocument/2006/relationships/image" Target="../media/image47.png"/><Relationship Id="rId10" Type="http://schemas.openxmlformats.org/officeDocument/2006/relationships/tags" Target="../tags/tag342.xml"/><Relationship Id="rId19" Type="http://schemas.openxmlformats.org/officeDocument/2006/relationships/slideLayout" Target="../slideLayouts/slideLayout5.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image" Target="../media/image43.png"/><Relationship Id="rId27"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50.png"/><Relationship Id="rId2" Type="http://schemas.openxmlformats.org/officeDocument/2006/relationships/slideLayout" Target="../slideLayouts/slideLayout5.xml"/><Relationship Id="rId1" Type="http://schemas.openxmlformats.org/officeDocument/2006/relationships/tags" Target="../tags/tag35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13" Type="http://schemas.openxmlformats.org/officeDocument/2006/relationships/tags" Target="../tags/tag364.xml"/><Relationship Id="rId18" Type="http://schemas.openxmlformats.org/officeDocument/2006/relationships/tags" Target="../tags/tag369.xml"/><Relationship Id="rId26" Type="http://schemas.openxmlformats.org/officeDocument/2006/relationships/tags" Target="../tags/tag377.xml"/><Relationship Id="rId39" Type="http://schemas.openxmlformats.org/officeDocument/2006/relationships/image" Target="../media/image27.png"/><Relationship Id="rId21" Type="http://schemas.openxmlformats.org/officeDocument/2006/relationships/tags" Target="../tags/tag372.xml"/><Relationship Id="rId34" Type="http://schemas.openxmlformats.org/officeDocument/2006/relationships/tags" Target="../tags/tag385.xml"/><Relationship Id="rId42" Type="http://schemas.openxmlformats.org/officeDocument/2006/relationships/image" Target="../media/image52.png"/><Relationship Id="rId7" Type="http://schemas.openxmlformats.org/officeDocument/2006/relationships/tags" Target="../tags/tag358.xml"/><Relationship Id="rId2" Type="http://schemas.openxmlformats.org/officeDocument/2006/relationships/tags" Target="../tags/tag353.xml"/><Relationship Id="rId16" Type="http://schemas.openxmlformats.org/officeDocument/2006/relationships/tags" Target="../tags/tag367.xml"/><Relationship Id="rId20" Type="http://schemas.openxmlformats.org/officeDocument/2006/relationships/tags" Target="../tags/tag371.xml"/><Relationship Id="rId29" Type="http://schemas.openxmlformats.org/officeDocument/2006/relationships/tags" Target="../tags/tag380.xml"/><Relationship Id="rId41" Type="http://schemas.openxmlformats.org/officeDocument/2006/relationships/image" Target="../media/image23.png"/><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tags" Target="../tags/tag383.xml"/><Relationship Id="rId37" Type="http://schemas.openxmlformats.org/officeDocument/2006/relationships/slideLayout" Target="../slideLayouts/slideLayout4.xml"/><Relationship Id="rId40" Type="http://schemas.openxmlformats.org/officeDocument/2006/relationships/image" Target="../media/image51.png"/><Relationship Id="rId5" Type="http://schemas.openxmlformats.org/officeDocument/2006/relationships/tags" Target="../tags/tag356.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tags" Target="../tags/tag379.xml"/><Relationship Id="rId36" Type="http://schemas.openxmlformats.org/officeDocument/2006/relationships/tags" Target="../tags/tag387.xml"/><Relationship Id="rId10" Type="http://schemas.openxmlformats.org/officeDocument/2006/relationships/tags" Target="../tags/tag361.xml"/><Relationship Id="rId19" Type="http://schemas.openxmlformats.org/officeDocument/2006/relationships/tags" Target="../tags/tag370.xml"/><Relationship Id="rId31" Type="http://schemas.openxmlformats.org/officeDocument/2006/relationships/tags" Target="../tags/tag382.xml"/><Relationship Id="rId44" Type="http://schemas.openxmlformats.org/officeDocument/2006/relationships/image" Target="../media/image26.jpeg"/><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tags" Target="../tags/tag386.xml"/><Relationship Id="rId43" Type="http://schemas.openxmlformats.org/officeDocument/2006/relationships/image" Target="../media/image25.jpeg"/><Relationship Id="rId8" Type="http://schemas.openxmlformats.org/officeDocument/2006/relationships/tags" Target="../tags/tag359.xml"/><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tags" Target="../tags/tag384.xml"/><Relationship Id="rId38"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58.bin"/><Relationship Id="rId3" Type="http://schemas.openxmlformats.org/officeDocument/2006/relationships/tags" Target="../tags/tag389.xml"/><Relationship Id="rId7" Type="http://schemas.openxmlformats.org/officeDocument/2006/relationships/oleObject" Target="../embeddings/oleObject3.bin"/><Relationship Id="rId12" Type="http://schemas.openxmlformats.org/officeDocument/2006/relationships/image" Target="../media/image57.png"/><Relationship Id="rId17" Type="http://schemas.openxmlformats.org/officeDocument/2006/relationships/image" Target="../media/image16.png"/><Relationship Id="rId2" Type="http://schemas.openxmlformats.org/officeDocument/2006/relationships/tags" Target="../tags/tag388.xml"/><Relationship Id="rId16" Type="http://schemas.microsoft.com/office/2007/relationships/hdphoto" Target="../media/hdphoto1.wdp"/><Relationship Id="rId1" Type="http://schemas.openxmlformats.org/officeDocument/2006/relationships/vmlDrawing" Target="../drawings/vmlDrawing3.vml"/><Relationship Id="rId6" Type="http://schemas.openxmlformats.org/officeDocument/2006/relationships/image" Target="../media/image53.png"/><Relationship Id="rId11" Type="http://schemas.openxmlformats.org/officeDocument/2006/relationships/image" Target="../media/image56.bin"/><Relationship Id="rId5" Type="http://schemas.openxmlformats.org/officeDocument/2006/relationships/notesSlide" Target="../notesSlides/notesSlide11.xml"/><Relationship Id="rId15" Type="http://schemas.openxmlformats.org/officeDocument/2006/relationships/image" Target="../media/image29.png"/><Relationship Id="rId10" Type="http://schemas.openxmlformats.org/officeDocument/2006/relationships/image" Target="../media/image55.png"/><Relationship Id="rId4" Type="http://schemas.openxmlformats.org/officeDocument/2006/relationships/slideLayout" Target="../slideLayouts/slideLayout4.xml"/><Relationship Id="rId9" Type="http://schemas.openxmlformats.org/officeDocument/2006/relationships/image" Target="../media/image54.png"/><Relationship Id="rId14" Type="http://schemas.openxmlformats.org/officeDocument/2006/relationships/image" Target="../media/image5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12.xml"/><Relationship Id="rId7" Type="http://schemas.openxmlformats.org/officeDocument/2006/relationships/image" Target="../media/image63.png"/><Relationship Id="rId2" Type="http://schemas.openxmlformats.org/officeDocument/2006/relationships/slideLayout" Target="../slideLayouts/slideLayout5.xml"/><Relationship Id="rId1" Type="http://schemas.openxmlformats.org/officeDocument/2006/relationships/tags" Target="../tags/tag390.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5.xml"/><Relationship Id="rId7" Type="http://schemas.openxmlformats.org/officeDocument/2006/relationships/image" Target="../media/image62.png"/><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notesSlide" Target="../notesSlides/notesSlide13.xml"/><Relationship Id="rId9" Type="http://schemas.openxmlformats.org/officeDocument/2006/relationships/image" Target="../media/image64.png"/></Relationships>
</file>

<file path=ppt/slides/_rels/slide1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14.xml"/><Relationship Id="rId7" Type="http://schemas.openxmlformats.org/officeDocument/2006/relationships/image" Target="../media/image70.png"/><Relationship Id="rId2" Type="http://schemas.openxmlformats.org/officeDocument/2006/relationships/slideLayout" Target="../slideLayouts/slideLayout4.xml"/><Relationship Id="rId1" Type="http://schemas.openxmlformats.org/officeDocument/2006/relationships/tags" Target="../tags/tag39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394.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image" Target="../media/image72.png"/><Relationship Id="rId10" Type="http://schemas.openxmlformats.org/officeDocument/2006/relationships/image" Target="../media/image16.png"/><Relationship Id="rId4" Type="http://schemas.openxmlformats.org/officeDocument/2006/relationships/notesSlide" Target="../notesSlides/notesSlide15.xml"/><Relationship Id="rId9" Type="http://schemas.openxmlformats.org/officeDocument/2006/relationships/image" Target="../media/image20.svg"/></Relationships>
</file>

<file path=ppt/slides/_rels/slide1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tags" Target="../tags/tag215.xml"/><Relationship Id="rId1" Type="http://schemas.openxmlformats.org/officeDocument/2006/relationships/vmlDrawing" Target="../drawings/vmlDrawing1.vml"/><Relationship Id="rId6" Type="http://schemas.openxmlformats.org/officeDocument/2006/relationships/image" Target="../media/image7.emf"/><Relationship Id="rId11" Type="http://schemas.openxmlformats.org/officeDocument/2006/relationships/image" Target="../media/image12.png"/><Relationship Id="rId5" Type="http://schemas.openxmlformats.org/officeDocument/2006/relationships/oleObject" Target="../embeddings/oleObject1.bin"/><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notesSlide" Target="../notesSlides/notesSlide2.xml"/><Relationship Id="rId9" Type="http://schemas.openxmlformats.org/officeDocument/2006/relationships/image" Target="../media/image10.png"/><Relationship Id="rId14" Type="http://schemas.openxmlformats.org/officeDocument/2006/relationships/image" Target="../media/image15.svg"/></Relationships>
</file>

<file path=ppt/slides/_rels/slide2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1.xml.rels><?xml version="1.0" encoding="UTF-8" standalone="yes"?>
<Relationships xmlns="http://schemas.openxmlformats.org/package/2006/relationships"><Relationship Id="rId13" Type="http://schemas.openxmlformats.org/officeDocument/2006/relationships/tags" Target="../tags/tag407.xml"/><Relationship Id="rId18" Type="http://schemas.openxmlformats.org/officeDocument/2006/relationships/tags" Target="../tags/tag412.xml"/><Relationship Id="rId26" Type="http://schemas.openxmlformats.org/officeDocument/2006/relationships/tags" Target="../tags/tag420.xml"/><Relationship Id="rId39" Type="http://schemas.openxmlformats.org/officeDocument/2006/relationships/tags" Target="../tags/tag433.xml"/><Relationship Id="rId21" Type="http://schemas.openxmlformats.org/officeDocument/2006/relationships/tags" Target="../tags/tag415.xml"/><Relationship Id="rId34" Type="http://schemas.openxmlformats.org/officeDocument/2006/relationships/tags" Target="../tags/tag428.xml"/><Relationship Id="rId42" Type="http://schemas.openxmlformats.org/officeDocument/2006/relationships/slideLayout" Target="../slideLayouts/slideLayout4.xml"/><Relationship Id="rId7" Type="http://schemas.openxmlformats.org/officeDocument/2006/relationships/tags" Target="../tags/tag401.xml"/><Relationship Id="rId2" Type="http://schemas.openxmlformats.org/officeDocument/2006/relationships/tags" Target="../tags/tag396.xml"/><Relationship Id="rId16" Type="http://schemas.openxmlformats.org/officeDocument/2006/relationships/tags" Target="../tags/tag410.xml"/><Relationship Id="rId29" Type="http://schemas.openxmlformats.org/officeDocument/2006/relationships/tags" Target="../tags/tag423.xml"/><Relationship Id="rId1" Type="http://schemas.openxmlformats.org/officeDocument/2006/relationships/tags" Target="../tags/tag395.xml"/><Relationship Id="rId6" Type="http://schemas.openxmlformats.org/officeDocument/2006/relationships/tags" Target="../tags/tag400.xml"/><Relationship Id="rId11" Type="http://schemas.openxmlformats.org/officeDocument/2006/relationships/tags" Target="../tags/tag405.xml"/><Relationship Id="rId24" Type="http://schemas.openxmlformats.org/officeDocument/2006/relationships/tags" Target="../tags/tag418.xml"/><Relationship Id="rId32" Type="http://schemas.openxmlformats.org/officeDocument/2006/relationships/tags" Target="../tags/tag426.xml"/><Relationship Id="rId37" Type="http://schemas.openxmlformats.org/officeDocument/2006/relationships/tags" Target="../tags/tag431.xml"/><Relationship Id="rId40" Type="http://schemas.openxmlformats.org/officeDocument/2006/relationships/tags" Target="../tags/tag434.xml"/><Relationship Id="rId45" Type="http://schemas.openxmlformats.org/officeDocument/2006/relationships/image" Target="../media/image86.png"/><Relationship Id="rId5" Type="http://schemas.openxmlformats.org/officeDocument/2006/relationships/tags" Target="../tags/tag399.xml"/><Relationship Id="rId15" Type="http://schemas.openxmlformats.org/officeDocument/2006/relationships/tags" Target="../tags/tag409.xml"/><Relationship Id="rId23" Type="http://schemas.openxmlformats.org/officeDocument/2006/relationships/tags" Target="../tags/tag417.xml"/><Relationship Id="rId28" Type="http://schemas.openxmlformats.org/officeDocument/2006/relationships/tags" Target="../tags/tag422.xml"/><Relationship Id="rId36" Type="http://schemas.openxmlformats.org/officeDocument/2006/relationships/tags" Target="../tags/tag430.xml"/><Relationship Id="rId10" Type="http://schemas.openxmlformats.org/officeDocument/2006/relationships/tags" Target="../tags/tag404.xml"/><Relationship Id="rId19" Type="http://schemas.openxmlformats.org/officeDocument/2006/relationships/tags" Target="../tags/tag413.xml"/><Relationship Id="rId31" Type="http://schemas.openxmlformats.org/officeDocument/2006/relationships/tags" Target="../tags/tag425.xml"/><Relationship Id="rId44" Type="http://schemas.openxmlformats.org/officeDocument/2006/relationships/image" Target="../media/image85.png"/><Relationship Id="rId4" Type="http://schemas.openxmlformats.org/officeDocument/2006/relationships/tags" Target="../tags/tag398.xml"/><Relationship Id="rId9" Type="http://schemas.openxmlformats.org/officeDocument/2006/relationships/tags" Target="../tags/tag403.xml"/><Relationship Id="rId14" Type="http://schemas.openxmlformats.org/officeDocument/2006/relationships/tags" Target="../tags/tag408.xml"/><Relationship Id="rId22" Type="http://schemas.openxmlformats.org/officeDocument/2006/relationships/tags" Target="../tags/tag416.xml"/><Relationship Id="rId27" Type="http://schemas.openxmlformats.org/officeDocument/2006/relationships/tags" Target="../tags/tag421.xml"/><Relationship Id="rId30" Type="http://schemas.openxmlformats.org/officeDocument/2006/relationships/tags" Target="../tags/tag424.xml"/><Relationship Id="rId35" Type="http://schemas.openxmlformats.org/officeDocument/2006/relationships/tags" Target="../tags/tag429.xml"/><Relationship Id="rId43" Type="http://schemas.openxmlformats.org/officeDocument/2006/relationships/notesSlide" Target="../notesSlides/notesSlide18.xml"/><Relationship Id="rId8" Type="http://schemas.openxmlformats.org/officeDocument/2006/relationships/tags" Target="../tags/tag402.xml"/><Relationship Id="rId3" Type="http://schemas.openxmlformats.org/officeDocument/2006/relationships/tags" Target="../tags/tag397.xml"/><Relationship Id="rId12" Type="http://schemas.openxmlformats.org/officeDocument/2006/relationships/tags" Target="../tags/tag406.xml"/><Relationship Id="rId17" Type="http://schemas.openxmlformats.org/officeDocument/2006/relationships/tags" Target="../tags/tag411.xml"/><Relationship Id="rId25" Type="http://schemas.openxmlformats.org/officeDocument/2006/relationships/tags" Target="../tags/tag419.xml"/><Relationship Id="rId33" Type="http://schemas.openxmlformats.org/officeDocument/2006/relationships/tags" Target="../tags/tag427.xml"/><Relationship Id="rId38" Type="http://schemas.openxmlformats.org/officeDocument/2006/relationships/tags" Target="../tags/tag432.xml"/><Relationship Id="rId46" Type="http://schemas.openxmlformats.org/officeDocument/2006/relationships/image" Target="../media/image16.png"/><Relationship Id="rId20" Type="http://schemas.openxmlformats.org/officeDocument/2006/relationships/tags" Target="../tags/tag414.xml"/><Relationship Id="rId41" Type="http://schemas.openxmlformats.org/officeDocument/2006/relationships/tags" Target="../tags/tag435.xml"/></Relationships>
</file>

<file path=ppt/slides/_rels/slide2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87.png"/></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436.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image" Target="../media/image88.jpeg"/><Relationship Id="rId10" Type="http://schemas.openxmlformats.org/officeDocument/2006/relationships/image" Target="../media/image16.png"/><Relationship Id="rId4" Type="http://schemas.openxmlformats.org/officeDocument/2006/relationships/notesSlide" Target="../notesSlides/notesSlide20.xml"/><Relationship Id="rId9" Type="http://schemas.openxmlformats.org/officeDocument/2006/relationships/image" Target="../media/image20.sv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437.xml"/><Relationship Id="rId5" Type="http://schemas.openxmlformats.org/officeDocument/2006/relationships/image" Target="../media/image16.png"/><Relationship Id="rId4" Type="http://schemas.openxmlformats.org/officeDocument/2006/relationships/image" Target="../media/image89.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438.xml"/><Relationship Id="rId6" Type="http://schemas.openxmlformats.org/officeDocument/2006/relationships/image" Target="../media/image90.png"/><Relationship Id="rId5" Type="http://schemas.openxmlformats.org/officeDocument/2006/relationships/image" Target="../media/image86.png"/><Relationship Id="rId4" Type="http://schemas.openxmlformats.org/officeDocument/2006/relationships/chart" Target="../charts/char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8.jpeg"/><Relationship Id="rId2" Type="http://schemas.openxmlformats.org/officeDocument/2006/relationships/tags" Target="../tags/tag216.xml"/><Relationship Id="rId1" Type="http://schemas.openxmlformats.org/officeDocument/2006/relationships/vmlDrawing" Target="../drawings/vmlDrawing2.vml"/><Relationship Id="rId6" Type="http://schemas.openxmlformats.org/officeDocument/2006/relationships/image" Target="../media/image17.emf"/><Relationship Id="rId11" Type="http://schemas.openxmlformats.org/officeDocument/2006/relationships/image" Target="../media/image16.png"/><Relationship Id="rId5" Type="http://schemas.openxmlformats.org/officeDocument/2006/relationships/oleObject" Target="../embeddings/oleObject2.bin"/><Relationship Id="rId10" Type="http://schemas.openxmlformats.org/officeDocument/2006/relationships/hyperlink" Target="https://www.infineon.com/cms/en/product/power/igbt/trenchstop-igbt7/igbt7-discretes" TargetMode="External"/><Relationship Id="rId4" Type="http://schemas.openxmlformats.org/officeDocument/2006/relationships/notesSlide" Target="../notesSlides/notesSlide3.xml"/><Relationship Id="rId9" Type="http://schemas.openxmlformats.org/officeDocument/2006/relationships/image" Target="../media/image20.svg"/></Relationships>
</file>

<file path=ppt/slides/_rels/slide30.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4.emf"/><Relationship Id="rId7"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96.png"/><Relationship Id="rId5" Type="http://schemas.microsoft.com/office/2007/relationships/hdphoto" Target="../media/hdphoto2.wdp"/><Relationship Id="rId4" Type="http://schemas.openxmlformats.org/officeDocument/2006/relationships/image" Target="../media/image95.png"/><Relationship Id="rId9" Type="http://schemas.openxmlformats.org/officeDocument/2006/relationships/image" Target="../media/image99.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441.xml"/><Relationship Id="rId5" Type="http://schemas.openxmlformats.org/officeDocument/2006/relationships/image" Target="../media/image16.png"/><Relationship Id="rId4" Type="http://schemas.openxmlformats.org/officeDocument/2006/relationships/image" Target="../media/image100.jpg"/></Relationships>
</file>

<file path=ppt/slides/_rels/slide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tags" Target="../tags/tag444.xml"/><Relationship Id="rId7" Type="http://schemas.openxmlformats.org/officeDocument/2006/relationships/chart" Target="../charts/chart2.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notesSlide" Target="../notesSlides/notesSlide31.xml"/><Relationship Id="rId5" Type="http://schemas.openxmlformats.org/officeDocument/2006/relationships/slideLayout" Target="../slideLayouts/slideLayout5.xml"/><Relationship Id="rId4" Type="http://schemas.openxmlformats.org/officeDocument/2006/relationships/tags" Target="../tags/tag445.xml"/><Relationship Id="rId9" Type="http://schemas.openxmlformats.org/officeDocument/2006/relationships/image" Target="../media/image102.png"/></Relationships>
</file>

<file path=ppt/slides/_rels/slide35.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105.png"/><Relationship Id="rId18" Type="http://schemas.openxmlformats.org/officeDocument/2006/relationships/image" Target="../media/image109.png"/><Relationship Id="rId3" Type="http://schemas.openxmlformats.org/officeDocument/2006/relationships/tags" Target="../tags/tag448.xml"/><Relationship Id="rId7" Type="http://schemas.openxmlformats.org/officeDocument/2006/relationships/notesSlide" Target="../notesSlides/notesSlide32.xml"/><Relationship Id="rId12" Type="http://schemas.openxmlformats.org/officeDocument/2006/relationships/image" Target="../media/image104.png"/><Relationship Id="rId17" Type="http://schemas.openxmlformats.org/officeDocument/2006/relationships/image" Target="../media/image108.png"/><Relationship Id="rId2" Type="http://schemas.openxmlformats.org/officeDocument/2006/relationships/tags" Target="../tags/tag447.xml"/><Relationship Id="rId16" Type="http://schemas.openxmlformats.org/officeDocument/2006/relationships/image" Target="../media/image107.png"/><Relationship Id="rId1" Type="http://schemas.openxmlformats.org/officeDocument/2006/relationships/tags" Target="../tags/tag446.xml"/><Relationship Id="rId6" Type="http://schemas.openxmlformats.org/officeDocument/2006/relationships/slideLayout" Target="../slideLayouts/slideLayout4.xml"/><Relationship Id="rId11" Type="http://schemas.openxmlformats.org/officeDocument/2006/relationships/image" Target="../media/image103.png"/><Relationship Id="rId5" Type="http://schemas.openxmlformats.org/officeDocument/2006/relationships/tags" Target="../tags/tag450.xml"/><Relationship Id="rId15" Type="http://schemas.openxmlformats.org/officeDocument/2006/relationships/image" Target="../media/image106.png"/><Relationship Id="rId10" Type="http://schemas.openxmlformats.org/officeDocument/2006/relationships/image" Target="../media/image103.png"/><Relationship Id="rId4" Type="http://schemas.openxmlformats.org/officeDocument/2006/relationships/tags" Target="../tags/tag449.xml"/><Relationship Id="rId9" Type="http://schemas.microsoft.com/office/2017/06/relationships/model3d" Target="../media/model3d1.glb"/><Relationship Id="rId14" Type="http://schemas.openxmlformats.org/officeDocument/2006/relationships/image" Target="../media/image105.png"/></Relationships>
</file>

<file path=ppt/slides/_rels/slide3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37.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notesSlide" Target="../notesSlides/notesSlide34.xml"/><Relationship Id="rId7" Type="http://schemas.openxmlformats.org/officeDocument/2006/relationships/image" Target="../media/image111.png"/><Relationship Id="rId2" Type="http://schemas.openxmlformats.org/officeDocument/2006/relationships/slideLayout" Target="../slideLayouts/slideLayout4.xml"/><Relationship Id="rId1" Type="http://schemas.openxmlformats.org/officeDocument/2006/relationships/tags" Target="../tags/tag451.xml"/><Relationship Id="rId6" Type="http://schemas.openxmlformats.org/officeDocument/2006/relationships/image" Target="../media/image90.png"/><Relationship Id="rId5" Type="http://schemas.openxmlformats.org/officeDocument/2006/relationships/image" Target="../media/image86.png"/><Relationship Id="rId4" Type="http://schemas.openxmlformats.org/officeDocument/2006/relationships/chart" Target="../charts/chart4.xml"/></Relationships>
</file>

<file path=ppt/slides/_rels/slide3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chart" Target="../charts/chart6.xml"/><Relationship Id="rId4" Type="http://schemas.openxmlformats.org/officeDocument/2006/relationships/image" Target="../media/image8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image" Target="../media/image23.png"/><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image" Target="../media/image26.jpeg"/><Relationship Id="rId7" Type="http://schemas.openxmlformats.org/officeDocument/2006/relationships/tags" Target="../tags/tag223.xml"/><Relationship Id="rId2" Type="http://schemas.openxmlformats.org/officeDocument/2006/relationships/tags" Target="../tags/tag218.xml"/><Relationship Id="rId16" Type="http://schemas.openxmlformats.org/officeDocument/2006/relationships/tags" Target="../tags/tag232.xml"/><Relationship Id="rId29" Type="http://schemas.openxmlformats.org/officeDocument/2006/relationships/tags" Target="../tags/tag245.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image" Target="../media/image21.png"/><Relationship Id="rId40" Type="http://schemas.openxmlformats.org/officeDocument/2006/relationships/image" Target="../media/image24.png"/><Relationship Id="rId45" Type="http://schemas.openxmlformats.org/officeDocument/2006/relationships/hyperlink" Target="http://www.infineon.com/discreteIGBT7" TargetMode="External"/><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notesSlide" Target="../notesSlides/notesSlide4.xml"/><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hyperlink" Target="https://www.infineon.com/dgdl/Infineon-5-Decisive-values-of-discrete-TRENCHSTOP-IGBT7-family-ProductPresentation-v01_01-EN.pptx?fileId=8ac78c8c8eeb092c018f100374fe40ec&amp;da=t" TargetMode="Externa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slideLayout" Target="../slideLayouts/slideLayout4.xml"/><Relationship Id="rId43" Type="http://schemas.openxmlformats.org/officeDocument/2006/relationships/image" Target="../media/image27.png"/><Relationship Id="rId8" Type="http://schemas.openxmlformats.org/officeDocument/2006/relationships/tags" Target="../tags/tag224.xml"/><Relationship Id="rId3" Type="http://schemas.openxmlformats.org/officeDocument/2006/relationships/tags" Target="../tags/tag219.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image" Target="../media/image22.png"/><Relationship Id="rId46" Type="http://schemas.openxmlformats.org/officeDocument/2006/relationships/image" Target="../media/image28.png"/><Relationship Id="rId20" Type="http://schemas.openxmlformats.org/officeDocument/2006/relationships/tags" Target="../tags/tag236.xml"/><Relationship Id="rId41" Type="http://schemas.openxmlformats.org/officeDocument/2006/relationships/image" Target="../media/image25.jpeg"/></Relationships>
</file>

<file path=ppt/slides/_rels/slide40.xml.rels><?xml version="1.0" encoding="UTF-8" standalone="yes"?>
<Relationships xmlns="http://schemas.openxmlformats.org/package/2006/relationships"><Relationship Id="rId8" Type="http://schemas.openxmlformats.org/officeDocument/2006/relationships/image" Target="../media/image114.emf"/><Relationship Id="rId13" Type="http://schemas.openxmlformats.org/officeDocument/2006/relationships/image" Target="../media/image118.png"/><Relationship Id="rId18" Type="http://schemas.openxmlformats.org/officeDocument/2006/relationships/image" Target="../media/image830.png"/><Relationship Id="rId3" Type="http://schemas.openxmlformats.org/officeDocument/2006/relationships/tags" Target="../tags/tag453.xml"/><Relationship Id="rId7" Type="http://schemas.openxmlformats.org/officeDocument/2006/relationships/chart" Target="../charts/chart7.xml"/><Relationship Id="rId12" Type="http://schemas.openxmlformats.org/officeDocument/2006/relationships/chart" Target="../charts/chart8.xml"/><Relationship Id="rId17" Type="http://schemas.openxmlformats.org/officeDocument/2006/relationships/image" Target="../media/image119.png"/><Relationship Id="rId2" Type="http://schemas.openxmlformats.org/officeDocument/2006/relationships/tags" Target="../tags/tag452.xml"/><Relationship Id="rId16" Type="http://schemas.openxmlformats.org/officeDocument/2006/relationships/image" Target="../media/image113.emf"/><Relationship Id="rId1" Type="http://schemas.openxmlformats.org/officeDocument/2006/relationships/vmlDrawing" Target="../drawings/vmlDrawing6.vml"/><Relationship Id="rId6" Type="http://schemas.openxmlformats.org/officeDocument/2006/relationships/image" Target="../media/image86.png"/><Relationship Id="rId11" Type="http://schemas.openxmlformats.org/officeDocument/2006/relationships/image" Target="../media/image117.png"/><Relationship Id="rId5" Type="http://schemas.openxmlformats.org/officeDocument/2006/relationships/notesSlide" Target="../notesSlides/notesSlide37.xml"/><Relationship Id="rId15" Type="http://schemas.openxmlformats.org/officeDocument/2006/relationships/oleObject" Target="../embeddings/oleObject5.bin"/><Relationship Id="rId10" Type="http://schemas.openxmlformats.org/officeDocument/2006/relationships/image" Target="../media/image116.png"/><Relationship Id="rId4" Type="http://schemas.openxmlformats.org/officeDocument/2006/relationships/slideLayout" Target="../slideLayouts/slideLayout4.xml"/><Relationship Id="rId9" Type="http://schemas.openxmlformats.org/officeDocument/2006/relationships/image" Target="../media/image115.emf"/><Relationship Id="rId14" Type="http://schemas.openxmlformats.org/officeDocument/2006/relationships/hyperlink" Target="https://www.infineon.com/dgdl/Infineon-TRENCHSTOP5_in_TO-247-4pin-ApplicationNotes-v01_00-EN.pdf?fileId=5546d4624933b875014974f4d97e09ea"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5.xml"/><Relationship Id="rId7" Type="http://schemas.openxmlformats.org/officeDocument/2006/relationships/image" Target="../media/image39.png"/><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image" Target="../media/image90.png"/><Relationship Id="rId5" Type="http://schemas.openxmlformats.org/officeDocument/2006/relationships/chart" Target="../charts/chart9.xml"/><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456.xml"/><Relationship Id="rId5" Type="http://schemas.openxmlformats.org/officeDocument/2006/relationships/image" Target="../media/image16.png"/><Relationship Id="rId4" Type="http://schemas.openxmlformats.org/officeDocument/2006/relationships/image" Target="../media/image120.jpg"/></Relationships>
</file>

<file path=ppt/slides/_rels/slide4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slideLayout" Target="../slideLayouts/slideLayout5.xml"/><Relationship Id="rId7" Type="http://schemas.openxmlformats.org/officeDocument/2006/relationships/image" Target="../media/image16.png"/><Relationship Id="rId2" Type="http://schemas.openxmlformats.org/officeDocument/2006/relationships/tags" Target="../tags/tag457.xml"/><Relationship Id="rId1" Type="http://schemas.openxmlformats.org/officeDocument/2006/relationships/vmlDrawing" Target="../drawings/vmlDrawing7.vml"/><Relationship Id="rId6" Type="http://schemas.openxmlformats.org/officeDocument/2006/relationships/image" Target="../media/image121.emf"/><Relationship Id="rId5" Type="http://schemas.openxmlformats.org/officeDocument/2006/relationships/oleObject" Target="../embeddings/oleObject7.bin"/><Relationship Id="rId4" Type="http://schemas.openxmlformats.org/officeDocument/2006/relationships/notesSlide" Target="../notesSlides/notesSlide40.xml"/></Relationships>
</file>

<file path=ppt/slides/_rels/slide44.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458.xml"/><Relationship Id="rId5" Type="http://schemas.openxmlformats.org/officeDocument/2006/relationships/image" Target="../media/image16.png"/><Relationship Id="rId4" Type="http://schemas.openxmlformats.org/officeDocument/2006/relationships/image" Target="../media/image123.jpg"/></Relationships>
</file>

<file path=ppt/slides/_rels/slide46.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42.xml"/><Relationship Id="rId7" Type="http://schemas.openxmlformats.org/officeDocument/2006/relationships/image" Target="../media/image126.png"/><Relationship Id="rId2" Type="http://schemas.openxmlformats.org/officeDocument/2006/relationships/slideLayout" Target="../slideLayouts/slideLayout4.xml"/><Relationship Id="rId1" Type="http://schemas.openxmlformats.org/officeDocument/2006/relationships/tags" Target="../tags/tag459.xml"/><Relationship Id="rId6" Type="http://schemas.openxmlformats.org/officeDocument/2006/relationships/image" Target="../media/image16.png"/><Relationship Id="rId5" Type="http://schemas.openxmlformats.org/officeDocument/2006/relationships/image" Target="../media/image125.png"/><Relationship Id="rId4" Type="http://schemas.openxmlformats.org/officeDocument/2006/relationships/image" Target="../media/image124.png"/><Relationship Id="rId9" Type="http://schemas.openxmlformats.org/officeDocument/2006/relationships/image" Target="../media/image128.jpeg"/></Relationships>
</file>

<file path=ppt/slides/_rels/slide47.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29.png"/><Relationship Id="rId18" Type="http://schemas.openxmlformats.org/officeDocument/2006/relationships/image" Target="../media/image50.png"/><Relationship Id="rId3" Type="http://schemas.openxmlformats.org/officeDocument/2006/relationships/tags" Target="../tags/tag462.xml"/><Relationship Id="rId7" Type="http://schemas.openxmlformats.org/officeDocument/2006/relationships/image" Target="../media/image129.png"/><Relationship Id="rId12" Type="http://schemas.openxmlformats.org/officeDocument/2006/relationships/image" Target="../media/image16.png"/><Relationship Id="rId17" Type="http://schemas.openxmlformats.org/officeDocument/2006/relationships/image" Target="../media/image49.png"/><Relationship Id="rId2" Type="http://schemas.openxmlformats.org/officeDocument/2006/relationships/tags" Target="../tags/tag461.xml"/><Relationship Id="rId16" Type="http://schemas.openxmlformats.org/officeDocument/2006/relationships/image" Target="../media/image132.svg"/><Relationship Id="rId1" Type="http://schemas.openxmlformats.org/officeDocument/2006/relationships/tags" Target="../tags/tag460.xml"/><Relationship Id="rId6" Type="http://schemas.openxmlformats.org/officeDocument/2006/relationships/image" Target="../media/image36.png"/><Relationship Id="rId11" Type="http://schemas.openxmlformats.org/officeDocument/2006/relationships/hyperlink" Target="https://www.infineon.com/cms/en/product/power/igbt/trenchstop-igbt7/igbt7-discretes" TargetMode="External"/><Relationship Id="rId5" Type="http://schemas.openxmlformats.org/officeDocument/2006/relationships/notesSlide" Target="../notesSlides/notesSlide43.xml"/><Relationship Id="rId15" Type="http://schemas.openxmlformats.org/officeDocument/2006/relationships/image" Target="../media/image131.png"/><Relationship Id="rId10" Type="http://schemas.openxmlformats.org/officeDocument/2006/relationships/image" Target="../media/image40.png"/><Relationship Id="rId4" Type="http://schemas.openxmlformats.org/officeDocument/2006/relationships/slideLayout" Target="../slideLayouts/slideLayout4.xml"/><Relationship Id="rId9" Type="http://schemas.openxmlformats.org/officeDocument/2006/relationships/image" Target="../media/image39.png"/><Relationship Id="rId14" Type="http://schemas.microsoft.com/office/2007/relationships/hdphoto" Target="../media/hdphoto1.wdp"/></Relationships>
</file>

<file path=ppt/slides/_rels/slide48.xml.rels><?xml version="1.0" encoding="UTF-8" standalone="yes"?>
<Relationships xmlns="http://schemas.openxmlformats.org/package/2006/relationships"><Relationship Id="rId8" Type="http://schemas.openxmlformats.org/officeDocument/2006/relationships/image" Target="../media/image137.jpeg"/><Relationship Id="rId13" Type="http://schemas.openxmlformats.org/officeDocument/2006/relationships/hyperlink" Target="https://www.infineon.com/cms/en/product/power/igbt/trenchstop-igbt7/igbt7-modules/" TargetMode="External"/><Relationship Id="rId18" Type="http://schemas.openxmlformats.org/officeDocument/2006/relationships/image" Target="../media/image40.png"/><Relationship Id="rId3" Type="http://schemas.openxmlformats.org/officeDocument/2006/relationships/slideLayout" Target="../slideLayouts/slideLayout5.xml"/><Relationship Id="rId21" Type="http://schemas.openxmlformats.org/officeDocument/2006/relationships/hyperlink" Target="https://www.infineon.com/cms/en/product/power/gate-driver-ics/eicedriver-enhanced/" TargetMode="External"/><Relationship Id="rId7" Type="http://schemas.openxmlformats.org/officeDocument/2006/relationships/image" Target="../media/image136.png"/><Relationship Id="rId12" Type="http://schemas.openxmlformats.org/officeDocument/2006/relationships/image" Target="../media/image16.png"/><Relationship Id="rId17" Type="http://schemas.openxmlformats.org/officeDocument/2006/relationships/image" Target="../media/image39.png"/><Relationship Id="rId2" Type="http://schemas.openxmlformats.org/officeDocument/2006/relationships/tags" Target="../tags/tag463.xml"/><Relationship Id="rId16" Type="http://schemas.openxmlformats.org/officeDocument/2006/relationships/image" Target="../media/image130.png"/><Relationship Id="rId20" Type="http://schemas.openxmlformats.org/officeDocument/2006/relationships/image" Target="../media/image140.png"/><Relationship Id="rId1" Type="http://schemas.openxmlformats.org/officeDocument/2006/relationships/vmlDrawing" Target="../drawings/vmlDrawing8.vml"/><Relationship Id="rId6" Type="http://schemas.openxmlformats.org/officeDocument/2006/relationships/image" Target="../media/image135.jpeg"/><Relationship Id="rId11" Type="http://schemas.openxmlformats.org/officeDocument/2006/relationships/image" Target="../media/image138.png"/><Relationship Id="rId5" Type="http://schemas.openxmlformats.org/officeDocument/2006/relationships/image" Target="../media/image134.png"/><Relationship Id="rId15" Type="http://schemas.openxmlformats.org/officeDocument/2006/relationships/image" Target="../media/image129.png"/><Relationship Id="rId23" Type="http://schemas.openxmlformats.org/officeDocument/2006/relationships/image" Target="../media/image50.png"/><Relationship Id="rId10" Type="http://schemas.openxmlformats.org/officeDocument/2006/relationships/image" Target="../media/image133.emf"/><Relationship Id="rId19" Type="http://schemas.openxmlformats.org/officeDocument/2006/relationships/image" Target="../media/image139.png"/><Relationship Id="rId4" Type="http://schemas.openxmlformats.org/officeDocument/2006/relationships/notesSlide" Target="../notesSlides/notesSlide44.xml"/><Relationship Id="rId9" Type="http://schemas.openxmlformats.org/officeDocument/2006/relationships/oleObject" Target="../embeddings/oleObject8.bin"/><Relationship Id="rId14" Type="http://schemas.openxmlformats.org/officeDocument/2006/relationships/image" Target="../media/image36.png"/><Relationship Id="rId22" Type="http://schemas.openxmlformats.org/officeDocument/2006/relationships/image" Target="../media/image49.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image" Target="../media/image29.png"/><Relationship Id="rId18" Type="http://schemas.openxmlformats.org/officeDocument/2006/relationships/image" Target="../media/image33.png"/><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notesSlide" Target="../notesSlides/notesSlide5.xml"/><Relationship Id="rId17" Type="http://schemas.openxmlformats.org/officeDocument/2006/relationships/image" Target="../media/image32.png"/><Relationship Id="rId2" Type="http://schemas.openxmlformats.org/officeDocument/2006/relationships/tags" Target="../tags/tag252.xml"/><Relationship Id="rId16" Type="http://schemas.openxmlformats.org/officeDocument/2006/relationships/image" Target="../media/image31.emf"/><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slideLayout" Target="../slideLayouts/slideLayout4.xml"/><Relationship Id="rId5" Type="http://schemas.openxmlformats.org/officeDocument/2006/relationships/tags" Target="../tags/tag255.xml"/><Relationship Id="rId15" Type="http://schemas.openxmlformats.org/officeDocument/2006/relationships/image" Target="../media/image30.emf"/><Relationship Id="rId10" Type="http://schemas.openxmlformats.org/officeDocument/2006/relationships/tags" Target="../tags/tag260.xml"/><Relationship Id="rId19" Type="http://schemas.openxmlformats.org/officeDocument/2006/relationships/image" Target="../media/image16.png"/><Relationship Id="rId4" Type="http://schemas.openxmlformats.org/officeDocument/2006/relationships/tags" Target="../tags/tag254.xml"/><Relationship Id="rId9" Type="http://schemas.openxmlformats.org/officeDocument/2006/relationships/tags" Target="../tags/tag259.xml"/><Relationship Id="rId1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tags" Target="../tags/tag278.xml"/><Relationship Id="rId26" Type="http://schemas.openxmlformats.org/officeDocument/2006/relationships/image" Target="../media/image35.png"/><Relationship Id="rId3" Type="http://schemas.openxmlformats.org/officeDocument/2006/relationships/tags" Target="../tags/tag263.xml"/><Relationship Id="rId21" Type="http://schemas.openxmlformats.org/officeDocument/2006/relationships/tags" Target="../tags/tag281.xml"/><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image" Target="../media/image34.png"/><Relationship Id="rId2" Type="http://schemas.openxmlformats.org/officeDocument/2006/relationships/tags" Target="../tags/tag262.xml"/><Relationship Id="rId16" Type="http://schemas.openxmlformats.org/officeDocument/2006/relationships/tags" Target="../tags/tag276.xml"/><Relationship Id="rId20" Type="http://schemas.openxmlformats.org/officeDocument/2006/relationships/tags" Target="../tags/tag280.xml"/><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tags" Target="../tags/tag271.xml"/><Relationship Id="rId24" Type="http://schemas.openxmlformats.org/officeDocument/2006/relationships/notesSlide" Target="../notesSlides/notesSlide6.xml"/><Relationship Id="rId5" Type="http://schemas.openxmlformats.org/officeDocument/2006/relationships/tags" Target="../tags/tag265.xml"/><Relationship Id="rId15" Type="http://schemas.openxmlformats.org/officeDocument/2006/relationships/tags" Target="../tags/tag275.xml"/><Relationship Id="rId23" Type="http://schemas.openxmlformats.org/officeDocument/2006/relationships/slideLayout" Target="../slideLayouts/slideLayout5.xml"/><Relationship Id="rId10" Type="http://schemas.openxmlformats.org/officeDocument/2006/relationships/tags" Target="../tags/tag270.xml"/><Relationship Id="rId19" Type="http://schemas.openxmlformats.org/officeDocument/2006/relationships/tags" Target="../tags/tag279.xm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18" Type="http://schemas.openxmlformats.org/officeDocument/2006/relationships/tags" Target="../tags/tag300.xml"/><Relationship Id="rId26" Type="http://schemas.openxmlformats.org/officeDocument/2006/relationships/image" Target="../media/image41.png"/><Relationship Id="rId3" Type="http://schemas.openxmlformats.org/officeDocument/2006/relationships/tags" Target="../tags/tag285.xml"/><Relationship Id="rId21" Type="http://schemas.openxmlformats.org/officeDocument/2006/relationships/image" Target="../media/image36.png"/><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tags" Target="../tags/tag299.xml"/><Relationship Id="rId25" Type="http://schemas.openxmlformats.org/officeDocument/2006/relationships/image" Target="../media/image40.png"/><Relationship Id="rId2" Type="http://schemas.openxmlformats.org/officeDocument/2006/relationships/tags" Target="../tags/tag284.xml"/><Relationship Id="rId16" Type="http://schemas.openxmlformats.org/officeDocument/2006/relationships/tags" Target="../tags/tag298.xml"/><Relationship Id="rId20" Type="http://schemas.openxmlformats.org/officeDocument/2006/relationships/notesSlide" Target="../notesSlides/notesSlide7.xml"/><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tags" Target="../tags/tag293.xml"/><Relationship Id="rId24" Type="http://schemas.openxmlformats.org/officeDocument/2006/relationships/image" Target="../media/image39.png"/><Relationship Id="rId5" Type="http://schemas.openxmlformats.org/officeDocument/2006/relationships/tags" Target="../tags/tag287.xml"/><Relationship Id="rId15" Type="http://schemas.openxmlformats.org/officeDocument/2006/relationships/tags" Target="../tags/tag297.xml"/><Relationship Id="rId23" Type="http://schemas.openxmlformats.org/officeDocument/2006/relationships/image" Target="../media/image38.png"/><Relationship Id="rId28" Type="http://schemas.openxmlformats.org/officeDocument/2006/relationships/image" Target="../media/image43.png"/><Relationship Id="rId10" Type="http://schemas.openxmlformats.org/officeDocument/2006/relationships/tags" Target="../tags/tag292.xml"/><Relationship Id="rId19" Type="http://schemas.openxmlformats.org/officeDocument/2006/relationships/slideLayout" Target="../slideLayouts/slideLayout5.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 Id="rId22" Type="http://schemas.openxmlformats.org/officeDocument/2006/relationships/image" Target="../media/image37.png"/><Relationship Id="rId27"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44.png"/><Relationship Id="rId7" Type="http://schemas.openxmlformats.org/officeDocument/2006/relationships/image" Target="../media/image40.png"/><Relationship Id="rId2" Type="http://schemas.openxmlformats.org/officeDocument/2006/relationships/slideLayout" Target="../slideLayouts/slideLayout5.xml"/><Relationship Id="rId1" Type="http://schemas.openxmlformats.org/officeDocument/2006/relationships/tags" Target="../tags/tag30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13" Type="http://schemas.openxmlformats.org/officeDocument/2006/relationships/tags" Target="../tags/tag314.xml"/><Relationship Id="rId18" Type="http://schemas.openxmlformats.org/officeDocument/2006/relationships/tags" Target="../tags/tag319.xml"/><Relationship Id="rId26" Type="http://schemas.openxmlformats.org/officeDocument/2006/relationships/tags" Target="../tags/tag327.xml"/><Relationship Id="rId21" Type="http://schemas.openxmlformats.org/officeDocument/2006/relationships/tags" Target="../tags/tag322.xml"/><Relationship Id="rId34" Type="http://schemas.openxmlformats.org/officeDocument/2006/relationships/image" Target="../media/image21.png"/><Relationship Id="rId7" Type="http://schemas.openxmlformats.org/officeDocument/2006/relationships/tags" Target="../tags/tag308.xml"/><Relationship Id="rId12" Type="http://schemas.openxmlformats.org/officeDocument/2006/relationships/tags" Target="../tags/tag313.xml"/><Relationship Id="rId17" Type="http://schemas.openxmlformats.org/officeDocument/2006/relationships/tags" Target="../tags/tag318.xml"/><Relationship Id="rId25" Type="http://schemas.openxmlformats.org/officeDocument/2006/relationships/tags" Target="../tags/tag326.xml"/><Relationship Id="rId33" Type="http://schemas.openxmlformats.org/officeDocument/2006/relationships/notesSlide" Target="../notesSlides/notesSlide8.xml"/><Relationship Id="rId38" Type="http://schemas.openxmlformats.org/officeDocument/2006/relationships/image" Target="../media/image27.png"/><Relationship Id="rId2" Type="http://schemas.openxmlformats.org/officeDocument/2006/relationships/tags" Target="../tags/tag303.xml"/><Relationship Id="rId16" Type="http://schemas.openxmlformats.org/officeDocument/2006/relationships/tags" Target="../tags/tag317.xml"/><Relationship Id="rId20" Type="http://schemas.openxmlformats.org/officeDocument/2006/relationships/tags" Target="../tags/tag321.xml"/><Relationship Id="rId29" Type="http://schemas.openxmlformats.org/officeDocument/2006/relationships/tags" Target="../tags/tag330.xml"/><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tags" Target="../tags/tag312.xml"/><Relationship Id="rId24" Type="http://schemas.openxmlformats.org/officeDocument/2006/relationships/tags" Target="../tags/tag325.xml"/><Relationship Id="rId32" Type="http://schemas.openxmlformats.org/officeDocument/2006/relationships/slideLayout" Target="../slideLayouts/slideLayout4.xml"/><Relationship Id="rId37" Type="http://schemas.openxmlformats.org/officeDocument/2006/relationships/image" Target="../media/image24.png"/><Relationship Id="rId5" Type="http://schemas.openxmlformats.org/officeDocument/2006/relationships/tags" Target="../tags/tag306.xml"/><Relationship Id="rId15" Type="http://schemas.openxmlformats.org/officeDocument/2006/relationships/tags" Target="../tags/tag316.xml"/><Relationship Id="rId23" Type="http://schemas.openxmlformats.org/officeDocument/2006/relationships/tags" Target="../tags/tag324.xml"/><Relationship Id="rId28" Type="http://schemas.openxmlformats.org/officeDocument/2006/relationships/tags" Target="../tags/tag329.xml"/><Relationship Id="rId36" Type="http://schemas.openxmlformats.org/officeDocument/2006/relationships/image" Target="../media/image23.png"/><Relationship Id="rId10" Type="http://schemas.openxmlformats.org/officeDocument/2006/relationships/tags" Target="../tags/tag311.xml"/><Relationship Id="rId19" Type="http://schemas.openxmlformats.org/officeDocument/2006/relationships/tags" Target="../tags/tag320.xml"/><Relationship Id="rId31" Type="http://schemas.openxmlformats.org/officeDocument/2006/relationships/tags" Target="../tags/tag332.xml"/><Relationship Id="rId4" Type="http://schemas.openxmlformats.org/officeDocument/2006/relationships/tags" Target="../tags/tag305.xml"/><Relationship Id="rId9" Type="http://schemas.openxmlformats.org/officeDocument/2006/relationships/tags" Target="../tags/tag310.xml"/><Relationship Id="rId14" Type="http://schemas.openxmlformats.org/officeDocument/2006/relationships/tags" Target="../tags/tag315.xml"/><Relationship Id="rId22" Type="http://schemas.openxmlformats.org/officeDocument/2006/relationships/tags" Target="../tags/tag323.xml"/><Relationship Id="rId27" Type="http://schemas.openxmlformats.org/officeDocument/2006/relationships/tags" Target="../tags/tag328.xml"/><Relationship Id="rId30" Type="http://schemas.openxmlformats.org/officeDocument/2006/relationships/tags" Target="../tags/tag331.xml"/><Relationship Id="rId35" Type="http://schemas.openxmlformats.org/officeDocument/2006/relationships/image" Target="../media/image22.png"/><Relationship Id="rId8" Type="http://schemas.openxmlformats.org/officeDocument/2006/relationships/tags" Target="../tags/tag309.xml"/><Relationship Id="rId3" Type="http://schemas.openxmlformats.org/officeDocument/2006/relationships/tags" Target="../tags/tag3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Windmills and solar panels">
            <a:extLst>
              <a:ext uri="{FF2B5EF4-FFF2-40B4-BE49-F238E27FC236}">
                <a16:creationId xmlns:a16="http://schemas.microsoft.com/office/drawing/2014/main" id="{2EE4DE7B-A4B6-783E-7EEE-31B5950519D7}"/>
              </a:ext>
            </a:extLst>
          </p:cNvPr>
          <p:cNvPicPr>
            <a:picLocks noGrp="1" noChangeAspect="1"/>
          </p:cNvPicPr>
          <p:nvPr>
            <p:ph type="pic" sz="quarter" idx="15"/>
            <p:custDataLst>
              <p:tags r:id="rId1"/>
            </p:custDataLst>
          </p:nvPr>
        </p:nvPicPr>
        <p:blipFill>
          <a:blip r:embed="rId4">
            <a:extLst>
              <a:ext uri="{28A0092B-C50C-407E-A947-70E740481C1C}">
                <a14:useLocalDpi xmlns:a14="http://schemas.microsoft.com/office/drawing/2010/main" val="0"/>
              </a:ext>
            </a:extLst>
          </a:blip>
          <a:srcRect t="22708" b="22708"/>
          <a:stretch>
            <a:fillRect/>
          </a:stretch>
        </p:blipFill>
        <p:spPr>
          <a:xfrm>
            <a:off x="0" y="0"/>
            <a:ext cx="12194189" cy="3743997"/>
          </a:xfrm>
        </p:spPr>
      </p:pic>
      <p:sp>
        <p:nvSpPr>
          <p:cNvPr id="3" name="Subtitle 2">
            <a:extLst>
              <a:ext uri="{FF2B5EF4-FFF2-40B4-BE49-F238E27FC236}">
                <a16:creationId xmlns:a16="http://schemas.microsoft.com/office/drawing/2014/main" id="{68421033-9DFF-4C4A-0606-3CE15BA4D326}"/>
              </a:ext>
            </a:extLst>
          </p:cNvPr>
          <p:cNvSpPr>
            <a:spLocks noGrp="1"/>
          </p:cNvSpPr>
          <p:nvPr>
            <p:ph type="subTitle" idx="1"/>
          </p:nvPr>
        </p:nvSpPr>
        <p:spPr/>
        <p:txBody>
          <a:bodyPr/>
          <a:lstStyle/>
          <a:p>
            <a:r>
              <a:rPr lang="en-US" dirty="0"/>
              <a:t>Infineon Technologies</a:t>
            </a:r>
          </a:p>
          <a:p>
            <a:r>
              <a:rPr lang="en-US" dirty="0"/>
              <a:t>September 2025</a:t>
            </a:r>
          </a:p>
        </p:txBody>
      </p:sp>
      <p:sp>
        <p:nvSpPr>
          <p:cNvPr id="4" name="Title 3">
            <a:extLst>
              <a:ext uri="{FF2B5EF4-FFF2-40B4-BE49-F238E27FC236}">
                <a16:creationId xmlns:a16="http://schemas.microsoft.com/office/drawing/2014/main" id="{DF37E436-A815-7DE9-4024-87F76E96815A}"/>
              </a:ext>
            </a:extLst>
          </p:cNvPr>
          <p:cNvSpPr>
            <a:spLocks noGrp="1"/>
          </p:cNvSpPr>
          <p:nvPr>
            <p:ph type="ctrTitle"/>
          </p:nvPr>
        </p:nvSpPr>
        <p:spPr>
          <a:xfrm>
            <a:off x="624000" y="4163051"/>
            <a:ext cx="8568344" cy="1118901"/>
          </a:xfrm>
        </p:spPr>
        <p:txBody>
          <a:bodyPr>
            <a:normAutofit/>
          </a:bodyPr>
          <a:lstStyle/>
          <a:p>
            <a:r>
              <a:rPr lang="en-US" dirty="0"/>
              <a:t>Discrete TRENCHSTOP™ IGBT7 family</a:t>
            </a:r>
          </a:p>
        </p:txBody>
      </p:sp>
      <p:sp>
        <p:nvSpPr>
          <p:cNvPr id="2" name="Footer Placeholder 1">
            <a:extLst>
              <a:ext uri="{FF2B5EF4-FFF2-40B4-BE49-F238E27FC236}">
                <a16:creationId xmlns:a16="http://schemas.microsoft.com/office/drawing/2014/main" id="{F3EC6A0F-CE51-40C4-845C-6F6D2812A99D}"/>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95672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C65E808-67C4-4D99-8DA9-9095400BDED6}"/>
              </a:ext>
            </a:extLst>
          </p:cNvPr>
          <p:cNvSpPr/>
          <p:nvPr>
            <p:custDataLst>
              <p:tags r:id="rId1"/>
            </p:custDataLst>
          </p:nvPr>
        </p:nvSpPr>
        <p:spPr bwMode="auto">
          <a:xfrm>
            <a:off x="299289" y="1585366"/>
            <a:ext cx="11593686" cy="4277208"/>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AT" sz="1600" baseline="0" dirty="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E7CC891E-8C4C-9F62-0EE9-590044BCDE07}"/>
              </a:ext>
            </a:extLst>
          </p:cNvPr>
          <p:cNvSpPr/>
          <p:nvPr>
            <p:custDataLst>
              <p:tags r:id="rId2"/>
            </p:custDataLst>
          </p:nvPr>
        </p:nvSpPr>
        <p:spPr bwMode="auto">
          <a:xfrm>
            <a:off x="334663" y="1662064"/>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3" name="Rectangle 12">
            <a:extLst>
              <a:ext uri="{FF2B5EF4-FFF2-40B4-BE49-F238E27FC236}">
                <a16:creationId xmlns:a16="http://schemas.microsoft.com/office/drawing/2014/main" id="{29A2C629-58AB-D7EC-BA13-BC84C37170AB}"/>
              </a:ext>
            </a:extLst>
          </p:cNvPr>
          <p:cNvSpPr/>
          <p:nvPr>
            <p:custDataLst>
              <p:tags r:id="rId3"/>
            </p:custDataLst>
          </p:nvPr>
        </p:nvSpPr>
        <p:spPr bwMode="auto">
          <a:xfrm>
            <a:off x="6095171" y="1662064"/>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4" name="Rectangle 13">
            <a:extLst>
              <a:ext uri="{FF2B5EF4-FFF2-40B4-BE49-F238E27FC236}">
                <a16:creationId xmlns:a16="http://schemas.microsoft.com/office/drawing/2014/main" id="{6059F75F-F540-D73C-DA62-E99FDE2F3843}"/>
              </a:ext>
            </a:extLst>
          </p:cNvPr>
          <p:cNvSpPr/>
          <p:nvPr>
            <p:custDataLst>
              <p:tags r:id="rId4"/>
            </p:custDataLst>
          </p:nvPr>
        </p:nvSpPr>
        <p:spPr bwMode="auto">
          <a:xfrm>
            <a:off x="334663" y="3748709"/>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5" name="Rectangle 14">
            <a:extLst>
              <a:ext uri="{FF2B5EF4-FFF2-40B4-BE49-F238E27FC236}">
                <a16:creationId xmlns:a16="http://schemas.microsoft.com/office/drawing/2014/main" id="{EB30CF48-815A-B7FE-6526-49E42E40DA20}"/>
              </a:ext>
            </a:extLst>
          </p:cNvPr>
          <p:cNvSpPr/>
          <p:nvPr>
            <p:custDataLst>
              <p:tags r:id="rId5"/>
            </p:custDataLst>
          </p:nvPr>
        </p:nvSpPr>
        <p:spPr bwMode="auto">
          <a:xfrm>
            <a:off x="6095171" y="3748709"/>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3" name="Title 2">
            <a:extLst>
              <a:ext uri="{FF2B5EF4-FFF2-40B4-BE49-F238E27FC236}">
                <a16:creationId xmlns:a16="http://schemas.microsoft.com/office/drawing/2014/main" id="{576A24DB-8B74-F472-9C2A-5839DF3DE7E3}"/>
              </a:ext>
            </a:extLst>
          </p:cNvPr>
          <p:cNvSpPr>
            <a:spLocks noGrp="1"/>
          </p:cNvSpPr>
          <p:nvPr>
            <p:ph type="title"/>
          </p:nvPr>
        </p:nvSpPr>
        <p:spPr/>
        <p:txBody>
          <a:bodyPr/>
          <a:lstStyle/>
          <a:p>
            <a:r>
              <a:rPr lang="en-US" dirty="0"/>
              <a:t>TRENCHSTOP™ IGBT7 – 650 V and 1200 V T7/S7</a:t>
            </a:r>
          </a:p>
        </p:txBody>
      </p:sp>
      <p:sp>
        <p:nvSpPr>
          <p:cNvPr id="8" name="Flowchart: Connector 7">
            <a:extLst>
              <a:ext uri="{FF2B5EF4-FFF2-40B4-BE49-F238E27FC236}">
                <a16:creationId xmlns:a16="http://schemas.microsoft.com/office/drawing/2014/main" id="{2086D6AD-C2E6-8B59-9F97-773B01AA3299}"/>
              </a:ext>
            </a:extLst>
          </p:cNvPr>
          <p:cNvSpPr/>
          <p:nvPr>
            <p:custDataLst>
              <p:tags r:id="rId6"/>
            </p:custDataLst>
          </p:nvPr>
        </p:nvSpPr>
        <p:spPr bwMode="auto">
          <a:xfrm>
            <a:off x="5051055" y="2706180"/>
            <a:ext cx="2088232" cy="2088232"/>
          </a:xfrm>
          <a:prstGeom prst="flowChartConnector">
            <a:avLst/>
          </a:prstGeom>
          <a:solidFill>
            <a:schemeClr val="bg1"/>
          </a:solidFill>
          <a:ln w="762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6" name="TextBox">
            <a:extLst>
              <a:ext uri="{FF2B5EF4-FFF2-40B4-BE49-F238E27FC236}">
                <a16:creationId xmlns:a16="http://schemas.microsoft.com/office/drawing/2014/main" id="{6BF8417D-8184-BE0A-4F51-27B83EEA2C39}"/>
              </a:ext>
            </a:extLst>
          </p:cNvPr>
          <p:cNvSpPr txBox="1"/>
          <p:nvPr>
            <p:custDataLst>
              <p:tags r:id="rId7"/>
            </p:custDataLst>
          </p:nvPr>
        </p:nvSpPr>
        <p:spPr bwMode="auto">
          <a:xfrm>
            <a:off x="7243695" y="4036353"/>
            <a:ext cx="4408002" cy="1408871"/>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defTabSz="575986">
              <a:buClr>
                <a:srgbClr val="0A8276"/>
              </a:buClr>
              <a:buNone/>
              <a:defRPr/>
            </a:pPr>
            <a:r>
              <a:rPr lang="en-US" b="1" dirty="0"/>
              <a:t>2 voltage classes </a:t>
            </a:r>
          </a:p>
          <a:p>
            <a:pPr marL="0" indent="0" defTabSz="575986">
              <a:buClr>
                <a:srgbClr val="0A8276"/>
              </a:buClr>
              <a:buNone/>
              <a:defRPr/>
            </a:pPr>
            <a:r>
              <a:rPr lang="en-US" dirty="0"/>
              <a:t>650 V</a:t>
            </a:r>
          </a:p>
          <a:p>
            <a:pPr marL="0" indent="0" defTabSz="575986">
              <a:buClr>
                <a:srgbClr val="0A8276"/>
              </a:buClr>
              <a:buNone/>
              <a:defRPr/>
            </a:pPr>
            <a:r>
              <a:rPr lang="en-US" dirty="0"/>
              <a:t>1200 V</a:t>
            </a:r>
            <a:r>
              <a:rPr lang="en-US" sz="2000" dirty="0"/>
              <a:t>			</a:t>
            </a:r>
          </a:p>
        </p:txBody>
      </p:sp>
      <p:sp>
        <p:nvSpPr>
          <p:cNvPr id="19" name="TextBox">
            <a:extLst>
              <a:ext uri="{FF2B5EF4-FFF2-40B4-BE49-F238E27FC236}">
                <a16:creationId xmlns:a16="http://schemas.microsoft.com/office/drawing/2014/main" id="{95E805E0-9479-EB61-5953-85C9A83FCC33}"/>
              </a:ext>
            </a:extLst>
          </p:cNvPr>
          <p:cNvSpPr txBox="1"/>
          <p:nvPr>
            <p:custDataLst>
              <p:tags r:id="rId8"/>
            </p:custDataLst>
          </p:nvPr>
        </p:nvSpPr>
        <p:spPr bwMode="auto">
          <a:xfrm>
            <a:off x="7248358" y="1772816"/>
            <a:ext cx="4363122" cy="1408871"/>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defTabSz="575986">
              <a:buClr>
                <a:srgbClr val="0A8276"/>
              </a:buClr>
              <a:buNone/>
              <a:defRPr/>
            </a:pPr>
            <a:r>
              <a:rPr lang="en-US" b="1" dirty="0"/>
              <a:t>5 packages</a:t>
            </a:r>
            <a:r>
              <a:rPr lang="en-US" dirty="0"/>
              <a:t>		</a:t>
            </a:r>
          </a:p>
        </p:txBody>
      </p:sp>
      <p:sp>
        <p:nvSpPr>
          <p:cNvPr id="30" name="TextBox">
            <a:extLst>
              <a:ext uri="{FF2B5EF4-FFF2-40B4-BE49-F238E27FC236}">
                <a16:creationId xmlns:a16="http://schemas.microsoft.com/office/drawing/2014/main" id="{C6D5F9EF-A5AD-96CC-3B80-415AF8B6EC16}"/>
              </a:ext>
            </a:extLst>
          </p:cNvPr>
          <p:cNvSpPr txBox="1"/>
          <p:nvPr>
            <p:custDataLst>
              <p:tags r:id="rId9"/>
            </p:custDataLst>
          </p:nvPr>
        </p:nvSpPr>
        <p:spPr bwMode="auto">
          <a:xfrm>
            <a:off x="5308919" y="4083449"/>
            <a:ext cx="1568225" cy="455481"/>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defTabSz="575986">
              <a:buClr>
                <a:srgbClr val="0A8276"/>
              </a:buClr>
              <a:buNone/>
              <a:defRPr/>
            </a:pPr>
            <a:r>
              <a:rPr lang="en-US" b="1" dirty="0"/>
              <a:t>23 products</a:t>
            </a:r>
            <a:r>
              <a:rPr lang="en-US" dirty="0"/>
              <a:t>			</a:t>
            </a:r>
          </a:p>
        </p:txBody>
      </p:sp>
      <p:sp>
        <p:nvSpPr>
          <p:cNvPr id="38" name="TextBox">
            <a:extLst>
              <a:ext uri="{FF2B5EF4-FFF2-40B4-BE49-F238E27FC236}">
                <a16:creationId xmlns:a16="http://schemas.microsoft.com/office/drawing/2014/main" id="{2B160A3A-E4B8-D0C8-5D01-6E751B402350}"/>
              </a:ext>
            </a:extLst>
          </p:cNvPr>
          <p:cNvSpPr txBox="1"/>
          <p:nvPr>
            <p:custDataLst>
              <p:tags r:id="rId10"/>
            </p:custDataLst>
          </p:nvPr>
        </p:nvSpPr>
        <p:spPr bwMode="auto">
          <a:xfrm>
            <a:off x="4897600" y="3068960"/>
            <a:ext cx="2388175" cy="933905"/>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defTabSz="575986">
              <a:buClr>
                <a:srgbClr val="0A8276"/>
              </a:buClr>
              <a:buNone/>
              <a:defRPr/>
            </a:pPr>
            <a:r>
              <a:rPr lang="en-US" sz="5400" b="1">
                <a:solidFill>
                  <a:srgbClr val="0A8276"/>
                </a:solidFill>
              </a:rPr>
              <a:t>T7/S7</a:t>
            </a:r>
            <a:endParaRPr lang="en-US" sz="2800" dirty="0"/>
          </a:p>
        </p:txBody>
      </p:sp>
      <p:sp>
        <p:nvSpPr>
          <p:cNvPr id="39" name="TextBox 38">
            <a:extLst>
              <a:ext uri="{FF2B5EF4-FFF2-40B4-BE49-F238E27FC236}">
                <a16:creationId xmlns:a16="http://schemas.microsoft.com/office/drawing/2014/main" id="{0DCF2B7E-4532-5797-8921-005B280E312A}"/>
              </a:ext>
            </a:extLst>
          </p:cNvPr>
          <p:cNvSpPr txBox="1"/>
          <p:nvPr>
            <p:custDataLst>
              <p:tags r:id="rId11"/>
            </p:custDataLst>
          </p:nvPr>
        </p:nvSpPr>
        <p:spPr bwMode="auto">
          <a:xfrm>
            <a:off x="538646" y="2119972"/>
            <a:ext cx="4621250" cy="966675"/>
          </a:xfrm>
          <a:prstGeom prst="rect">
            <a:avLst/>
          </a:prstGeom>
          <a:noFill/>
          <a:ln w="9525">
            <a:noFill/>
            <a:miter lim="800000"/>
            <a:headEnd/>
            <a:tailEnd/>
          </a:ln>
          <a:effectLst/>
        </p:spPr>
        <p:txBody>
          <a:bodyPr wrap="squar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en-US" sz="1800" kern="0" dirty="0">
                <a:latin typeface="+mn-lt"/>
              </a:rPr>
              <a:t>T7 and S7 technology is the ultimate choice for robust performance and precise control</a:t>
            </a:r>
            <a:r>
              <a:rPr lang="sl-SI" sz="1800" kern="0" dirty="0">
                <a:latin typeface="+mn-lt"/>
              </a:rPr>
              <a:t> with a </a:t>
            </a:r>
            <a:r>
              <a:rPr lang="sl-SI" sz="1800" b="1" kern="0" dirty="0">
                <a:latin typeface="+mn-lt"/>
              </a:rPr>
              <a:t>Short Circuit Withstand</a:t>
            </a:r>
            <a:r>
              <a:rPr lang="de-AT" sz="1800" b="1" kern="0" dirty="0">
                <a:latin typeface="+mn-lt"/>
              </a:rPr>
              <a:t> Time</a:t>
            </a:r>
            <a:r>
              <a:rPr lang="sl-SI" sz="1800" b="1" kern="0" dirty="0">
                <a:latin typeface="+mn-lt"/>
              </a:rPr>
              <a:t> </a:t>
            </a:r>
            <a:r>
              <a:rPr lang="de-AT" sz="1800" kern="0" dirty="0">
                <a:latin typeface="+mn-lt"/>
              </a:rPr>
              <a:t>(</a:t>
            </a:r>
            <a:r>
              <a:rPr lang="sl-SI" sz="1800" kern="0" dirty="0">
                <a:latin typeface="+mn-lt"/>
              </a:rPr>
              <a:t>3-8</a:t>
            </a:r>
            <a:r>
              <a:rPr lang="de-AT" sz="1800" kern="0" dirty="0">
                <a:latin typeface="+mn-lt"/>
              </a:rPr>
              <a:t>µs)</a:t>
            </a:r>
            <a:endParaRPr lang="en-US" sz="1800" kern="0" dirty="0">
              <a:latin typeface="+mn-lt"/>
            </a:endParaRPr>
          </a:p>
        </p:txBody>
      </p:sp>
      <p:sp>
        <p:nvSpPr>
          <p:cNvPr id="40" name="TextBox 39">
            <a:extLst>
              <a:ext uri="{FF2B5EF4-FFF2-40B4-BE49-F238E27FC236}">
                <a16:creationId xmlns:a16="http://schemas.microsoft.com/office/drawing/2014/main" id="{2BE75378-C041-31B1-A9CB-11DE69B56CE3}"/>
              </a:ext>
            </a:extLst>
          </p:cNvPr>
          <p:cNvSpPr txBox="1"/>
          <p:nvPr>
            <p:custDataLst>
              <p:tags r:id="rId12"/>
            </p:custDataLst>
          </p:nvPr>
        </p:nvSpPr>
        <p:spPr bwMode="auto">
          <a:xfrm>
            <a:off x="710531" y="5081407"/>
            <a:ext cx="5008773" cy="634276"/>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1800" kern="0" dirty="0">
                <a:latin typeface="+mn-lt"/>
              </a:rPr>
              <a:t>3A </a:t>
            </a:r>
            <a:r>
              <a:rPr lang="en-US" sz="1800" kern="0" dirty="0"/>
              <a:t>|</a:t>
            </a:r>
            <a:r>
              <a:rPr lang="en-US" sz="1800" kern="0" dirty="0">
                <a:latin typeface="+mn-lt"/>
              </a:rPr>
              <a:t> 8</a:t>
            </a:r>
            <a:r>
              <a:rPr lang="en-US" sz="1800" kern="0" baseline="0" dirty="0">
                <a:latin typeface="+mn-lt"/>
                <a:ea typeface="+mn-ea"/>
                <a:cs typeface="+mn-cs"/>
              </a:rPr>
              <a:t> A | </a:t>
            </a:r>
            <a:r>
              <a:rPr lang="en-US" sz="1800" kern="0" dirty="0">
                <a:latin typeface="+mn-lt"/>
              </a:rPr>
              <a:t>15</a:t>
            </a:r>
            <a:r>
              <a:rPr lang="en-US" sz="1800" kern="0" baseline="0" dirty="0">
                <a:latin typeface="+mn-lt"/>
                <a:ea typeface="+mn-ea"/>
                <a:cs typeface="+mn-cs"/>
              </a:rPr>
              <a:t> A | </a:t>
            </a:r>
            <a:r>
              <a:rPr lang="en-US" sz="1800" kern="0" dirty="0">
                <a:latin typeface="+mn-lt"/>
              </a:rPr>
              <a:t>20</a:t>
            </a:r>
            <a:r>
              <a:rPr lang="en-US" sz="1800" kern="0" baseline="0" dirty="0">
                <a:latin typeface="+mn-lt"/>
                <a:ea typeface="+mn-ea"/>
                <a:cs typeface="+mn-cs"/>
              </a:rPr>
              <a:t> A | </a:t>
            </a:r>
            <a:r>
              <a:rPr lang="en-US" sz="1800" kern="0" dirty="0">
                <a:latin typeface="+mn-lt"/>
              </a:rPr>
              <a:t>25</a:t>
            </a:r>
            <a:r>
              <a:rPr lang="en-US" sz="1800" kern="0" baseline="0" dirty="0">
                <a:latin typeface="+mn-lt"/>
                <a:ea typeface="+mn-ea"/>
                <a:cs typeface="+mn-cs"/>
              </a:rPr>
              <a:t> A | 30 A | 40 A | 50 A | </a:t>
            </a:r>
            <a:r>
              <a:rPr lang="en-US" sz="1800" kern="0" baseline="0" dirty="0">
                <a:solidFill>
                  <a:schemeClr val="dk1"/>
                </a:solidFill>
                <a:latin typeface="+mn-lt"/>
                <a:ea typeface="+mn-ea"/>
                <a:cs typeface="+mn-cs"/>
              </a:rPr>
              <a:t>75 A</a:t>
            </a:r>
            <a:r>
              <a:rPr lang="en-US" sz="1800" kern="0" dirty="0"/>
              <a:t> |</a:t>
            </a:r>
            <a:r>
              <a:rPr lang="en-US" sz="1800" kern="0" baseline="0" dirty="0">
                <a:solidFill>
                  <a:schemeClr val="dk1"/>
                </a:solidFill>
                <a:latin typeface="+mn-lt"/>
                <a:ea typeface="+mn-ea"/>
                <a:cs typeface="+mn-cs"/>
              </a:rPr>
              <a:t> </a:t>
            </a:r>
            <a:r>
              <a:rPr lang="en-US" sz="1800" kern="0" baseline="0" dirty="0">
                <a:solidFill>
                  <a:schemeClr val="dk2"/>
                </a:solidFill>
                <a:latin typeface="+mn-lt"/>
                <a:ea typeface="+mn-ea"/>
                <a:cs typeface="+mn-cs"/>
              </a:rPr>
              <a:t>100 A | 120 A </a:t>
            </a:r>
          </a:p>
        </p:txBody>
      </p:sp>
      <p:pic>
        <p:nvPicPr>
          <p:cNvPr id="41" name="Picture 40">
            <a:extLst>
              <a:ext uri="{FF2B5EF4-FFF2-40B4-BE49-F238E27FC236}">
                <a16:creationId xmlns:a16="http://schemas.microsoft.com/office/drawing/2014/main" id="{EEFE59D2-AE91-202D-C898-93EDF59F698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423592" y="3978508"/>
            <a:ext cx="1047172" cy="1047172"/>
          </a:xfrm>
          <a:prstGeom prst="rect">
            <a:avLst/>
          </a:prstGeom>
        </p:spPr>
      </p:pic>
      <p:pic>
        <p:nvPicPr>
          <p:cNvPr id="45" name="Picture 44">
            <a:extLst>
              <a:ext uri="{FF2B5EF4-FFF2-40B4-BE49-F238E27FC236}">
                <a16:creationId xmlns:a16="http://schemas.microsoft.com/office/drawing/2014/main" id="{0ABCE579-77E7-1E82-DAAE-1AF4D71A3E2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636810" y="3978507"/>
            <a:ext cx="1047172" cy="1047172"/>
          </a:xfrm>
          <a:prstGeom prst="rect">
            <a:avLst/>
          </a:prstGeom>
        </p:spPr>
      </p:pic>
      <p:pic>
        <p:nvPicPr>
          <p:cNvPr id="2" name="Picture 1">
            <a:extLst>
              <a:ext uri="{FF2B5EF4-FFF2-40B4-BE49-F238E27FC236}">
                <a16:creationId xmlns:a16="http://schemas.microsoft.com/office/drawing/2014/main" id="{D13D3191-7F07-99EC-BA12-56B0400BA131}"/>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74222" y="2391072"/>
            <a:ext cx="776566" cy="982166"/>
          </a:xfrm>
          <a:prstGeom prst="rect">
            <a:avLst/>
          </a:prstGeom>
        </p:spPr>
      </p:pic>
      <p:pic>
        <p:nvPicPr>
          <p:cNvPr id="6" name="Picture 5">
            <a:extLst>
              <a:ext uri="{FF2B5EF4-FFF2-40B4-BE49-F238E27FC236}">
                <a16:creationId xmlns:a16="http://schemas.microsoft.com/office/drawing/2014/main" id="{569008EF-FAA3-BE10-EEA4-8A39E26413D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864755" y="2384888"/>
            <a:ext cx="746724" cy="982532"/>
          </a:xfrm>
          <a:prstGeom prst="rect">
            <a:avLst/>
          </a:prstGeom>
        </p:spPr>
      </p:pic>
      <p:pic>
        <p:nvPicPr>
          <p:cNvPr id="7" name="Picture 6">
            <a:extLst>
              <a:ext uri="{FF2B5EF4-FFF2-40B4-BE49-F238E27FC236}">
                <a16:creationId xmlns:a16="http://schemas.microsoft.com/office/drawing/2014/main" id="{6F547CD7-0C90-DD26-3232-FA0F36054D42}"/>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145229" y="2384888"/>
            <a:ext cx="805875" cy="1060361"/>
          </a:xfrm>
          <a:prstGeom prst="rect">
            <a:avLst/>
          </a:prstGeom>
        </p:spPr>
      </p:pic>
      <p:sp>
        <p:nvSpPr>
          <p:cNvPr id="9" name="Rectangle 8">
            <a:extLst>
              <a:ext uri="{FF2B5EF4-FFF2-40B4-BE49-F238E27FC236}">
                <a16:creationId xmlns:a16="http://schemas.microsoft.com/office/drawing/2014/main" id="{4733808A-D3F4-D215-4FB7-4E5621753ACA}"/>
              </a:ext>
            </a:extLst>
          </p:cNvPr>
          <p:cNvSpPr/>
          <p:nvPr>
            <p:custDataLst>
              <p:tags r:id="rId13"/>
            </p:custDataLst>
          </p:nvPr>
        </p:nvSpPr>
        <p:spPr>
          <a:xfrm>
            <a:off x="8838942" y="3332522"/>
            <a:ext cx="1088760" cy="323165"/>
          </a:xfrm>
          <a:prstGeom prst="rect">
            <a:avLst/>
          </a:prstGeom>
        </p:spPr>
        <p:txBody>
          <a:bodyPr wrap="none">
            <a:spAutoFit/>
          </a:bodyPr>
          <a:lstStyle/>
          <a:p>
            <a:r>
              <a:rPr lang="en-US" sz="1500" dirty="0"/>
              <a:t>IKW / IGW</a:t>
            </a:r>
          </a:p>
        </p:txBody>
      </p:sp>
      <p:sp>
        <p:nvSpPr>
          <p:cNvPr id="10" name="Rectangle 9">
            <a:extLst>
              <a:ext uri="{FF2B5EF4-FFF2-40B4-BE49-F238E27FC236}">
                <a16:creationId xmlns:a16="http://schemas.microsoft.com/office/drawing/2014/main" id="{45CDF07F-DFD0-7D63-AF7D-96271CEF785E}"/>
              </a:ext>
            </a:extLst>
          </p:cNvPr>
          <p:cNvSpPr/>
          <p:nvPr>
            <p:custDataLst>
              <p:tags r:id="rId14"/>
            </p:custDataLst>
          </p:nvPr>
        </p:nvSpPr>
        <p:spPr>
          <a:xfrm>
            <a:off x="9951104" y="3332522"/>
            <a:ext cx="611065" cy="323165"/>
          </a:xfrm>
          <a:prstGeom prst="rect">
            <a:avLst/>
          </a:prstGeom>
        </p:spPr>
        <p:txBody>
          <a:bodyPr wrap="none">
            <a:spAutoFit/>
          </a:bodyPr>
          <a:lstStyle/>
          <a:p>
            <a:r>
              <a:rPr lang="en-US" sz="1500" dirty="0"/>
              <a:t>IKZA</a:t>
            </a:r>
          </a:p>
        </p:txBody>
      </p:sp>
      <p:sp>
        <p:nvSpPr>
          <p:cNvPr id="12" name="Rectangle 11">
            <a:extLst>
              <a:ext uri="{FF2B5EF4-FFF2-40B4-BE49-F238E27FC236}">
                <a16:creationId xmlns:a16="http://schemas.microsoft.com/office/drawing/2014/main" id="{07927091-9BD3-1BF9-1D4E-EF6E995FB55C}"/>
              </a:ext>
            </a:extLst>
          </p:cNvPr>
          <p:cNvSpPr/>
          <p:nvPr>
            <p:custDataLst>
              <p:tags r:id="rId15"/>
            </p:custDataLst>
          </p:nvPr>
        </p:nvSpPr>
        <p:spPr>
          <a:xfrm>
            <a:off x="10588967" y="3353149"/>
            <a:ext cx="1024639" cy="323165"/>
          </a:xfrm>
          <a:prstGeom prst="rect">
            <a:avLst/>
          </a:prstGeom>
        </p:spPr>
        <p:txBody>
          <a:bodyPr wrap="none">
            <a:spAutoFit/>
          </a:bodyPr>
          <a:lstStyle/>
          <a:p>
            <a:r>
              <a:rPr lang="en-US" sz="1500" dirty="0"/>
              <a:t>IKQ / IGQ</a:t>
            </a:r>
          </a:p>
        </p:txBody>
      </p:sp>
      <p:pic>
        <p:nvPicPr>
          <p:cNvPr id="22" name="Picture 21">
            <a:extLst>
              <a:ext uri="{FF2B5EF4-FFF2-40B4-BE49-F238E27FC236}">
                <a16:creationId xmlns:a16="http://schemas.microsoft.com/office/drawing/2014/main" id="{C565EFE9-D2AC-4509-ACDD-B7B8DE3F723C}"/>
              </a:ext>
            </a:extLst>
          </p:cNvPr>
          <p:cNvPicPr>
            <a:picLocks noChangeAspect="1"/>
          </p:cNvPicPr>
          <p:nvPr/>
        </p:nvPicPr>
        <p:blipFill>
          <a:blip r:embed="rId26"/>
          <a:stretch>
            <a:fillRect/>
          </a:stretch>
        </p:blipFill>
        <p:spPr>
          <a:xfrm>
            <a:off x="8168992" y="2765561"/>
            <a:ext cx="612969" cy="655501"/>
          </a:xfrm>
          <a:prstGeom prst="rect">
            <a:avLst/>
          </a:prstGeom>
        </p:spPr>
      </p:pic>
      <p:pic>
        <p:nvPicPr>
          <p:cNvPr id="23" name="Picture 22">
            <a:extLst>
              <a:ext uri="{FF2B5EF4-FFF2-40B4-BE49-F238E27FC236}">
                <a16:creationId xmlns:a16="http://schemas.microsoft.com/office/drawing/2014/main" id="{7906E5E1-C459-4EC2-A301-7F1EAE3F942B}"/>
              </a:ext>
            </a:extLst>
          </p:cNvPr>
          <p:cNvPicPr>
            <a:picLocks noChangeAspect="1"/>
          </p:cNvPicPr>
          <p:nvPr/>
        </p:nvPicPr>
        <p:blipFill>
          <a:blip r:embed="rId27"/>
          <a:stretch>
            <a:fillRect/>
          </a:stretch>
        </p:blipFill>
        <p:spPr>
          <a:xfrm>
            <a:off x="7489094" y="2833099"/>
            <a:ext cx="512727" cy="540000"/>
          </a:xfrm>
          <a:prstGeom prst="rect">
            <a:avLst/>
          </a:prstGeom>
        </p:spPr>
      </p:pic>
      <p:sp>
        <p:nvSpPr>
          <p:cNvPr id="25" name="Rectangle 24">
            <a:extLst>
              <a:ext uri="{FF2B5EF4-FFF2-40B4-BE49-F238E27FC236}">
                <a16:creationId xmlns:a16="http://schemas.microsoft.com/office/drawing/2014/main" id="{FD6AEA7A-CECF-4852-810A-BAD19C85DFD6}"/>
              </a:ext>
            </a:extLst>
          </p:cNvPr>
          <p:cNvSpPr/>
          <p:nvPr>
            <p:custDataLst>
              <p:tags r:id="rId16"/>
            </p:custDataLst>
          </p:nvPr>
        </p:nvSpPr>
        <p:spPr>
          <a:xfrm>
            <a:off x="7429064" y="3332521"/>
            <a:ext cx="526106" cy="323165"/>
          </a:xfrm>
          <a:prstGeom prst="rect">
            <a:avLst/>
          </a:prstGeom>
        </p:spPr>
        <p:txBody>
          <a:bodyPr wrap="none">
            <a:spAutoFit/>
          </a:bodyPr>
          <a:lstStyle/>
          <a:p>
            <a:r>
              <a:rPr lang="en-US" sz="1500" dirty="0"/>
              <a:t>IGD</a:t>
            </a:r>
          </a:p>
        </p:txBody>
      </p:sp>
      <p:sp>
        <p:nvSpPr>
          <p:cNvPr id="28" name="Rectangle 27">
            <a:extLst>
              <a:ext uri="{FF2B5EF4-FFF2-40B4-BE49-F238E27FC236}">
                <a16:creationId xmlns:a16="http://schemas.microsoft.com/office/drawing/2014/main" id="{3F99E8E1-8A38-4D11-B19E-C88BFB48E92B}"/>
              </a:ext>
            </a:extLst>
          </p:cNvPr>
          <p:cNvSpPr/>
          <p:nvPr>
            <p:custDataLst>
              <p:tags r:id="rId17"/>
            </p:custDataLst>
          </p:nvPr>
        </p:nvSpPr>
        <p:spPr>
          <a:xfrm>
            <a:off x="8112224" y="3332522"/>
            <a:ext cx="514885" cy="323165"/>
          </a:xfrm>
          <a:prstGeom prst="rect">
            <a:avLst/>
          </a:prstGeom>
        </p:spPr>
        <p:txBody>
          <a:bodyPr wrap="none">
            <a:spAutoFit/>
          </a:bodyPr>
          <a:lstStyle/>
          <a:p>
            <a:r>
              <a:rPr lang="en-US" sz="1500" dirty="0"/>
              <a:t>IGB</a:t>
            </a:r>
          </a:p>
        </p:txBody>
      </p:sp>
      <p:pic>
        <p:nvPicPr>
          <p:cNvPr id="5" name="Picture 4">
            <a:extLst>
              <a:ext uri="{FF2B5EF4-FFF2-40B4-BE49-F238E27FC236}">
                <a16:creationId xmlns:a16="http://schemas.microsoft.com/office/drawing/2014/main" id="{EF566CCA-9ABE-41CE-BE10-329FBBE65FDF}"/>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181538" y="3978507"/>
            <a:ext cx="680481" cy="680481"/>
          </a:xfrm>
          <a:prstGeom prst="rect">
            <a:avLst/>
          </a:prstGeom>
        </p:spPr>
      </p:pic>
      <p:sp>
        <p:nvSpPr>
          <p:cNvPr id="17" name="TextBox 16">
            <a:extLst>
              <a:ext uri="{FF2B5EF4-FFF2-40B4-BE49-F238E27FC236}">
                <a16:creationId xmlns:a16="http://schemas.microsoft.com/office/drawing/2014/main" id="{D985A867-49E2-4812-AD18-33CF3BFE7AD3}"/>
              </a:ext>
            </a:extLst>
          </p:cNvPr>
          <p:cNvSpPr txBox="1"/>
          <p:nvPr>
            <p:custDataLst>
              <p:tags r:id="rId18"/>
            </p:custDataLst>
          </p:nvPr>
        </p:nvSpPr>
        <p:spPr bwMode="auto">
          <a:xfrm>
            <a:off x="917286" y="4718974"/>
            <a:ext cx="1584176" cy="150875"/>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900" b="1" kern="0" baseline="0" dirty="0">
                <a:solidFill>
                  <a:schemeClr val="accent1"/>
                </a:solidFill>
                <a:latin typeface="+mn-lt"/>
                <a:ea typeface="+mn-ea"/>
                <a:cs typeface="+mn-cs"/>
              </a:rPr>
              <a:t>Short Circuit Robustness</a:t>
            </a:r>
          </a:p>
        </p:txBody>
      </p:sp>
    </p:spTree>
    <p:extLst>
      <p:ext uri="{BB962C8B-B14F-4D97-AF65-F5344CB8AC3E}">
        <p14:creationId xmlns:p14="http://schemas.microsoft.com/office/powerpoint/2010/main" val="688779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B666A0-4050-49BC-84BF-896DBC191873}"/>
              </a:ext>
            </a:extLst>
          </p:cNvPr>
          <p:cNvSpPr>
            <a:spLocks noGrp="1"/>
          </p:cNvSpPr>
          <p:nvPr>
            <p:ph type="title"/>
          </p:nvPr>
        </p:nvSpPr>
        <p:spPr/>
        <p:txBody>
          <a:bodyPr/>
          <a:lstStyle/>
          <a:p>
            <a:r>
              <a:rPr lang="de-AT" dirty="0"/>
              <a:t>TRENCHSTOP</a:t>
            </a:r>
            <a:r>
              <a:rPr lang="de-AT" baseline="30000" dirty="0"/>
              <a:t>TM</a:t>
            </a:r>
            <a:r>
              <a:rPr lang="de-AT" dirty="0"/>
              <a:t> IGBT7</a:t>
            </a:r>
            <a:r>
              <a:rPr lang="sl-SI" dirty="0"/>
              <a:t> T7/S7</a:t>
            </a:r>
            <a:r>
              <a:rPr lang="de-AT" dirty="0"/>
              <a:t> family</a:t>
            </a:r>
            <a:br>
              <a:rPr lang="sl-SI" dirty="0"/>
            </a:br>
            <a:r>
              <a:rPr lang="sl-SI" b="0" dirty="0"/>
              <a:t>for </a:t>
            </a:r>
            <a:r>
              <a:rPr lang="de-AT" b="0" dirty="0"/>
              <a:t>a</a:t>
            </a:r>
            <a:r>
              <a:rPr lang="sl-SI" b="0" dirty="0"/>
              <a:t>pplications where </a:t>
            </a:r>
            <a:r>
              <a:rPr lang="de-DE" b="0" dirty="0"/>
              <a:t>s</a:t>
            </a:r>
            <a:r>
              <a:rPr lang="sl-SI" b="0" dirty="0"/>
              <a:t>hort </a:t>
            </a:r>
            <a:r>
              <a:rPr lang="de-DE" b="0" dirty="0"/>
              <a:t>c</a:t>
            </a:r>
            <a:r>
              <a:rPr lang="sl-SI" b="0" dirty="0"/>
              <a:t>ircuit is required (e.g. Motor Drive)</a:t>
            </a:r>
            <a:endParaRPr lang="de-AT" dirty="0"/>
          </a:p>
        </p:txBody>
      </p:sp>
      <p:graphicFrame>
        <p:nvGraphicFramePr>
          <p:cNvPr id="20" name="Table 7">
            <a:extLst>
              <a:ext uri="{FF2B5EF4-FFF2-40B4-BE49-F238E27FC236}">
                <a16:creationId xmlns:a16="http://schemas.microsoft.com/office/drawing/2014/main" id="{F54F3634-71B2-4C3A-A612-0AEFD5D3045B}"/>
              </a:ext>
            </a:extLst>
          </p:cNvPr>
          <p:cNvGraphicFramePr>
            <a:graphicFrameLocks noGrp="1"/>
          </p:cNvGraphicFramePr>
          <p:nvPr>
            <p:custDataLst>
              <p:tags r:id="rId1"/>
            </p:custDataLst>
            <p:extLst>
              <p:ext uri="{D42A27DB-BD31-4B8C-83A1-F6EECF244321}">
                <p14:modId xmlns:p14="http://schemas.microsoft.com/office/powerpoint/2010/main" val="517010363"/>
              </p:ext>
            </p:extLst>
          </p:nvPr>
        </p:nvGraphicFramePr>
        <p:xfrm>
          <a:off x="1127448" y="1402043"/>
          <a:ext cx="9573243" cy="4888703"/>
        </p:xfrm>
        <a:graphic>
          <a:graphicData uri="http://schemas.openxmlformats.org/drawingml/2006/table">
            <a:tbl>
              <a:tblPr firstRow="1" bandRow="1"/>
              <a:tblGrid>
                <a:gridCol w="724572">
                  <a:extLst>
                    <a:ext uri="{9D8B030D-6E8A-4147-A177-3AD203B41FA5}">
                      <a16:colId xmlns:a16="http://schemas.microsoft.com/office/drawing/2014/main" val="877986325"/>
                    </a:ext>
                  </a:extLst>
                </a:gridCol>
                <a:gridCol w="839961">
                  <a:extLst>
                    <a:ext uri="{9D8B030D-6E8A-4147-A177-3AD203B41FA5}">
                      <a16:colId xmlns:a16="http://schemas.microsoft.com/office/drawing/2014/main" val="3194373602"/>
                    </a:ext>
                  </a:extLst>
                </a:gridCol>
                <a:gridCol w="1516089">
                  <a:extLst>
                    <a:ext uri="{9D8B030D-6E8A-4147-A177-3AD203B41FA5}">
                      <a16:colId xmlns:a16="http://schemas.microsoft.com/office/drawing/2014/main" val="3857241744"/>
                    </a:ext>
                  </a:extLst>
                </a:gridCol>
                <a:gridCol w="1516089">
                  <a:extLst>
                    <a:ext uri="{9D8B030D-6E8A-4147-A177-3AD203B41FA5}">
                      <a16:colId xmlns:a16="http://schemas.microsoft.com/office/drawing/2014/main" val="2936615529"/>
                    </a:ext>
                  </a:extLst>
                </a:gridCol>
                <a:gridCol w="1516089">
                  <a:extLst>
                    <a:ext uri="{9D8B030D-6E8A-4147-A177-3AD203B41FA5}">
                      <a16:colId xmlns:a16="http://schemas.microsoft.com/office/drawing/2014/main" val="1974990070"/>
                    </a:ext>
                  </a:extLst>
                </a:gridCol>
                <a:gridCol w="1806103">
                  <a:extLst>
                    <a:ext uri="{9D8B030D-6E8A-4147-A177-3AD203B41FA5}">
                      <a16:colId xmlns:a16="http://schemas.microsoft.com/office/drawing/2014/main" val="20003"/>
                    </a:ext>
                  </a:extLst>
                </a:gridCol>
                <a:gridCol w="1654340">
                  <a:extLst>
                    <a:ext uri="{9D8B030D-6E8A-4147-A177-3AD203B41FA5}">
                      <a16:colId xmlns:a16="http://schemas.microsoft.com/office/drawing/2014/main" val="20004"/>
                    </a:ext>
                  </a:extLst>
                </a:gridCol>
              </a:tblGrid>
              <a:tr h="698807">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lvl="0" algn="ctr">
                        <a:buClr>
                          <a:schemeClr val="tx1"/>
                        </a:buClr>
                      </a:pPr>
                      <a:endParaRPr lang="en-US" sz="1000" b="1" dirty="0">
                        <a:solidFill>
                          <a:schemeClr val="tx1"/>
                        </a:solidFill>
                        <a:latin typeface="Arial" panose="020B0604020202020204" pitchFamily="34" charset="0"/>
                        <a:cs typeface="Arial" panose="020B0604020202020204" pitchFamily="34" charset="0"/>
                      </a:endParaRPr>
                    </a:p>
                  </a:txBody>
                  <a:tcPr>
                    <a:lnL w="12700" cap="flat" cmpd="sng" algn="ctr">
                      <a:solidFill>
                        <a:srgbClr val="0A8276"/>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lvl="0" algn="ctr">
                        <a:buClr>
                          <a:schemeClr val="tx1"/>
                        </a:buClr>
                      </a:pPr>
                      <a:r>
                        <a:rPr lang="en-US" sz="1200" dirty="0"/>
                        <a:t>Current </a:t>
                      </a:r>
                      <a:r>
                        <a:rPr lang="en-US" sz="1200" dirty="0" err="1"/>
                        <a:t>Inom</a:t>
                      </a:r>
                      <a:endParaRPr lang="en-US" sz="1200" dirty="0"/>
                    </a:p>
                  </a:txBody>
                  <a:tcPr>
                    <a:lnL w="12700" cmpd="sng">
                      <a:solidFill>
                        <a:srgbClr val="FFFFFF"/>
                      </a:solidFill>
                    </a:lnL>
                    <a:lnR w="12700" cmpd="sng">
                      <a:solidFill>
                        <a:srgbClr val="FFFFFF"/>
                      </a:solidFill>
                    </a:lnR>
                    <a:lnT w="12700" cap="flat" cmpd="sng" algn="ctr">
                      <a:solidFill>
                        <a:srgbClr val="0A8276"/>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A8276"/>
                    </a:solidFill>
                  </a:tcPr>
                </a:tc>
                <a:tc>
                  <a:txBody>
                    <a:bodyPr/>
                    <a:lstStyle/>
                    <a:p>
                      <a:pPr marL="0" lvl="0" algn="l" defTabSz="1219170" rtl="0" eaLnBrk="1" latinLnBrk="0" hangingPunct="1">
                        <a:buClr>
                          <a:schemeClr val="tx1"/>
                        </a:buClr>
                      </a:pPr>
                      <a:r>
                        <a:rPr lang="en-US" sz="1200" b="1" kern="1200" dirty="0">
                          <a:solidFill>
                            <a:schemeClr val="lt1"/>
                          </a:solidFill>
                          <a:latin typeface="Arial"/>
                          <a:cs typeface="Arial"/>
                        </a:rPr>
                        <a:t>TO-252-3-11 DPAK</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p>
                      <a:pPr lvl="0" algn="l">
                        <a:buClr>
                          <a:schemeClr val="tx1"/>
                        </a:buClr>
                      </a:pPr>
                      <a:r>
                        <a:rPr lang="en-US" sz="1200" b="1" kern="1200" dirty="0">
                          <a:solidFill>
                            <a:schemeClr val="lt1"/>
                          </a:solidFill>
                          <a:latin typeface="Arial"/>
                          <a:ea typeface="+mn-ea"/>
                          <a:cs typeface="Arial"/>
                        </a:rPr>
                        <a:t>TO-263-3-2 D2PAK</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lvl="0" algn="l">
                        <a:buClr>
                          <a:schemeClr val="tx1"/>
                        </a:buClr>
                      </a:pPr>
                      <a:r>
                        <a:rPr lang="en-US" sz="1200" dirty="0"/>
                        <a:t>TO-247-3</a:t>
                      </a:r>
                    </a:p>
                    <a:p>
                      <a:pPr lvl="0" algn="l">
                        <a:buClr>
                          <a:schemeClr val="tx1"/>
                        </a:buClr>
                      </a:pPr>
                      <a:endParaRPr lang="en-US" sz="1200" dirty="0"/>
                    </a:p>
                    <a:p>
                      <a:pPr lvl="0" algn="l">
                        <a:buClr>
                          <a:schemeClr val="tx1"/>
                        </a:buClr>
                      </a:pPr>
                      <a:endParaRPr lang="en-US" sz="1100" b="1" dirty="0">
                        <a:solidFill>
                          <a:schemeClr val="tx1"/>
                        </a:solidFill>
                        <a:latin typeface="Arial" panose="020B0604020202020204" pitchFamily="34"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lvl="0" algn="l">
                        <a:buClr>
                          <a:schemeClr val="tx1"/>
                        </a:buClr>
                      </a:pPr>
                      <a:r>
                        <a:rPr lang="en-US" sz="1200" baseline="0" dirty="0"/>
                        <a:t>TO247PLUS-3pin</a:t>
                      </a:r>
                    </a:p>
                    <a:p>
                      <a:pPr lvl="0" algn="l">
                        <a:buClr>
                          <a:schemeClr val="tx1"/>
                        </a:buClr>
                      </a:pPr>
                      <a:r>
                        <a:rPr lang="en-US" sz="1200" baseline="0" dirty="0" err="1"/>
                        <a:t>Copacked</a:t>
                      </a:r>
                      <a:r>
                        <a:rPr lang="en-US" sz="1200" baseline="0" dirty="0"/>
                        <a:t> with full rated diode</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marL="0" marR="0" lvl="0" indent="0" algn="l" defTabSz="914400" rtl="0" eaLnBrk="1" fontAlgn="auto" latinLnBrk="0" hangingPunct="1">
                        <a:lnSpc>
                          <a:spcPct val="100000"/>
                        </a:lnSpc>
                        <a:spcBef>
                          <a:spcPts val="0"/>
                        </a:spcBef>
                        <a:spcAft>
                          <a:spcPts val="0"/>
                        </a:spcAft>
                        <a:buClr>
                          <a:schemeClr val="bg1"/>
                        </a:buClr>
                        <a:buSzTx/>
                        <a:buFontTx/>
                        <a:buNone/>
                        <a:tabLst/>
                        <a:defRPr/>
                      </a:pPr>
                      <a:r>
                        <a:rPr lang="en-US" sz="1200" kern="1200" dirty="0"/>
                        <a:t>TO247PLUS-3pin</a:t>
                      </a:r>
                    </a:p>
                    <a:p>
                      <a:pPr marL="0" marR="0" lvl="0" indent="0" algn="l" defTabSz="914400" rtl="0" eaLnBrk="1" fontAlgn="auto" latinLnBrk="0" hangingPunct="1">
                        <a:lnSpc>
                          <a:spcPct val="100000"/>
                        </a:lnSpc>
                        <a:spcBef>
                          <a:spcPts val="0"/>
                        </a:spcBef>
                        <a:spcAft>
                          <a:spcPts val="0"/>
                        </a:spcAft>
                        <a:buClr>
                          <a:schemeClr val="bg1"/>
                        </a:buClr>
                        <a:buSzTx/>
                        <a:buFontTx/>
                        <a:buNone/>
                        <a:tabLst/>
                        <a:defRPr/>
                      </a:pPr>
                      <a:r>
                        <a:rPr lang="en-US" sz="1200" kern="1200" dirty="0"/>
                        <a:t>Single IGBT</a:t>
                      </a:r>
                    </a:p>
                  </a:txBody>
                  <a:tcP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extLst>
                  <a:ext uri="{0D108BD9-81ED-4DB2-BD59-A6C34878D82A}">
                    <a16:rowId xmlns:a16="http://schemas.microsoft.com/office/drawing/2014/main" val="28268734"/>
                  </a:ext>
                </a:extLst>
              </a:tr>
              <a:tr h="0">
                <a:tc rowSpan="5">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lvl="0" algn="ctr">
                        <a:buClr>
                          <a:schemeClr val="tx1"/>
                        </a:buClr>
                      </a:pPr>
                      <a:r>
                        <a:rPr lang="sl-SI" sz="2000" b="1" dirty="0">
                          <a:solidFill>
                            <a:schemeClr val="bg1"/>
                          </a:solidFill>
                        </a:rPr>
                        <a:t>650</a:t>
                      </a:r>
                      <a:r>
                        <a:rPr lang="en-US" sz="2000" b="1" dirty="0">
                          <a:solidFill>
                            <a:schemeClr val="bg1"/>
                          </a:solidFill>
                        </a:rPr>
                        <a:t> V</a:t>
                      </a:r>
                      <a:endParaRPr lang="en-US" sz="2000" b="1" dirty="0">
                        <a:solidFill>
                          <a:schemeClr val="bg1"/>
                        </a:solidFill>
                        <a:latin typeface="+mj-lt"/>
                        <a:cs typeface="Arial" panose="020B0604020202020204" pitchFamily="34" charset="0"/>
                      </a:endParaRPr>
                    </a:p>
                  </a:txBody>
                  <a:tcPr vert="vert270" anchor="ctr">
                    <a:lnL w="12700" cap="flat" cmpd="sng" algn="ctr">
                      <a:solidFill>
                        <a:srgbClr val="0A8276"/>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latinLnBrk="0" hangingPunct="1">
                        <a:buClr>
                          <a:schemeClr val="tx1"/>
                        </a:buClr>
                      </a:pPr>
                      <a:r>
                        <a:rPr lang="en-US" sz="1400" kern="1200" dirty="0">
                          <a:solidFill>
                            <a:schemeClr val="dk1"/>
                          </a:solidFill>
                          <a:latin typeface="+mn-lt"/>
                          <a:ea typeface="+mn-ea"/>
                          <a:cs typeface="+mn-cs"/>
                        </a:rPr>
                        <a:t>20</a:t>
                      </a:r>
                      <a:r>
                        <a:rPr lang="sl-SI" sz="1400" kern="1200" dirty="0">
                          <a:solidFill>
                            <a:schemeClr val="dk1"/>
                          </a:solidFill>
                          <a:latin typeface="+mn-lt"/>
                          <a:ea typeface="+mn-ea"/>
                          <a:cs typeface="+mn-cs"/>
                        </a:rPr>
                        <a:t> A</a:t>
                      </a:r>
                      <a:endParaRPr lang="en-US" sz="1400" kern="1200" dirty="0">
                        <a:solidFill>
                          <a:schemeClr val="dk1"/>
                        </a:solidFill>
                        <a:latin typeface="+mn-lt"/>
                        <a:ea typeface="+mn-ea"/>
                        <a:cs typeface="+mn-cs"/>
                      </a:endParaRPr>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38100" cmpd="sng">
                      <a:solidFill>
                        <a:srgbClr val="FFFFFF"/>
                      </a:solidFill>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20N65ET7</a:t>
                      </a: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1593827"/>
                  </a:ext>
                </a:extLst>
              </a:tr>
              <a:tr h="332774">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4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latinLnBrk="0" hangingPunct="1">
                        <a:buClr>
                          <a:schemeClr val="tx1"/>
                        </a:buClr>
                      </a:pPr>
                      <a:r>
                        <a:rPr lang="en-US" sz="1400" kern="1200" dirty="0">
                          <a:solidFill>
                            <a:schemeClr val="dk1"/>
                          </a:solidFill>
                          <a:latin typeface="+mn-lt"/>
                          <a:ea typeface="+mn-ea"/>
                          <a:cs typeface="+mn-cs"/>
                        </a:rPr>
                        <a:t>30</a:t>
                      </a:r>
                      <a:r>
                        <a:rPr lang="sl-SI" sz="1400" kern="1200" dirty="0">
                          <a:solidFill>
                            <a:schemeClr val="dk1"/>
                          </a:solidFill>
                          <a:latin typeface="+mn-lt"/>
                          <a:ea typeface="+mn-ea"/>
                          <a:cs typeface="+mn-cs"/>
                        </a:rPr>
                        <a:t> A</a:t>
                      </a:r>
                      <a:endParaRPr lang="en-US" sz="1400" kern="1200" dirty="0">
                        <a:solidFill>
                          <a:schemeClr val="dk1"/>
                        </a:solidFill>
                        <a:latin typeface="+mn-lt"/>
                        <a:ea typeface="+mn-ea"/>
                        <a:cs typeface="+mn-cs"/>
                      </a:endParaRPr>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30N65ET7</a:t>
                      </a: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5721120"/>
                  </a:ext>
                </a:extLst>
              </a:tr>
              <a:tr h="332774">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4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latinLnBrk="0" hangingPunct="1">
                        <a:buClr>
                          <a:schemeClr val="tx1"/>
                        </a:buClr>
                      </a:pPr>
                      <a:r>
                        <a:rPr lang="en-US" sz="1400" kern="1200" dirty="0">
                          <a:solidFill>
                            <a:schemeClr val="dk1"/>
                          </a:solidFill>
                          <a:latin typeface="+mn-lt"/>
                          <a:ea typeface="+mn-ea"/>
                          <a:cs typeface="+mn-cs"/>
                        </a:rPr>
                        <a:t>40</a:t>
                      </a:r>
                      <a:r>
                        <a:rPr lang="sl-SI" sz="1400" kern="1200" dirty="0">
                          <a:solidFill>
                            <a:schemeClr val="dk1"/>
                          </a:solidFill>
                          <a:latin typeface="+mn-lt"/>
                          <a:ea typeface="+mn-ea"/>
                          <a:cs typeface="+mn-cs"/>
                        </a:rPr>
                        <a:t> A</a:t>
                      </a:r>
                      <a:endParaRPr lang="en-US" sz="1400" kern="1200" dirty="0">
                        <a:solidFill>
                          <a:schemeClr val="dk1"/>
                        </a:solidFill>
                        <a:latin typeface="+mn-lt"/>
                        <a:ea typeface="+mn-ea"/>
                        <a:cs typeface="+mn-cs"/>
                      </a:endParaRPr>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40N65ET7</a:t>
                      </a: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3916341"/>
                  </a:ext>
                </a:extLst>
              </a:tr>
              <a:tr h="332774">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4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latinLnBrk="0" hangingPunct="1">
                        <a:buClr>
                          <a:schemeClr val="tx1"/>
                        </a:buClr>
                      </a:pPr>
                      <a:r>
                        <a:rPr lang="en-US" sz="1400" kern="1200" dirty="0">
                          <a:solidFill>
                            <a:schemeClr val="dk1"/>
                          </a:solidFill>
                          <a:latin typeface="+mn-lt"/>
                          <a:ea typeface="+mn-ea"/>
                          <a:cs typeface="+mn-cs"/>
                        </a:rPr>
                        <a:t>50</a:t>
                      </a:r>
                      <a:r>
                        <a:rPr lang="sl-SI" sz="1400" kern="1200" dirty="0">
                          <a:solidFill>
                            <a:schemeClr val="dk1"/>
                          </a:solidFill>
                          <a:latin typeface="+mn-lt"/>
                          <a:ea typeface="+mn-ea"/>
                          <a:cs typeface="+mn-cs"/>
                        </a:rPr>
                        <a:t> A</a:t>
                      </a:r>
                      <a:endParaRPr lang="en-US" sz="1400" kern="1200" dirty="0">
                        <a:solidFill>
                          <a:schemeClr val="dk1"/>
                        </a:solidFill>
                        <a:latin typeface="+mn-lt"/>
                        <a:ea typeface="+mn-ea"/>
                        <a:cs typeface="+mn-cs"/>
                      </a:endParaRPr>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50N65ET7</a:t>
                      </a: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8060082"/>
                  </a:ext>
                </a:extLst>
              </a:tr>
              <a:tr h="169022">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4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latinLnBrk="0" hangingPunct="1">
                        <a:buClr>
                          <a:schemeClr val="tx1"/>
                        </a:buClr>
                      </a:pPr>
                      <a:r>
                        <a:rPr lang="en-US" sz="1400" kern="1200" dirty="0">
                          <a:solidFill>
                            <a:schemeClr val="dk1"/>
                          </a:solidFill>
                          <a:latin typeface="+mn-lt"/>
                          <a:ea typeface="+mn-ea"/>
                          <a:cs typeface="+mn-cs"/>
                        </a:rPr>
                        <a:t>75</a:t>
                      </a:r>
                      <a:r>
                        <a:rPr lang="sl-SI" sz="1400" kern="1200" dirty="0">
                          <a:solidFill>
                            <a:schemeClr val="dk1"/>
                          </a:solidFill>
                          <a:latin typeface="+mn-lt"/>
                          <a:ea typeface="+mn-ea"/>
                          <a:cs typeface="+mn-cs"/>
                        </a:rPr>
                        <a:t> A</a:t>
                      </a:r>
                      <a:endParaRPr lang="en-US" sz="1400" kern="1200" dirty="0">
                        <a:solidFill>
                          <a:schemeClr val="dk1"/>
                        </a:solidFill>
                        <a:latin typeface="+mn-lt"/>
                        <a:ea typeface="+mn-ea"/>
                        <a:cs typeface="+mn-cs"/>
                      </a:endParaRPr>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75N65ET7</a:t>
                      </a:r>
                    </a:p>
                  </a:txBody>
                  <a:tcPr marL="68580" marR="68580" marT="34291" marB="34291"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1823234"/>
                  </a:ext>
                </a:extLst>
              </a:tr>
              <a:tr h="276305">
                <a:tc gridSpan="7">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lvl="0" algn="ctr">
                        <a:buClr>
                          <a:schemeClr val="tx1"/>
                        </a:buClr>
                      </a:pPr>
                      <a:endParaRPr lang="en-US" sz="2000" b="1" dirty="0">
                        <a:solidFill>
                          <a:schemeClr val="bg1"/>
                        </a:solidFill>
                        <a:latin typeface="+mj-lt"/>
                        <a:cs typeface="Arial" panose="020B0604020202020204" pitchFamily="34" charset="0"/>
                      </a:endParaRPr>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ctr"/>
                      <a:endParaRPr lang="en-US" sz="1200" b="0" i="0" u="none" strike="noStrike" dirty="0">
                        <a:solidFill>
                          <a:srgbClr val="000000"/>
                        </a:solidFill>
                        <a:effectLst/>
                        <a:latin typeface="Arial" panose="020B0604020202020204" pitchFamily="34" charset="0"/>
                      </a:endParaRPr>
                    </a:p>
                  </a:txBody>
                  <a:tcPr marL="7144" marR="7144" marT="714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CD5D7"/>
                    </a:solidFill>
                  </a:tcPr>
                </a:tc>
                <a:tc hMerge="1">
                  <a:txBody>
                    <a:bodyPr/>
                    <a:lstStyle/>
                    <a:p>
                      <a:endParaRPr lang="de-AT"/>
                    </a:p>
                  </a:txBody>
                  <a:tcPr/>
                </a:tc>
                <a:tc hMerge="1">
                  <a:txBody>
                    <a:bodyPr/>
                    <a:lstStyle/>
                    <a:p>
                      <a:endParaRPr lang="de-AT"/>
                    </a:p>
                  </a:txBody>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D5D7"/>
                    </a:solidFill>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D5D7"/>
                    </a:solidFill>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D5D7"/>
                    </a:solidFill>
                  </a:tcPr>
                </a:tc>
                <a:extLst>
                  <a:ext uri="{0D108BD9-81ED-4DB2-BD59-A6C34878D82A}">
                    <a16:rowId xmlns:a16="http://schemas.microsoft.com/office/drawing/2014/main" val="3376772492"/>
                  </a:ext>
                </a:extLst>
              </a:tr>
              <a:tr h="243351">
                <a:tc rowSpan="9">
                  <a:txBody>
                    <a:bodyPr/>
                    <a:lstStyle/>
                    <a:p>
                      <a:pPr lvl="0" algn="ctr">
                        <a:buClr>
                          <a:schemeClr val="tx1"/>
                        </a:buClr>
                      </a:pPr>
                      <a:r>
                        <a:rPr lang="sl-SI" sz="2000" b="1" dirty="0">
                          <a:solidFill>
                            <a:schemeClr val="bg1"/>
                          </a:solidFill>
                        </a:rPr>
                        <a:t>1200</a:t>
                      </a:r>
                      <a:r>
                        <a:rPr lang="en-US" sz="2000" b="1" dirty="0">
                          <a:solidFill>
                            <a:schemeClr val="bg1"/>
                          </a:solidFill>
                        </a:rPr>
                        <a:t> V</a:t>
                      </a:r>
                      <a:endParaRPr lang="en-US" sz="2000" b="1" dirty="0">
                        <a:solidFill>
                          <a:schemeClr val="bg1"/>
                        </a:solidFill>
                        <a:latin typeface="+mj-lt"/>
                        <a:cs typeface="Arial" panose="020B0604020202020204" pitchFamily="34" charset="0"/>
                      </a:endParaRPr>
                    </a:p>
                  </a:txBody>
                  <a:tcPr vert="vert270" anchor="ctr">
                    <a:lnL w="12700" cap="flat" cmpd="sng" algn="ctr">
                      <a:solidFill>
                        <a:srgbClr val="0A827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p>
                      <a:pPr marL="0" lvl="0" algn="ctr" defTabSz="1219170" rtl="0" eaLnBrk="1" fontAlgn="ctr" latinLnBrk="0" hangingPunct="1">
                        <a:buClr>
                          <a:schemeClr val="tx1"/>
                        </a:buClr>
                      </a:pPr>
                      <a:r>
                        <a:rPr lang="en-US" sz="1400" kern="1200" dirty="0">
                          <a:solidFill>
                            <a:schemeClr val="dk1"/>
                          </a:solidFill>
                          <a:latin typeface="+mn-lt"/>
                          <a:ea typeface="+mn-ea"/>
                          <a:cs typeface="+mn-cs"/>
                        </a:rPr>
                        <a:t>3 A</a:t>
                      </a:r>
                    </a:p>
                  </a:txBody>
                  <a:tcPr marL="7144" marR="7144" marT="7144" marB="0"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mpd="sng">
                      <a:solidFill>
                        <a:srgbClr val="FFFFFF"/>
                      </a:solidFill>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pt-BR" sz="1400" b="0" kern="1200" dirty="0">
                          <a:solidFill>
                            <a:schemeClr val="dk1"/>
                          </a:solidFill>
                          <a:latin typeface="+mn-lt"/>
                          <a:ea typeface="+mn-ea"/>
                          <a:cs typeface="+mn-cs"/>
                        </a:rPr>
                        <a:t>IGD03N120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pt-BR" sz="1400" b="0" kern="1200" dirty="0">
                          <a:solidFill>
                            <a:schemeClr val="dk1"/>
                          </a:solidFill>
                          <a:latin typeface="+mn-lt"/>
                          <a:ea typeface="+mn-ea"/>
                          <a:cs typeface="+mn-cs"/>
                        </a:rPr>
                        <a:t>IGB03N120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6936797"/>
                  </a:ext>
                </a:extLst>
              </a:tr>
              <a:tr h="249230">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8DEDA"/>
                    </a:solidFill>
                  </a:tcPr>
                </a:tc>
                <a:tc>
                  <a:txBody>
                    <a:bodyPr/>
                    <a:lstStyle/>
                    <a:p>
                      <a:pPr marL="0" lvl="0" algn="ctr" defTabSz="1219170" rtl="0" eaLnBrk="1" fontAlgn="ctr" latinLnBrk="0" hangingPunct="1">
                        <a:buClr>
                          <a:schemeClr val="tx1"/>
                        </a:buClr>
                      </a:pPr>
                      <a:r>
                        <a:rPr lang="en-US" sz="1400" kern="1200" dirty="0">
                          <a:solidFill>
                            <a:schemeClr val="dk1"/>
                          </a:solidFill>
                          <a:latin typeface="+mn-lt"/>
                          <a:ea typeface="+mn-ea"/>
                          <a:cs typeface="+mn-cs"/>
                        </a:rPr>
                        <a:t>8 A</a:t>
                      </a:r>
                    </a:p>
                  </a:txBody>
                  <a:tcPr marL="7144" marR="7144" marT="7144" marB="0"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pt-BR" sz="1400" b="0" kern="1200" dirty="0">
                          <a:solidFill>
                            <a:schemeClr val="dk1"/>
                          </a:solidFill>
                          <a:latin typeface="+mn-lt"/>
                          <a:ea typeface="+mn-ea"/>
                          <a:cs typeface="+mn-cs"/>
                        </a:rPr>
                        <a:t>IGD08N120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pt-BR" sz="1400" b="0" kern="1200" dirty="0">
                          <a:solidFill>
                            <a:schemeClr val="dk1"/>
                          </a:solidFill>
                          <a:latin typeface="+mn-lt"/>
                          <a:ea typeface="+mn-ea"/>
                          <a:cs typeface="+mn-cs"/>
                        </a:rPr>
                        <a:t>IGB08N120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08N120C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1324994"/>
                  </a:ext>
                </a:extLst>
              </a:tr>
              <a:tr h="249230">
                <a:tc v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4B6A7">
                        <a:tint val="2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fontAlgn="ctr" latinLnBrk="0" hangingPunct="1">
                        <a:buClr>
                          <a:schemeClr val="tx1"/>
                        </a:buClr>
                      </a:pPr>
                      <a:r>
                        <a:rPr lang="en-US" sz="1400" kern="1200" dirty="0">
                          <a:solidFill>
                            <a:schemeClr val="dk1"/>
                          </a:solidFill>
                          <a:latin typeface="+mn-lt"/>
                          <a:ea typeface="+mn-ea"/>
                          <a:cs typeface="+mn-cs"/>
                        </a:rPr>
                        <a:t>15 A</a:t>
                      </a:r>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pt-BR" sz="1400" b="0" kern="1200" dirty="0">
                          <a:solidFill>
                            <a:schemeClr val="dk1"/>
                          </a:solidFill>
                          <a:latin typeface="+mn-lt"/>
                          <a:ea typeface="+mn-ea"/>
                          <a:cs typeface="+mn-cs"/>
                        </a:rPr>
                        <a:t>IGB15N120S7</a:t>
                      </a: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15N120C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6050290"/>
                  </a:ext>
                </a:extLst>
              </a:tr>
              <a:tr h="249230">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20000"/>
                      </a:srgbClr>
                    </a:solidFill>
                  </a:tcPr>
                </a:tc>
                <a:tc>
                  <a:txBody>
                    <a:bodyPr/>
                    <a:lstStyle/>
                    <a:p>
                      <a:pPr marL="0" lvl="0" algn="ctr" defTabSz="1219170" rtl="0" eaLnBrk="1" fontAlgn="ctr" latinLnBrk="0" hangingPunct="1">
                        <a:buClr>
                          <a:schemeClr val="tx1"/>
                        </a:buClr>
                      </a:pPr>
                      <a:r>
                        <a:rPr lang="en-US" sz="1400" kern="1200" dirty="0">
                          <a:solidFill>
                            <a:schemeClr val="dk1"/>
                          </a:solidFill>
                          <a:latin typeface="+mn-lt"/>
                          <a:ea typeface="+mn-ea"/>
                          <a:cs typeface="+mn-cs"/>
                        </a:rPr>
                        <a:t>25 A</a:t>
                      </a:r>
                    </a:p>
                  </a:txBody>
                  <a:tcPr marL="7144" marR="7144" marT="7144" marB="0"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25N120C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931735"/>
                  </a:ext>
                </a:extLst>
              </a:tr>
              <a:tr h="249230">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20000"/>
                      </a:srgbClr>
                    </a:solidFill>
                  </a:tcPr>
                </a:tc>
                <a:tc>
                  <a:txBody>
                    <a:bodyPr/>
                    <a:lstStyle/>
                    <a:p>
                      <a:pPr marL="0" lvl="0" algn="ctr" defTabSz="1219170" rtl="0" eaLnBrk="1" fontAlgn="ctr" latinLnBrk="0" hangingPunct="1">
                        <a:buClr>
                          <a:schemeClr val="tx1"/>
                        </a:buClr>
                      </a:pPr>
                      <a:r>
                        <a:rPr lang="en-US" sz="1400" kern="1200" dirty="0">
                          <a:solidFill>
                            <a:schemeClr val="dk1"/>
                          </a:solidFill>
                          <a:latin typeface="+mn-lt"/>
                          <a:ea typeface="+mn-ea"/>
                          <a:cs typeface="+mn-cs"/>
                        </a:rPr>
                        <a:t>40 A</a:t>
                      </a:r>
                    </a:p>
                  </a:txBody>
                  <a:tcPr marL="7144" marR="7144" marT="7144" marB="0"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40N120C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7437294"/>
                  </a:ext>
                </a:extLst>
              </a:tr>
              <a:tr h="249230">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2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fontAlgn="ctr" latinLnBrk="0" hangingPunct="1">
                        <a:buClr>
                          <a:schemeClr val="tx1"/>
                        </a:buClr>
                      </a:pPr>
                      <a:r>
                        <a:rPr lang="en-US" sz="1400" kern="1200" dirty="0">
                          <a:solidFill>
                            <a:schemeClr val="dk1"/>
                          </a:solidFill>
                          <a:latin typeface="+mn-lt"/>
                          <a:ea typeface="+mn-ea"/>
                          <a:cs typeface="+mn-cs"/>
                        </a:rPr>
                        <a:t>50 A</a:t>
                      </a:r>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W50N120C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8609782"/>
                  </a:ext>
                </a:extLst>
              </a:tr>
              <a:tr h="249230">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2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fontAlgn="ctr" latinLnBrk="0" hangingPunct="1">
                        <a:buClr>
                          <a:schemeClr val="tx1"/>
                        </a:buClr>
                      </a:pPr>
                      <a:r>
                        <a:rPr lang="en-US" sz="1400" kern="1200" dirty="0">
                          <a:solidFill>
                            <a:schemeClr val="dk1"/>
                          </a:solidFill>
                          <a:latin typeface="+mn-lt"/>
                          <a:ea typeface="+mn-ea"/>
                          <a:cs typeface="+mn-cs"/>
                        </a:rPr>
                        <a:t>75 A</a:t>
                      </a:r>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Q75N120C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GQ75N120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13333"/>
                  </a:ext>
                </a:extLst>
              </a:tr>
              <a:tr h="249230">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2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fontAlgn="b" latinLnBrk="0" hangingPunct="1">
                        <a:buClr>
                          <a:schemeClr val="tx1"/>
                        </a:buClr>
                      </a:pPr>
                      <a:r>
                        <a:rPr lang="en-US" sz="1400" kern="1200" dirty="0">
                          <a:solidFill>
                            <a:schemeClr val="dk1"/>
                          </a:solidFill>
                          <a:latin typeface="+mn-lt"/>
                          <a:ea typeface="+mn-ea"/>
                          <a:cs typeface="+mn-cs"/>
                        </a:rPr>
                        <a:t>100 A</a:t>
                      </a:r>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 </a:t>
                      </a:r>
                    </a:p>
                  </a:txBody>
                  <a:tcPr marL="12700" marR="12700" marT="12700" marB="0">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Q100N120CS7 </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GQ100N120S7 </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2835515"/>
                  </a:ext>
                </a:extLst>
              </a:tr>
              <a:tr h="249230">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4B6A7">
                        <a:tint val="20000"/>
                      </a:srgbClr>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lvl="0" algn="ctr" defTabSz="1219170" rtl="0" eaLnBrk="1" fontAlgn="b" latinLnBrk="0" hangingPunct="1">
                        <a:buClr>
                          <a:schemeClr val="tx1"/>
                        </a:buClr>
                      </a:pPr>
                      <a:r>
                        <a:rPr lang="en-US" sz="1400" kern="1200" dirty="0">
                          <a:solidFill>
                            <a:schemeClr val="dk1"/>
                          </a:solidFill>
                          <a:latin typeface="+mn-lt"/>
                          <a:ea typeface="+mn-ea"/>
                          <a:cs typeface="+mn-cs"/>
                        </a:rPr>
                        <a:t>120 A</a:t>
                      </a:r>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400" b="0" kern="1200" dirty="0">
                        <a:solidFill>
                          <a:schemeClr val="dk1"/>
                        </a:solidFill>
                        <a:latin typeface="+mn-lt"/>
                        <a:ea typeface="+mn-ea"/>
                        <a:cs typeface="+mn-cs"/>
                      </a:endParaRPr>
                    </a:p>
                  </a:txBody>
                  <a:tcPr marL="12700" marR="12700" marT="12700" marB="0">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KQ120N120C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1800" kern="1200">
                          <a:solidFill>
                            <a:schemeClr val="tx1"/>
                          </a:solidFill>
                          <a:latin typeface="Arial"/>
                          <a:ea typeface="Arial Unicode MS"/>
                          <a:cs typeface="Arial"/>
                        </a:defRPr>
                      </a:lvl1pPr>
                      <a:lvl2pPr marL="609585" algn="l" defTabSz="1219170" rtl="0" eaLnBrk="1" latinLnBrk="0" hangingPunct="1">
                        <a:defRPr sz="1800" kern="1200">
                          <a:solidFill>
                            <a:schemeClr val="tx1"/>
                          </a:solidFill>
                          <a:latin typeface="Arial"/>
                          <a:ea typeface="Arial Unicode MS"/>
                          <a:cs typeface="Arial"/>
                        </a:defRPr>
                      </a:lvl2pPr>
                      <a:lvl3pPr marL="1219170" algn="l" defTabSz="1219170" rtl="0" eaLnBrk="1" latinLnBrk="0" hangingPunct="1">
                        <a:defRPr sz="1800" kern="1200">
                          <a:solidFill>
                            <a:schemeClr val="tx1"/>
                          </a:solidFill>
                          <a:latin typeface="Arial"/>
                          <a:ea typeface="Arial Unicode MS"/>
                          <a:cs typeface="Arial"/>
                        </a:defRPr>
                      </a:lvl3pPr>
                      <a:lvl4pPr marL="1828754" algn="l" defTabSz="1219170" rtl="0" eaLnBrk="1" latinLnBrk="0" hangingPunct="1">
                        <a:defRPr sz="1800" kern="1200">
                          <a:solidFill>
                            <a:schemeClr val="tx1"/>
                          </a:solidFill>
                          <a:latin typeface="Arial"/>
                          <a:ea typeface="Arial Unicode MS"/>
                          <a:cs typeface="Arial"/>
                        </a:defRPr>
                      </a:lvl4pPr>
                      <a:lvl5pPr marL="2438339" algn="l" defTabSz="1219170" rtl="0" eaLnBrk="1" latinLnBrk="0" hangingPunct="1">
                        <a:defRPr sz="1800" kern="1200">
                          <a:solidFill>
                            <a:schemeClr val="tx1"/>
                          </a:solidFill>
                          <a:latin typeface="Arial"/>
                          <a:ea typeface="Arial Unicode MS"/>
                          <a:cs typeface="Arial"/>
                        </a:defRPr>
                      </a:lvl5pPr>
                      <a:lvl6pPr marL="3047924" algn="l" defTabSz="1219170" rtl="0" eaLnBrk="1" latinLnBrk="0" hangingPunct="1">
                        <a:defRPr sz="1800" kern="1200">
                          <a:solidFill>
                            <a:schemeClr val="tx1"/>
                          </a:solidFill>
                          <a:latin typeface="Arial"/>
                          <a:ea typeface="Arial Unicode MS"/>
                          <a:cs typeface="Arial"/>
                        </a:defRPr>
                      </a:lvl6pPr>
                      <a:lvl7pPr marL="3657509" algn="l" defTabSz="1219170" rtl="0" eaLnBrk="1" latinLnBrk="0" hangingPunct="1">
                        <a:defRPr sz="1800" kern="1200">
                          <a:solidFill>
                            <a:schemeClr val="tx1"/>
                          </a:solidFill>
                          <a:latin typeface="Arial"/>
                          <a:ea typeface="Arial Unicode MS"/>
                          <a:cs typeface="Arial"/>
                        </a:defRPr>
                      </a:lvl7pPr>
                      <a:lvl8pPr marL="4267093" algn="l" defTabSz="1219170" rtl="0" eaLnBrk="1" latinLnBrk="0" hangingPunct="1">
                        <a:defRPr sz="1800" kern="1200">
                          <a:solidFill>
                            <a:schemeClr val="tx1"/>
                          </a:solidFill>
                          <a:latin typeface="Arial"/>
                          <a:ea typeface="Arial Unicode MS"/>
                          <a:cs typeface="Arial"/>
                        </a:defRPr>
                      </a:lvl8pPr>
                      <a:lvl9pPr marL="4876678" algn="l" defTabSz="1219170" rtl="0" eaLnBrk="1" latinLnBrk="0" hangingPunct="1">
                        <a:defRPr sz="1800" kern="1200">
                          <a:solidFill>
                            <a:schemeClr val="tx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400" b="0" kern="1200" dirty="0">
                          <a:solidFill>
                            <a:schemeClr val="dk1"/>
                          </a:solidFill>
                          <a:latin typeface="+mn-lt"/>
                          <a:ea typeface="+mn-ea"/>
                          <a:cs typeface="+mn-cs"/>
                        </a:rPr>
                        <a:t>IGQ120N120S7</a:t>
                      </a:r>
                    </a:p>
                  </a:txBody>
                  <a:tcPr marL="0" marR="0" marT="0" marB="0" anchor="b">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8153654"/>
                  </a:ext>
                </a:extLst>
              </a:tr>
            </a:tbl>
          </a:graphicData>
        </a:graphic>
      </p:graphicFrame>
      <p:pic>
        <p:nvPicPr>
          <p:cNvPr id="26" name="Picture 25">
            <a:extLst>
              <a:ext uri="{FF2B5EF4-FFF2-40B4-BE49-F238E27FC236}">
                <a16:creationId xmlns:a16="http://schemas.microsoft.com/office/drawing/2014/main" id="{D4FDFC95-9434-42D8-8F27-144013A281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28485" y="1431532"/>
            <a:ext cx="452621" cy="595554"/>
          </a:xfrm>
          <a:prstGeom prst="rect">
            <a:avLst/>
          </a:prstGeom>
        </p:spPr>
      </p:pic>
      <p:pic>
        <p:nvPicPr>
          <p:cNvPr id="12" name="Picture 11">
            <a:extLst>
              <a:ext uri="{FF2B5EF4-FFF2-40B4-BE49-F238E27FC236}">
                <a16:creationId xmlns:a16="http://schemas.microsoft.com/office/drawing/2014/main" id="{6D99DCBE-B08A-4A60-A626-406B9660AF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64352" y="97185"/>
            <a:ext cx="1171575" cy="1171575"/>
          </a:xfrm>
          <a:prstGeom prst="rect">
            <a:avLst/>
          </a:prstGeom>
        </p:spPr>
      </p:pic>
      <p:pic>
        <p:nvPicPr>
          <p:cNvPr id="4" name="Picture 3">
            <a:extLst>
              <a:ext uri="{FF2B5EF4-FFF2-40B4-BE49-F238E27FC236}">
                <a16:creationId xmlns:a16="http://schemas.microsoft.com/office/drawing/2014/main" id="{AA305118-97E7-4646-93B4-C6EEE30CA1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45307" y="1431532"/>
            <a:ext cx="452622" cy="595555"/>
          </a:xfrm>
          <a:prstGeom prst="rect">
            <a:avLst/>
          </a:prstGeom>
        </p:spPr>
      </p:pic>
      <p:pic>
        <p:nvPicPr>
          <p:cNvPr id="6" name="Picture 5">
            <a:extLst>
              <a:ext uri="{FF2B5EF4-FFF2-40B4-BE49-F238E27FC236}">
                <a16:creationId xmlns:a16="http://schemas.microsoft.com/office/drawing/2014/main" id="{BA06AD0C-AD13-43B3-98A1-9917DF92C0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11429" y="1642984"/>
            <a:ext cx="341849" cy="395508"/>
          </a:xfrm>
          <a:prstGeom prst="rect">
            <a:avLst/>
          </a:prstGeom>
        </p:spPr>
      </p:pic>
      <p:pic>
        <p:nvPicPr>
          <p:cNvPr id="10" name="Picture 9">
            <a:extLst>
              <a:ext uri="{FF2B5EF4-FFF2-40B4-BE49-F238E27FC236}">
                <a16:creationId xmlns:a16="http://schemas.microsoft.com/office/drawing/2014/main" id="{28C1493C-E1CC-41E7-BD15-DE57FD380C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02101" y="1648441"/>
            <a:ext cx="354186" cy="395508"/>
          </a:xfrm>
          <a:prstGeom prst="rect">
            <a:avLst/>
          </a:prstGeom>
        </p:spPr>
      </p:pic>
      <p:pic>
        <p:nvPicPr>
          <p:cNvPr id="2" name="Picture 1">
            <a:extLst>
              <a:ext uri="{FF2B5EF4-FFF2-40B4-BE49-F238E27FC236}">
                <a16:creationId xmlns:a16="http://schemas.microsoft.com/office/drawing/2014/main" id="{F977B814-043B-CA59-98A5-E70446FD77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8071" y="1431530"/>
            <a:ext cx="452620" cy="595553"/>
          </a:xfrm>
          <a:prstGeom prst="rect">
            <a:avLst/>
          </a:prstGeom>
        </p:spPr>
      </p:pic>
    </p:spTree>
    <p:extLst>
      <p:ext uri="{BB962C8B-B14F-4D97-AF65-F5344CB8AC3E}">
        <p14:creationId xmlns:p14="http://schemas.microsoft.com/office/powerpoint/2010/main" val="619905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p:cNvSpPr>
            <a:spLocks noGrp="1"/>
          </p:cNvSpPr>
          <p:nvPr>
            <p:ph type="title" hasCustomPrompt="1"/>
          </p:nvPr>
        </p:nvSpPr>
        <p:spPr/>
        <p:txBody>
          <a:bodyPr/>
          <a:lstStyle/>
          <a:p>
            <a:r>
              <a:rPr lang="de-AT" dirty="0"/>
              <a:t>TRENCHSTOP</a:t>
            </a:r>
            <a:r>
              <a:rPr lang="de-AT" baseline="30000" dirty="0"/>
              <a:t>TM</a:t>
            </a:r>
            <a:r>
              <a:rPr lang="de-AT" dirty="0"/>
              <a:t> IGBT7</a:t>
            </a:r>
            <a:r>
              <a:rPr lang="sl-SI" dirty="0"/>
              <a:t> T7/S7</a:t>
            </a:r>
            <a:r>
              <a:rPr lang="de-AT" dirty="0"/>
              <a:t> family</a:t>
            </a:r>
            <a:br>
              <a:rPr lang="sl-SI" dirty="0"/>
            </a:br>
            <a:r>
              <a:rPr lang="sl-SI" b="0" dirty="0"/>
              <a:t>for </a:t>
            </a:r>
            <a:r>
              <a:rPr lang="de-AT" b="0" dirty="0"/>
              <a:t>a</a:t>
            </a:r>
            <a:r>
              <a:rPr lang="sl-SI" b="0" dirty="0"/>
              <a:t>pplications where </a:t>
            </a:r>
            <a:r>
              <a:rPr lang="de-DE" b="0" dirty="0"/>
              <a:t>s</a:t>
            </a:r>
            <a:r>
              <a:rPr lang="sl-SI" b="0" dirty="0"/>
              <a:t>hort </a:t>
            </a:r>
            <a:r>
              <a:rPr lang="de-DE" b="0" dirty="0"/>
              <a:t>c</a:t>
            </a:r>
            <a:r>
              <a:rPr lang="sl-SI" b="0" dirty="0"/>
              <a:t>ircuit is required (e.g. Motor Drive)</a:t>
            </a:r>
            <a:endParaRPr lang="de-AT" baseline="30000" dirty="0"/>
          </a:p>
        </p:txBody>
      </p:sp>
      <p:sp>
        <p:nvSpPr>
          <p:cNvPr id="51" name="Rectangle 50">
            <a:extLst>
              <a:ext uri="{FF2B5EF4-FFF2-40B4-BE49-F238E27FC236}">
                <a16:creationId xmlns:a16="http://schemas.microsoft.com/office/drawing/2014/main" id="{2C096474-97B9-1811-0088-DE19422C1E75}"/>
              </a:ext>
            </a:extLst>
          </p:cNvPr>
          <p:cNvSpPr/>
          <p:nvPr>
            <p:custDataLst>
              <p:tags r:id="rId2"/>
            </p:custDataLst>
          </p:nvPr>
        </p:nvSpPr>
        <p:spPr bwMode="auto">
          <a:xfrm>
            <a:off x="2089969" y="1329211"/>
            <a:ext cx="1975643"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Value Proposition</a:t>
            </a:r>
          </a:p>
        </p:txBody>
      </p:sp>
      <p:sp>
        <p:nvSpPr>
          <p:cNvPr id="52" name="Rectangle 51">
            <a:extLst>
              <a:ext uri="{FF2B5EF4-FFF2-40B4-BE49-F238E27FC236}">
                <a16:creationId xmlns:a16="http://schemas.microsoft.com/office/drawing/2014/main" id="{BD298039-6708-3315-7EB9-46A234398EA4}"/>
              </a:ext>
            </a:extLst>
          </p:cNvPr>
          <p:cNvSpPr/>
          <p:nvPr>
            <p:custDataLst>
              <p:tags r:id="rId3"/>
            </p:custDataLst>
          </p:nvPr>
        </p:nvSpPr>
        <p:spPr bwMode="auto">
          <a:xfrm>
            <a:off x="4374028" y="2726867"/>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Minimize system design size</a:t>
            </a:r>
          </a:p>
        </p:txBody>
      </p:sp>
      <p:sp>
        <p:nvSpPr>
          <p:cNvPr id="53" name="Rectangle 52">
            <a:extLst>
              <a:ext uri="{FF2B5EF4-FFF2-40B4-BE49-F238E27FC236}">
                <a16:creationId xmlns:a16="http://schemas.microsoft.com/office/drawing/2014/main" id="{035F2719-5C9D-2AD4-D6EE-17F1827176B2}"/>
              </a:ext>
            </a:extLst>
          </p:cNvPr>
          <p:cNvSpPr/>
          <p:nvPr>
            <p:custDataLst>
              <p:tags r:id="rId4"/>
            </p:custDataLst>
          </p:nvPr>
        </p:nvSpPr>
        <p:spPr bwMode="auto">
          <a:xfrm>
            <a:off x="1991544" y="2762256"/>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Power Density</a:t>
            </a:r>
            <a:endParaRPr lang="en-US" dirty="0">
              <a:solidFill>
                <a:srgbClr val="FFFFFF"/>
              </a:solidFill>
              <a:latin typeface="Arial" panose="020B0604020202020204" pitchFamily="34" charset="0"/>
              <a:ea typeface="Verdana" pitchFamily="34" charset="0"/>
              <a:cs typeface="Arial" panose="020B0604020202020204" pitchFamily="34" charset="0"/>
            </a:endParaRPr>
          </a:p>
        </p:txBody>
      </p:sp>
      <p:sp>
        <p:nvSpPr>
          <p:cNvPr id="55" name="Rectangle 54">
            <a:extLst>
              <a:ext uri="{FF2B5EF4-FFF2-40B4-BE49-F238E27FC236}">
                <a16:creationId xmlns:a16="http://schemas.microsoft.com/office/drawing/2014/main" id="{CB57C2FB-EEAB-42CD-0651-40A4A99472FC}"/>
              </a:ext>
            </a:extLst>
          </p:cNvPr>
          <p:cNvSpPr/>
          <p:nvPr>
            <p:custDataLst>
              <p:tags r:id="rId5"/>
            </p:custDataLst>
          </p:nvPr>
        </p:nvSpPr>
        <p:spPr bwMode="auto">
          <a:xfrm>
            <a:off x="7392119" y="2726867"/>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de-AT" dirty="0">
                <a:solidFill>
                  <a:srgbClr val="000000"/>
                </a:solidFill>
                <a:latin typeface="Arial" panose="020B0604020202020204" pitchFamily="34" charset="0"/>
                <a:ea typeface="Verdana" pitchFamily="34" charset="0"/>
                <a:cs typeface="Arial" panose="020B0604020202020204" pitchFamily="34" charset="0"/>
              </a:rPr>
              <a:t>3A-15A in </a:t>
            </a:r>
            <a:r>
              <a:rPr lang="de-AT" b="1" dirty="0">
                <a:solidFill>
                  <a:srgbClr val="000000"/>
                </a:solidFill>
                <a:latin typeface="Arial" panose="020B0604020202020204" pitchFamily="34" charset="0"/>
                <a:ea typeface="Verdana" pitchFamily="34" charset="0"/>
                <a:cs typeface="Arial" panose="020B0604020202020204" pitchFamily="34" charset="0"/>
              </a:rPr>
              <a:t>small DPAK and D2PAK </a:t>
            </a:r>
            <a:r>
              <a:rPr lang="de-AT" dirty="0">
                <a:solidFill>
                  <a:srgbClr val="000000"/>
                </a:solidFill>
                <a:latin typeface="Arial" panose="020B0604020202020204" pitchFamily="34" charset="0"/>
                <a:ea typeface="Verdana" pitchFamily="34" charset="0"/>
                <a:cs typeface="Arial" panose="020B0604020202020204" pitchFamily="34" charset="0"/>
              </a:rPr>
              <a:t>or up to 120A in TO-247PLUS package  </a:t>
            </a:r>
            <a:endParaRPr kumimoji="0" lang="en-US" sz="1400" b="0" i="0" u="none" strike="noStrike" kern="1200" cap="none" spc="0" normalizeH="0" baseline="-2500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56" name="Rectangle 55">
            <a:extLst>
              <a:ext uri="{FF2B5EF4-FFF2-40B4-BE49-F238E27FC236}">
                <a16:creationId xmlns:a16="http://schemas.microsoft.com/office/drawing/2014/main" id="{491B4691-6F7F-D559-92D1-2AD67B0C871D}"/>
              </a:ext>
            </a:extLst>
          </p:cNvPr>
          <p:cNvSpPr/>
          <p:nvPr>
            <p:custDataLst>
              <p:tags r:id="rId6"/>
            </p:custDataLst>
          </p:nvPr>
        </p:nvSpPr>
        <p:spPr bwMode="auto">
          <a:xfrm>
            <a:off x="4367808" y="3684464"/>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sl-SI" b="1" dirty="0">
                <a:solidFill>
                  <a:srgbClr val="1D1D1D"/>
                </a:solidFill>
                <a:latin typeface="Arial" panose="020B0604020202020204" pitchFamily="34" charset="0"/>
                <a:ea typeface="Verdana" pitchFamily="34" charset="0"/>
                <a:cs typeface="Arial" panose="020B0604020202020204" pitchFamily="34" charset="0"/>
              </a:rPr>
              <a:t>More output current, lower case temperature</a:t>
            </a:r>
            <a:endParaRPr lang="en-US" b="1" dirty="0">
              <a:solidFill>
                <a:srgbClr val="1D1D1D"/>
              </a:solidFill>
              <a:latin typeface="Arial" panose="020B0604020202020204" pitchFamily="34" charset="0"/>
              <a:ea typeface="Verdana" pitchFamily="34" charset="0"/>
              <a:cs typeface="Arial" panose="020B0604020202020204" pitchFamily="34" charset="0"/>
            </a:endParaRPr>
          </a:p>
        </p:txBody>
      </p:sp>
      <p:sp>
        <p:nvSpPr>
          <p:cNvPr id="57" name="Rectangle 56">
            <a:extLst>
              <a:ext uri="{FF2B5EF4-FFF2-40B4-BE49-F238E27FC236}">
                <a16:creationId xmlns:a16="http://schemas.microsoft.com/office/drawing/2014/main" id="{882250A6-281A-6F7F-4A96-831499669924}"/>
              </a:ext>
            </a:extLst>
          </p:cNvPr>
          <p:cNvSpPr/>
          <p:nvPr>
            <p:custDataLst>
              <p:tags r:id="rId7"/>
            </p:custDataLst>
          </p:nvPr>
        </p:nvSpPr>
        <p:spPr bwMode="auto">
          <a:xfrm>
            <a:off x="1991544" y="3684462"/>
            <a:ext cx="2287885" cy="709855"/>
          </a:xfrm>
          <a:prstGeom prst="rect">
            <a:avLst/>
          </a:prstGeom>
          <a:solidFill>
            <a:schemeClr val="tx2"/>
          </a:solidFill>
          <a:ln w="19050">
            <a:noFill/>
            <a:miter lim="800000"/>
            <a:headEnd/>
            <a:tailEnd/>
          </a:ln>
          <a:effectLst/>
        </p:spPr>
        <p:txBody>
          <a:bodyPr wrap="square" lIns="18000" tIns="36000" rIns="18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Efficiency</a:t>
            </a:r>
          </a:p>
        </p:txBody>
      </p:sp>
      <p:sp>
        <p:nvSpPr>
          <p:cNvPr id="58" name="Rectangle 57">
            <a:extLst>
              <a:ext uri="{FF2B5EF4-FFF2-40B4-BE49-F238E27FC236}">
                <a16:creationId xmlns:a16="http://schemas.microsoft.com/office/drawing/2014/main" id="{05E837AA-ED8F-0693-DAB2-8EB9F1D35914}"/>
              </a:ext>
            </a:extLst>
          </p:cNvPr>
          <p:cNvSpPr/>
          <p:nvPr>
            <p:custDataLst>
              <p:tags r:id="rId8"/>
            </p:custDataLst>
          </p:nvPr>
        </p:nvSpPr>
        <p:spPr bwMode="auto">
          <a:xfrm>
            <a:off x="7392119" y="3608909"/>
            <a:ext cx="4398643" cy="860963"/>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000000"/>
                </a:solidFill>
                <a:latin typeface="Arial" panose="020B0604020202020204" pitchFamily="34" charset="0"/>
                <a:ea typeface="Verdana" pitchFamily="34" charset="0"/>
                <a:cs typeface="Arial" panose="020B0604020202020204" pitchFamily="34" charset="0"/>
              </a:rPr>
              <a:t>Lowest power losses </a:t>
            </a:r>
            <a:r>
              <a:rPr lang="de-AT" dirty="0">
                <a:solidFill>
                  <a:srgbClr val="000000"/>
                </a:solidFill>
                <a:latin typeface="Arial" panose="020B0604020202020204" pitchFamily="34" charset="0"/>
                <a:ea typeface="Verdana" pitchFamily="34" charset="0"/>
                <a:cs typeface="Arial" panose="020B0604020202020204" pitchFamily="34" charset="0"/>
              </a:rPr>
              <a:t>across short-circuit rated devices</a:t>
            </a:r>
            <a:endParaRPr lang="en-US" dirty="0">
              <a:solidFill>
                <a:srgbClr val="000000"/>
              </a:solidFill>
              <a:latin typeface="Arial" panose="020B0604020202020204" pitchFamily="34" charset="0"/>
              <a:ea typeface="Verdana" pitchFamily="34" charset="0"/>
              <a:cs typeface="Arial" panose="020B0604020202020204" pitchFamily="34" charset="0"/>
            </a:endParaRPr>
          </a:p>
        </p:txBody>
      </p:sp>
      <p:sp>
        <p:nvSpPr>
          <p:cNvPr id="60" name="Rectangle 59">
            <a:extLst>
              <a:ext uri="{FF2B5EF4-FFF2-40B4-BE49-F238E27FC236}">
                <a16:creationId xmlns:a16="http://schemas.microsoft.com/office/drawing/2014/main" id="{7C647FEF-707B-0C68-29ED-1642FEC37034}"/>
              </a:ext>
            </a:extLst>
          </p:cNvPr>
          <p:cNvSpPr/>
          <p:nvPr>
            <p:custDataLst>
              <p:tags r:id="rId9"/>
            </p:custDataLst>
          </p:nvPr>
        </p:nvSpPr>
        <p:spPr bwMode="auto">
          <a:xfrm>
            <a:off x="4375871" y="4613451"/>
            <a:ext cx="2732864" cy="790634"/>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Best system performance and good price/performance ratio </a:t>
            </a:r>
          </a:p>
        </p:txBody>
      </p:sp>
      <p:sp>
        <p:nvSpPr>
          <p:cNvPr id="61" name="Rectangle 60">
            <a:extLst>
              <a:ext uri="{FF2B5EF4-FFF2-40B4-BE49-F238E27FC236}">
                <a16:creationId xmlns:a16="http://schemas.microsoft.com/office/drawing/2014/main" id="{8A3E1144-9728-739C-D7F8-D38864BFC6B6}"/>
              </a:ext>
            </a:extLst>
          </p:cNvPr>
          <p:cNvSpPr/>
          <p:nvPr>
            <p:custDataLst>
              <p:tags r:id="rId10"/>
            </p:custDataLst>
          </p:nvPr>
        </p:nvSpPr>
        <p:spPr bwMode="auto">
          <a:xfrm>
            <a:off x="1991544" y="4613450"/>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System cost</a:t>
            </a: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endParaRPr>
          </a:p>
        </p:txBody>
      </p:sp>
      <p:sp>
        <p:nvSpPr>
          <p:cNvPr id="62" name="Rectangle 61">
            <a:extLst>
              <a:ext uri="{FF2B5EF4-FFF2-40B4-BE49-F238E27FC236}">
                <a16:creationId xmlns:a16="http://schemas.microsoft.com/office/drawing/2014/main" id="{384068C6-CEBC-3B05-5C04-BEA34832B2E4}"/>
              </a:ext>
            </a:extLst>
          </p:cNvPr>
          <p:cNvSpPr/>
          <p:nvPr>
            <p:custDataLst>
              <p:tags r:id="rId11"/>
            </p:custDataLst>
          </p:nvPr>
        </p:nvSpPr>
        <p:spPr bwMode="auto">
          <a:xfrm>
            <a:off x="7392119" y="4631379"/>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1D1D1D"/>
                </a:solidFill>
                <a:latin typeface="Arial" panose="020B0604020202020204" pitchFamily="34" charset="0"/>
                <a:ea typeface="Verdana" pitchFamily="34" charset="0"/>
                <a:cs typeface="Arial" panose="020B0604020202020204" pitchFamily="34" charset="0"/>
              </a:rPr>
              <a:t>The ultimate choice for robust performance </a:t>
            </a:r>
          </a:p>
        </p:txBody>
      </p:sp>
      <p:sp>
        <p:nvSpPr>
          <p:cNvPr id="64" name="Rectangle 63">
            <a:extLst>
              <a:ext uri="{FF2B5EF4-FFF2-40B4-BE49-F238E27FC236}">
                <a16:creationId xmlns:a16="http://schemas.microsoft.com/office/drawing/2014/main" id="{4830679A-6278-8875-AC03-F277F3E74F15}"/>
              </a:ext>
            </a:extLst>
          </p:cNvPr>
          <p:cNvSpPr/>
          <p:nvPr>
            <p:custDataLst>
              <p:tags r:id="rId12"/>
            </p:custDataLst>
          </p:nvPr>
        </p:nvSpPr>
        <p:spPr bwMode="auto">
          <a:xfrm>
            <a:off x="4367808" y="5524101"/>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Extra reliability, even in high-humidity environment</a:t>
            </a:r>
          </a:p>
        </p:txBody>
      </p:sp>
      <p:sp>
        <p:nvSpPr>
          <p:cNvPr id="65" name="Rectangle 64">
            <a:extLst>
              <a:ext uri="{FF2B5EF4-FFF2-40B4-BE49-F238E27FC236}">
                <a16:creationId xmlns:a16="http://schemas.microsoft.com/office/drawing/2014/main" id="{17D9B137-7767-ADEA-EEA2-BE93ABFCB48A}"/>
              </a:ext>
            </a:extLst>
          </p:cNvPr>
          <p:cNvSpPr/>
          <p:nvPr>
            <p:custDataLst>
              <p:tags r:id="rId13"/>
            </p:custDataLst>
          </p:nvPr>
        </p:nvSpPr>
        <p:spPr bwMode="auto">
          <a:xfrm>
            <a:off x="1991544" y="5524101"/>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rPr>
              <a:t>Quality</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endParaRPr>
          </a:p>
        </p:txBody>
      </p:sp>
      <p:sp>
        <p:nvSpPr>
          <p:cNvPr id="66" name="Rectangle 65">
            <a:extLst>
              <a:ext uri="{FF2B5EF4-FFF2-40B4-BE49-F238E27FC236}">
                <a16:creationId xmlns:a16="http://schemas.microsoft.com/office/drawing/2014/main" id="{BD8074BB-E3BF-DB47-5CBD-AA259080FB1A}"/>
              </a:ext>
            </a:extLst>
          </p:cNvPr>
          <p:cNvSpPr/>
          <p:nvPr>
            <p:custDataLst>
              <p:tags r:id="rId14"/>
            </p:custDataLst>
          </p:nvPr>
        </p:nvSpPr>
        <p:spPr bwMode="auto">
          <a:xfrm>
            <a:off x="7392119" y="5524102"/>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000000"/>
                </a:solidFill>
                <a:latin typeface="Arial" panose="020B0604020202020204" pitchFamily="34" charset="0"/>
                <a:ea typeface="Verdana" pitchFamily="34" charset="0"/>
                <a:cs typeface="Arial" panose="020B0604020202020204" pitchFamily="34" charset="0"/>
              </a:rPr>
              <a:t>Qualified by JEDEC standard for HV-H3TRB</a:t>
            </a:r>
            <a:r>
              <a:rPr lang="en-US" baseline="30000" dirty="0">
                <a:solidFill>
                  <a:srgbClr val="000000"/>
                </a:solidFill>
                <a:latin typeface="Arial" panose="020B0604020202020204" pitchFamily="34" charset="0"/>
                <a:ea typeface="Verdana" pitchFamily="34" charset="0"/>
                <a:cs typeface="Arial" panose="020B0604020202020204" pitchFamily="34" charset="0"/>
              </a:rPr>
              <a:t>1</a:t>
            </a:r>
          </a:p>
        </p:txBody>
      </p:sp>
      <p:sp>
        <p:nvSpPr>
          <p:cNvPr id="68" name="Rectangle 67">
            <a:extLst>
              <a:ext uri="{FF2B5EF4-FFF2-40B4-BE49-F238E27FC236}">
                <a16:creationId xmlns:a16="http://schemas.microsoft.com/office/drawing/2014/main" id="{2BA91057-B337-7B21-2C17-253F36A1288B}"/>
              </a:ext>
            </a:extLst>
          </p:cNvPr>
          <p:cNvSpPr/>
          <p:nvPr>
            <p:custDataLst>
              <p:tags r:id="rId15"/>
            </p:custDataLst>
          </p:nvPr>
        </p:nvSpPr>
        <p:spPr bwMode="auto">
          <a:xfrm>
            <a:off x="4367808" y="1877809"/>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Ease of design for EMI compliance</a:t>
            </a:r>
          </a:p>
        </p:txBody>
      </p:sp>
      <p:sp>
        <p:nvSpPr>
          <p:cNvPr id="69" name="Rectangle 68">
            <a:extLst>
              <a:ext uri="{FF2B5EF4-FFF2-40B4-BE49-F238E27FC236}">
                <a16:creationId xmlns:a16="http://schemas.microsoft.com/office/drawing/2014/main" id="{F3803D74-7E2B-15F2-9C9B-FDF0A1A03153}"/>
              </a:ext>
            </a:extLst>
          </p:cNvPr>
          <p:cNvSpPr/>
          <p:nvPr>
            <p:custDataLst>
              <p:tags r:id="rId16"/>
            </p:custDataLst>
          </p:nvPr>
        </p:nvSpPr>
        <p:spPr bwMode="auto">
          <a:xfrm>
            <a:off x="1991544" y="1863161"/>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Ease of Use</a:t>
            </a:r>
          </a:p>
        </p:txBody>
      </p:sp>
      <p:sp>
        <p:nvSpPr>
          <p:cNvPr id="70" name="Rectangle 69">
            <a:extLst>
              <a:ext uri="{FF2B5EF4-FFF2-40B4-BE49-F238E27FC236}">
                <a16:creationId xmlns:a16="http://schemas.microsoft.com/office/drawing/2014/main" id="{DFA320B2-B583-3A71-A62E-29F68DAF41EC}"/>
              </a:ext>
            </a:extLst>
          </p:cNvPr>
          <p:cNvSpPr/>
          <p:nvPr>
            <p:custDataLst>
              <p:tags r:id="rId17"/>
            </p:custDataLst>
          </p:nvPr>
        </p:nvSpPr>
        <p:spPr bwMode="auto">
          <a:xfrm>
            <a:off x="7392119" y="1844824"/>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sl-SI" dirty="0">
                <a:solidFill>
                  <a:srgbClr val="000000"/>
                </a:solidFill>
                <a:latin typeface="Arial" panose="020B0604020202020204" pitchFamily="34" charset="0"/>
                <a:ea typeface="Verdana" pitchFamily="34" charset="0"/>
                <a:cs typeface="Arial" panose="020B0604020202020204" pitchFamily="34" charset="0"/>
              </a:rPr>
              <a:t>F</a:t>
            </a:r>
            <a:r>
              <a:rPr lang="en-US" dirty="0" err="1">
                <a:solidFill>
                  <a:srgbClr val="000000"/>
                </a:solidFill>
                <a:latin typeface="Arial" panose="020B0604020202020204" pitchFamily="34" charset="0"/>
                <a:ea typeface="Verdana" pitchFamily="34" charset="0"/>
                <a:cs typeface="Arial" panose="020B0604020202020204" pitchFamily="34" charset="0"/>
              </a:rPr>
              <a:t>ine</a:t>
            </a:r>
            <a:r>
              <a:rPr lang="en-US" dirty="0">
                <a:solidFill>
                  <a:srgbClr val="000000"/>
                </a:solidFill>
                <a:latin typeface="Arial" panose="020B0604020202020204" pitchFamily="34" charset="0"/>
                <a:ea typeface="Verdana" pitchFamily="34" charset="0"/>
                <a:cs typeface="Arial" panose="020B0604020202020204" pitchFamily="34" charset="0"/>
              </a:rPr>
              <a:t> controllability with a rugged transient.</a:t>
            </a:r>
            <a:r>
              <a:rPr lang="sl-SI" dirty="0">
                <a:solidFill>
                  <a:srgbClr val="000000"/>
                </a:solidFill>
                <a:latin typeface="Arial" panose="020B0604020202020204" pitchFamily="34" charset="0"/>
                <a:ea typeface="Verdana" pitchFamily="34" charset="0"/>
                <a:cs typeface="Arial" panose="020B0604020202020204" pitchFamily="34" charset="0"/>
              </a:rPr>
              <a:t> </a:t>
            </a:r>
            <a:endParaRPr lang="de-AT" dirty="0">
              <a:solidFill>
                <a:srgbClr val="000000"/>
              </a:solidFill>
              <a:latin typeface="Arial" panose="020B0604020202020204" pitchFamily="34" charset="0"/>
              <a:ea typeface="Verdana" pitchFamily="34" charset="0"/>
              <a:cs typeface="Arial" panose="020B0604020202020204" pitchFamily="34" charset="0"/>
            </a:endParaRPr>
          </a:p>
          <a:p>
            <a:pPr lvl="0" defTabSz="1219080" eaLnBrk="0" hangingPunct="0">
              <a:buClr>
                <a:srgbClr val="000000"/>
              </a:buClr>
              <a:defRPr/>
            </a:pPr>
            <a:r>
              <a:rPr lang="de-AT" b="1" dirty="0">
                <a:solidFill>
                  <a:srgbClr val="000000"/>
                </a:solidFill>
                <a:latin typeface="Arial" panose="020B0604020202020204" pitchFamily="34" charset="0"/>
                <a:ea typeface="Verdana" pitchFamily="34" charset="0"/>
                <a:cs typeface="Arial" panose="020B0604020202020204" pitchFamily="34" charset="0"/>
              </a:rPr>
              <a:t>Short circuit </a:t>
            </a:r>
            <a:r>
              <a:rPr lang="de-AT" dirty="0">
                <a:solidFill>
                  <a:srgbClr val="000000"/>
                </a:solidFill>
                <a:latin typeface="Arial" panose="020B0604020202020204" pitchFamily="34" charset="0"/>
                <a:ea typeface="Verdana" pitchFamily="34" charset="0"/>
                <a:cs typeface="Arial" panose="020B0604020202020204" pitchFamily="34" charset="0"/>
              </a:rPr>
              <a:t>withstand time 3 - </a:t>
            </a:r>
            <a:r>
              <a:rPr lang="de-AT" b="1" dirty="0">
                <a:solidFill>
                  <a:srgbClr val="000000"/>
                </a:solidFill>
                <a:latin typeface="Arial" panose="020B0604020202020204" pitchFamily="34" charset="0"/>
                <a:ea typeface="Verdana" pitchFamily="34" charset="0"/>
                <a:cs typeface="Arial" panose="020B0604020202020204" pitchFamily="34" charset="0"/>
              </a:rPr>
              <a:t>8µs</a:t>
            </a:r>
            <a:endParaRPr lang="en-US" b="1" dirty="0">
              <a:solidFill>
                <a:srgbClr val="000000"/>
              </a:solidFill>
              <a:latin typeface="Arial" panose="020B0604020202020204" pitchFamily="34" charset="0"/>
              <a:ea typeface="Verdana" pitchFamily="34" charset="0"/>
              <a:cs typeface="Arial" panose="020B0604020202020204" pitchFamily="34" charset="0"/>
            </a:endParaRPr>
          </a:p>
        </p:txBody>
      </p:sp>
      <p:sp>
        <p:nvSpPr>
          <p:cNvPr id="72" name="Rectangle 71">
            <a:extLst>
              <a:ext uri="{FF2B5EF4-FFF2-40B4-BE49-F238E27FC236}">
                <a16:creationId xmlns:a16="http://schemas.microsoft.com/office/drawing/2014/main" id="{9F195FB2-9FDF-E75F-6CB8-9317F53842C7}"/>
              </a:ext>
            </a:extLst>
          </p:cNvPr>
          <p:cNvSpPr/>
          <p:nvPr>
            <p:custDataLst>
              <p:tags r:id="rId18"/>
            </p:custDataLst>
          </p:nvPr>
        </p:nvSpPr>
        <p:spPr bwMode="auto">
          <a:xfrm>
            <a:off x="1991544" y="1628800"/>
            <a:ext cx="2287885"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3" name="Rectangle 72">
            <a:extLst>
              <a:ext uri="{FF2B5EF4-FFF2-40B4-BE49-F238E27FC236}">
                <a16:creationId xmlns:a16="http://schemas.microsoft.com/office/drawing/2014/main" id="{0598B941-C751-A6EB-5DF6-48F078809866}"/>
              </a:ext>
            </a:extLst>
          </p:cNvPr>
          <p:cNvSpPr/>
          <p:nvPr>
            <p:custDataLst>
              <p:tags r:id="rId19"/>
            </p:custDataLst>
          </p:nvPr>
        </p:nvSpPr>
        <p:spPr bwMode="auto">
          <a:xfrm>
            <a:off x="4764997" y="1323036"/>
            <a:ext cx="1975643"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Customer benefits </a:t>
            </a:r>
          </a:p>
        </p:txBody>
      </p:sp>
      <p:sp>
        <p:nvSpPr>
          <p:cNvPr id="74" name="Rectangle 73">
            <a:extLst>
              <a:ext uri="{FF2B5EF4-FFF2-40B4-BE49-F238E27FC236}">
                <a16:creationId xmlns:a16="http://schemas.microsoft.com/office/drawing/2014/main" id="{59D20D10-D92F-6A8C-FF56-14BCFE21CF3C}"/>
              </a:ext>
            </a:extLst>
          </p:cNvPr>
          <p:cNvSpPr/>
          <p:nvPr>
            <p:custDataLst>
              <p:tags r:id="rId20"/>
            </p:custDataLst>
          </p:nvPr>
        </p:nvSpPr>
        <p:spPr bwMode="auto">
          <a:xfrm>
            <a:off x="4613079" y="1628800"/>
            <a:ext cx="2287885"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5" name="Rectangle 74">
            <a:extLst>
              <a:ext uri="{FF2B5EF4-FFF2-40B4-BE49-F238E27FC236}">
                <a16:creationId xmlns:a16="http://schemas.microsoft.com/office/drawing/2014/main" id="{77900CF4-4805-15FA-219D-D732EC697374}"/>
              </a:ext>
            </a:extLst>
          </p:cNvPr>
          <p:cNvSpPr/>
          <p:nvPr>
            <p:custDataLst>
              <p:tags r:id="rId21"/>
            </p:custDataLst>
          </p:nvPr>
        </p:nvSpPr>
        <p:spPr bwMode="auto">
          <a:xfrm>
            <a:off x="7392118" y="1322011"/>
            <a:ext cx="4301769"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Product features</a:t>
            </a:r>
          </a:p>
        </p:txBody>
      </p:sp>
      <p:sp>
        <p:nvSpPr>
          <p:cNvPr id="76" name="Rectangle 75">
            <a:extLst>
              <a:ext uri="{FF2B5EF4-FFF2-40B4-BE49-F238E27FC236}">
                <a16:creationId xmlns:a16="http://schemas.microsoft.com/office/drawing/2014/main" id="{DECFFC99-3957-94C3-6713-59DEC03F4F7C}"/>
              </a:ext>
            </a:extLst>
          </p:cNvPr>
          <p:cNvSpPr/>
          <p:nvPr>
            <p:custDataLst>
              <p:tags r:id="rId22"/>
            </p:custDataLst>
          </p:nvPr>
        </p:nvSpPr>
        <p:spPr bwMode="auto">
          <a:xfrm>
            <a:off x="7386491" y="1624477"/>
            <a:ext cx="4301769"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16" name="Rectangle 15">
            <a:extLst>
              <a:ext uri="{FF2B5EF4-FFF2-40B4-BE49-F238E27FC236}">
                <a16:creationId xmlns:a16="http://schemas.microsoft.com/office/drawing/2014/main" id="{9D0F0547-4A62-D6E6-0651-4C20A89BB285}"/>
              </a:ext>
            </a:extLst>
          </p:cNvPr>
          <p:cNvSpPr/>
          <p:nvPr>
            <p:custDataLst>
              <p:tags r:id="rId23"/>
            </p:custDataLst>
          </p:nvPr>
        </p:nvSpPr>
        <p:spPr bwMode="auto">
          <a:xfrm>
            <a:off x="709687" y="3493540"/>
            <a:ext cx="1104159" cy="216000"/>
          </a:xfrm>
          <a:prstGeom prst="rect">
            <a:avLst/>
          </a:prstGeom>
          <a:solidFill>
            <a:schemeClr val="accent4"/>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65</a:t>
            </a:r>
            <a:r>
              <a:rPr kumimoji="0" lang="en-US" sz="1100" b="0" i="0" u="none" strike="noStrike" kern="1200" cap="none" spc="0" normalizeH="0" baseline="0" noProof="0" dirty="0">
                <a:ln>
                  <a:noFill/>
                </a:ln>
                <a:solidFill>
                  <a:srgbClr val="1D1D1D"/>
                </a:solidFill>
                <a:effectLst/>
                <a:uLnTx/>
                <a:uFillTx/>
                <a:latin typeface="Arial"/>
                <a:ea typeface="+mn-ea"/>
                <a:cs typeface="Arial"/>
              </a:rPr>
              <a:t>0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4" name="Rectangle 23">
            <a:extLst>
              <a:ext uri="{FF2B5EF4-FFF2-40B4-BE49-F238E27FC236}">
                <a16:creationId xmlns:a16="http://schemas.microsoft.com/office/drawing/2014/main" id="{47AE2087-2C51-E68D-C5CD-2D38CF5A60CC}"/>
              </a:ext>
            </a:extLst>
          </p:cNvPr>
          <p:cNvSpPr/>
          <p:nvPr>
            <p:custDataLst>
              <p:tags r:id="rId24"/>
            </p:custDataLst>
          </p:nvPr>
        </p:nvSpPr>
        <p:spPr bwMode="auto">
          <a:xfrm>
            <a:off x="705253" y="6093320"/>
            <a:ext cx="1108593"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sl-SI" sz="1100" b="0" i="0" u="none" strike="noStrike" kern="1200" cap="none" spc="0" normalizeH="0" baseline="0" noProof="0" dirty="0">
                <a:ln>
                  <a:noFill/>
                </a:ln>
                <a:solidFill>
                  <a:srgbClr val="1D1D1D"/>
                </a:solidFill>
                <a:effectLst/>
                <a:uLnTx/>
                <a:uFillTx/>
                <a:latin typeface="Arial"/>
                <a:cs typeface="Arial"/>
              </a:rPr>
              <a:t>2</a:t>
            </a:r>
            <a:r>
              <a:rPr kumimoji="0" lang="en-US" sz="1100" b="0" i="0" u="none" strike="noStrike" kern="1200" cap="none" spc="0" normalizeH="0" baseline="0" noProof="0" dirty="0">
                <a:ln>
                  <a:noFill/>
                </a:ln>
                <a:solidFill>
                  <a:srgbClr val="1D1D1D"/>
                </a:solidFill>
                <a:effectLst/>
                <a:uLnTx/>
                <a:uFillTx/>
                <a:latin typeface="Arial"/>
                <a:ea typeface="+mn-ea"/>
                <a:cs typeface="Arial"/>
              </a:rPr>
              <a:t> – </a:t>
            </a:r>
            <a:r>
              <a:rPr lang="sl-SI" sz="1100" dirty="0">
                <a:solidFill>
                  <a:srgbClr val="1D1D1D"/>
                </a:solidFill>
                <a:latin typeface="Arial"/>
                <a:ea typeface="+mn-ea"/>
                <a:cs typeface="Arial"/>
              </a:rPr>
              <a:t>20</a:t>
            </a:r>
            <a:r>
              <a:rPr kumimoji="0" lang="en-US" sz="1100" b="0" i="0" u="none" strike="noStrike" kern="1200" cap="none" spc="0" normalizeH="0" baseline="0" noProof="0" dirty="0">
                <a:ln>
                  <a:noFill/>
                </a:ln>
                <a:solidFill>
                  <a:srgbClr val="1D1D1D"/>
                </a:solidFill>
                <a:effectLst/>
                <a:uLnTx/>
                <a:uFillTx/>
                <a:latin typeface="Arial"/>
                <a:ea typeface="+mn-ea"/>
                <a:cs typeface="Arial"/>
              </a:rPr>
              <a:t> kHz</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5" name="Rectangle 24">
            <a:extLst>
              <a:ext uri="{FF2B5EF4-FFF2-40B4-BE49-F238E27FC236}">
                <a16:creationId xmlns:a16="http://schemas.microsoft.com/office/drawing/2014/main" id="{26B3AC73-23B4-6E67-5921-CBF21A9D1E9B}"/>
              </a:ext>
            </a:extLst>
          </p:cNvPr>
          <p:cNvSpPr/>
          <p:nvPr>
            <p:custDataLst>
              <p:tags r:id="rId25"/>
            </p:custDataLst>
          </p:nvPr>
        </p:nvSpPr>
        <p:spPr bwMode="auto">
          <a:xfrm>
            <a:off x="709687" y="5651138"/>
            <a:ext cx="1104160" cy="39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Arial"/>
              </a:rPr>
              <a:t>Switching Frequency</a:t>
            </a:r>
            <a:endParaRPr kumimoji="0" lang="de-AT" sz="1100" b="0" i="0" u="none" strike="noStrike" kern="1200" cap="none" spc="0" normalizeH="0" baseline="0" noProof="0" dirty="0">
              <a:ln>
                <a:noFill/>
              </a:ln>
              <a:solidFill>
                <a:srgbClr val="FFFFFF"/>
              </a:solidFill>
              <a:effectLst/>
              <a:uLnTx/>
              <a:uFillTx/>
              <a:latin typeface="Arial"/>
              <a:ea typeface="+mn-ea"/>
              <a:cs typeface="Arial"/>
            </a:endParaRPr>
          </a:p>
        </p:txBody>
      </p:sp>
      <p:sp>
        <p:nvSpPr>
          <p:cNvPr id="54" name="Rectangle 53">
            <a:extLst>
              <a:ext uri="{FF2B5EF4-FFF2-40B4-BE49-F238E27FC236}">
                <a16:creationId xmlns:a16="http://schemas.microsoft.com/office/drawing/2014/main" id="{F87FB458-795F-4DDA-997B-7F8C755261BC}"/>
              </a:ext>
            </a:extLst>
          </p:cNvPr>
          <p:cNvSpPr/>
          <p:nvPr>
            <p:custDataLst>
              <p:tags r:id="rId26"/>
            </p:custDataLst>
          </p:nvPr>
        </p:nvSpPr>
        <p:spPr bwMode="auto">
          <a:xfrm>
            <a:off x="709687" y="3744563"/>
            <a:ext cx="1104159" cy="216000"/>
          </a:xfrm>
          <a:prstGeom prst="rect">
            <a:avLst/>
          </a:prstGeom>
          <a:solidFill>
            <a:schemeClr val="accent5"/>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1200</a:t>
            </a:r>
            <a:r>
              <a:rPr kumimoji="0" lang="en-US" sz="1100" b="0" i="0" u="none" strike="noStrike" kern="1200" cap="none" spc="0" normalizeH="0" baseline="0" noProof="0" dirty="0">
                <a:ln>
                  <a:noFill/>
                </a:ln>
                <a:solidFill>
                  <a:srgbClr val="1D1D1D"/>
                </a:solidFill>
                <a:effectLst/>
                <a:uLnTx/>
                <a:uFillTx/>
                <a:latin typeface="Arial"/>
                <a:ea typeface="+mn-ea"/>
                <a:cs typeface="Arial"/>
              </a:rPr>
              <a:t>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pic>
        <p:nvPicPr>
          <p:cNvPr id="59" name="Picture 58">
            <a:extLst>
              <a:ext uri="{FF2B5EF4-FFF2-40B4-BE49-F238E27FC236}">
                <a16:creationId xmlns:a16="http://schemas.microsoft.com/office/drawing/2014/main" id="{EE11EA8C-5164-40F2-86A1-4A9DBDB8E10D}"/>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244905" y="97185"/>
            <a:ext cx="1171575" cy="1171575"/>
          </a:xfrm>
          <a:prstGeom prst="rect">
            <a:avLst/>
          </a:prstGeom>
        </p:spPr>
      </p:pic>
      <p:sp>
        <p:nvSpPr>
          <p:cNvPr id="44" name="Rectangle 43">
            <a:extLst>
              <a:ext uri="{FF2B5EF4-FFF2-40B4-BE49-F238E27FC236}">
                <a16:creationId xmlns:a16="http://schemas.microsoft.com/office/drawing/2014/main" id="{4C64159B-D7FE-45DB-BC81-D510833A44EE}"/>
              </a:ext>
            </a:extLst>
          </p:cNvPr>
          <p:cNvSpPr/>
          <p:nvPr>
            <p:custDataLst>
              <p:tags r:id="rId27"/>
            </p:custDataLst>
          </p:nvPr>
        </p:nvSpPr>
        <p:spPr bwMode="auto">
          <a:xfrm>
            <a:off x="709687" y="4031976"/>
            <a:ext cx="1104159" cy="21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FFFF"/>
                </a:solidFill>
                <a:effectLst/>
                <a:uLnTx/>
                <a:uFillTx/>
                <a:latin typeface="Arial"/>
                <a:cs typeface="Arial"/>
              </a:rPr>
              <a:t>Current </a:t>
            </a:r>
            <a:r>
              <a:rPr kumimoji="0" lang="sl-SI" sz="1100" b="0" i="0" u="none" strike="noStrike" kern="0" cap="none" spc="0" normalizeH="0" baseline="0" noProof="0" dirty="0">
                <a:ln>
                  <a:noFill/>
                </a:ln>
                <a:solidFill>
                  <a:srgbClr val="FFFFFF"/>
                </a:solidFill>
                <a:effectLst/>
                <a:uLnTx/>
                <a:uFillTx/>
                <a:latin typeface="Arial"/>
                <a:cs typeface="Arial"/>
              </a:rPr>
              <a:t>C</a:t>
            </a:r>
            <a:r>
              <a:rPr kumimoji="0" lang="en-US" sz="1100" b="0" i="0" u="none" strike="noStrike" kern="0" cap="none" spc="0" normalizeH="0" baseline="0" noProof="0" dirty="0">
                <a:ln>
                  <a:noFill/>
                </a:ln>
                <a:solidFill>
                  <a:srgbClr val="FFFFFF"/>
                </a:solidFill>
                <a:effectLst/>
                <a:uLnTx/>
                <a:uFillTx/>
                <a:latin typeface="Arial"/>
                <a:cs typeface="Arial"/>
              </a:rPr>
              <a:t>lass</a:t>
            </a:r>
            <a:endParaRPr kumimoji="0" lang="de-AT" sz="1100" b="0" i="0" u="none" strike="noStrike" kern="0" cap="none" spc="0" normalizeH="0" baseline="0" noProof="0" dirty="0">
              <a:ln>
                <a:noFill/>
              </a:ln>
              <a:solidFill>
                <a:srgbClr val="FFFFFF"/>
              </a:solidFill>
              <a:effectLst/>
              <a:uLnTx/>
              <a:uFillTx/>
              <a:latin typeface="Arial"/>
              <a:ea typeface="+mn-ea"/>
              <a:cs typeface="Arial"/>
            </a:endParaRPr>
          </a:p>
        </p:txBody>
      </p:sp>
      <p:grpSp>
        <p:nvGrpSpPr>
          <p:cNvPr id="87" name="Group 86">
            <a:extLst>
              <a:ext uri="{FF2B5EF4-FFF2-40B4-BE49-F238E27FC236}">
                <a16:creationId xmlns:a16="http://schemas.microsoft.com/office/drawing/2014/main" id="{DF333B16-D54B-4745-ABDC-6BE74CD2D160}"/>
              </a:ext>
            </a:extLst>
          </p:cNvPr>
          <p:cNvGrpSpPr/>
          <p:nvPr/>
        </p:nvGrpSpPr>
        <p:grpSpPr>
          <a:xfrm>
            <a:off x="1289682" y="4293614"/>
            <a:ext cx="524163" cy="216921"/>
            <a:chOff x="1008066" y="4345928"/>
            <a:chExt cx="511366" cy="216674"/>
          </a:xfrm>
        </p:grpSpPr>
        <p:grpSp>
          <p:nvGrpSpPr>
            <p:cNvPr id="88" name="Group 87">
              <a:extLst>
                <a:ext uri="{FF2B5EF4-FFF2-40B4-BE49-F238E27FC236}">
                  <a16:creationId xmlns:a16="http://schemas.microsoft.com/office/drawing/2014/main" id="{26830905-74DF-434E-A9B4-54FBC059E2B5}"/>
                </a:ext>
              </a:extLst>
            </p:cNvPr>
            <p:cNvGrpSpPr/>
            <p:nvPr/>
          </p:nvGrpSpPr>
          <p:grpSpPr>
            <a:xfrm>
              <a:off x="1008066" y="4345928"/>
              <a:ext cx="511366" cy="216674"/>
              <a:chOff x="974653" y="4867882"/>
              <a:chExt cx="511366" cy="216674"/>
            </a:xfrm>
          </p:grpSpPr>
          <p:sp>
            <p:nvSpPr>
              <p:cNvPr id="90" name="Rectangle 89">
                <a:extLst>
                  <a:ext uri="{FF2B5EF4-FFF2-40B4-BE49-F238E27FC236}">
                    <a16:creationId xmlns:a16="http://schemas.microsoft.com/office/drawing/2014/main" id="{149CF7F9-F65B-4BC9-969F-78E988A095B9}"/>
                  </a:ext>
                </a:extLst>
              </p:cNvPr>
              <p:cNvSpPr/>
              <p:nvPr/>
            </p:nvSpPr>
            <p:spPr bwMode="auto">
              <a:xfrm>
                <a:off x="974653" y="4867882"/>
                <a:ext cx="252000"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1" name="Rectangle 90">
                <a:extLst>
                  <a:ext uri="{FF2B5EF4-FFF2-40B4-BE49-F238E27FC236}">
                    <a16:creationId xmlns:a16="http://schemas.microsoft.com/office/drawing/2014/main" id="{A812DC8F-18C2-4ED7-BCF3-AF142D19E473}"/>
                  </a:ext>
                </a:extLst>
              </p:cNvPr>
              <p:cNvSpPr/>
              <p:nvPr/>
            </p:nvSpPr>
            <p:spPr bwMode="auto">
              <a:xfrm>
                <a:off x="1234019" y="4868556"/>
                <a:ext cx="252000"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89" name="TextBox 88">
              <a:extLst>
                <a:ext uri="{FF2B5EF4-FFF2-40B4-BE49-F238E27FC236}">
                  <a16:creationId xmlns:a16="http://schemas.microsoft.com/office/drawing/2014/main" id="{6DA66B89-FD5C-47B5-9AEF-A7D7EADE0DD5}"/>
                </a:ext>
              </a:extLst>
            </p:cNvPr>
            <p:cNvSpPr txBox="1"/>
            <p:nvPr/>
          </p:nvSpPr>
          <p:spPr bwMode="auto">
            <a:xfrm>
              <a:off x="1015084" y="4354278"/>
              <a:ext cx="490237" cy="184474"/>
            </a:xfrm>
            <a:prstGeom prst="rect">
              <a:avLst/>
            </a:prstGeom>
            <a:noFill/>
            <a:ln w="9525">
              <a:noFill/>
              <a:miter lim="800000"/>
              <a:headEnd/>
              <a:tailEnd/>
            </a:ln>
            <a:effectLst/>
          </p:spPr>
          <p:txBody>
            <a:bodyPr wrap="square" lIns="0" tIns="0" rIns="0" bIns="0" rtlCol="0" anchor="t" anchorCtr="0">
              <a:spAutoFit/>
            </a:bodyPr>
            <a:lstStyle/>
            <a:p>
              <a:pPr marL="0" marR="0" lvl="0" indent="0" algn="ctr" defTabSz="576000" rtl="0" eaLnBrk="0" fontAlgn="auto" latinLnBrk="0" hangingPunct="0">
                <a:lnSpc>
                  <a:spcPct val="120000"/>
                </a:lnSpc>
                <a:spcBef>
                  <a:spcPts val="0"/>
                </a:spcBef>
                <a:spcAft>
                  <a:spcPts val="0"/>
                </a:spcAft>
                <a:buClr>
                  <a:srgbClr val="0A8276"/>
                </a:buClr>
                <a:buSzTx/>
                <a:buFontTx/>
                <a:buNone/>
                <a:tabLst/>
                <a:defRPr/>
              </a:pPr>
              <a:r>
                <a:rPr lang="sl-SI" sz="1100" kern="0" dirty="0">
                  <a:solidFill>
                    <a:srgbClr val="1D1D1D"/>
                  </a:solidFill>
                  <a:latin typeface="Arial"/>
                  <a:cs typeface="Arial"/>
                </a:rPr>
                <a:t>4</a:t>
              </a:r>
              <a:r>
                <a:rPr kumimoji="0" lang="de-AT" sz="1100" b="0" i="0" u="none" strike="noStrike" kern="0" cap="none" spc="0" normalizeH="0" baseline="0" noProof="0" dirty="0">
                  <a:ln>
                    <a:noFill/>
                  </a:ln>
                  <a:solidFill>
                    <a:srgbClr val="1D1D1D"/>
                  </a:solidFill>
                  <a:effectLst/>
                  <a:uLnTx/>
                  <a:uFillTx/>
                  <a:latin typeface="Arial"/>
                  <a:ea typeface="+mn-ea"/>
                  <a:cs typeface="Arial"/>
                </a:rPr>
                <a:t>0 A</a:t>
              </a:r>
            </a:p>
          </p:txBody>
        </p:sp>
      </p:grpSp>
      <p:sp>
        <p:nvSpPr>
          <p:cNvPr id="92" name="Rectangle 91">
            <a:extLst>
              <a:ext uri="{FF2B5EF4-FFF2-40B4-BE49-F238E27FC236}">
                <a16:creationId xmlns:a16="http://schemas.microsoft.com/office/drawing/2014/main" id="{CC12FCBD-96C1-41DE-9C2B-5DF3BE6E6F10}"/>
              </a:ext>
            </a:extLst>
          </p:cNvPr>
          <p:cNvSpPr/>
          <p:nvPr>
            <p:custDataLst>
              <p:tags r:id="rId28"/>
            </p:custDataLst>
          </p:nvPr>
        </p:nvSpPr>
        <p:spPr bwMode="auto">
          <a:xfrm>
            <a:off x="703846" y="4292375"/>
            <a:ext cx="538403" cy="220561"/>
          </a:xfrm>
          <a:prstGeom prst="rect">
            <a:avLst/>
          </a:prstGeom>
          <a:solidFill>
            <a:schemeClr val="accent5"/>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sl-SI" sz="1100" dirty="0">
                <a:solidFill>
                  <a:srgbClr val="1D1D1D"/>
                </a:solidFill>
                <a:latin typeface="Arial"/>
                <a:ea typeface="+mn-ea"/>
                <a:cs typeface="Arial"/>
              </a:rPr>
              <a:t>3</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3" name="Rectangle 92">
            <a:extLst>
              <a:ext uri="{FF2B5EF4-FFF2-40B4-BE49-F238E27FC236}">
                <a16:creationId xmlns:a16="http://schemas.microsoft.com/office/drawing/2014/main" id="{2A946A55-17A0-4995-85AF-2F676C8C19B8}"/>
              </a:ext>
            </a:extLst>
          </p:cNvPr>
          <p:cNvSpPr/>
          <p:nvPr>
            <p:custDataLst>
              <p:tags r:id="rId29"/>
            </p:custDataLst>
          </p:nvPr>
        </p:nvSpPr>
        <p:spPr bwMode="auto">
          <a:xfrm>
            <a:off x="1296522" y="5076009"/>
            <a:ext cx="517325" cy="216000"/>
          </a:xfrm>
          <a:prstGeom prst="rect">
            <a:avLst/>
          </a:prstGeom>
          <a:solidFill>
            <a:schemeClr val="accent5"/>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sl-SI" sz="1100" dirty="0">
                <a:solidFill>
                  <a:srgbClr val="1D1D1D"/>
                </a:solidFill>
                <a:latin typeface="Arial"/>
                <a:cs typeface="Arial"/>
              </a:rPr>
              <a:t>10</a:t>
            </a:r>
            <a:r>
              <a:rPr kumimoji="0" lang="en-US" sz="1100" b="0" i="0" u="none" strike="noStrike" kern="1200" cap="none" spc="0" normalizeH="0" baseline="0" noProof="0" dirty="0">
                <a:ln>
                  <a:noFill/>
                </a:ln>
                <a:solidFill>
                  <a:srgbClr val="1D1D1D"/>
                </a:solidFill>
                <a:effectLst/>
                <a:uLnTx/>
                <a:uFillTx/>
                <a:latin typeface="Arial"/>
                <a:cs typeface="Arial"/>
              </a:rPr>
              <a:t>0</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4" name="Rectangle 93">
            <a:extLst>
              <a:ext uri="{FF2B5EF4-FFF2-40B4-BE49-F238E27FC236}">
                <a16:creationId xmlns:a16="http://schemas.microsoft.com/office/drawing/2014/main" id="{48EA9DA5-0911-469F-944A-2250BB130932}"/>
              </a:ext>
            </a:extLst>
          </p:cNvPr>
          <p:cNvSpPr/>
          <p:nvPr>
            <p:custDataLst>
              <p:tags r:id="rId30"/>
            </p:custDataLst>
          </p:nvPr>
        </p:nvSpPr>
        <p:spPr bwMode="auto">
          <a:xfrm>
            <a:off x="1290831" y="5340904"/>
            <a:ext cx="523016" cy="216000"/>
          </a:xfrm>
          <a:prstGeom prst="rect">
            <a:avLst/>
          </a:prstGeom>
          <a:solidFill>
            <a:schemeClr val="accent5"/>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sl-SI" sz="1100" dirty="0">
                <a:solidFill>
                  <a:srgbClr val="1D1D1D"/>
                </a:solidFill>
                <a:latin typeface="Arial"/>
                <a:ea typeface="+mn-ea"/>
                <a:cs typeface="Arial"/>
              </a:rPr>
              <a:t>120</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 name="TextBox 1">
            <a:extLst>
              <a:ext uri="{FF2B5EF4-FFF2-40B4-BE49-F238E27FC236}">
                <a16:creationId xmlns:a16="http://schemas.microsoft.com/office/drawing/2014/main" id="{39D60949-E6BA-41E8-A8A0-30E029B10941}"/>
              </a:ext>
            </a:extLst>
          </p:cNvPr>
          <p:cNvSpPr txBox="1"/>
          <p:nvPr>
            <p:custDataLst>
              <p:tags r:id="rId31"/>
            </p:custDataLst>
          </p:nvPr>
        </p:nvSpPr>
        <p:spPr bwMode="auto">
          <a:xfrm>
            <a:off x="373518" y="3429000"/>
            <a:ext cx="291402"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sl-SI" sz="1800" b="1" kern="0" baseline="0" dirty="0">
                <a:solidFill>
                  <a:schemeClr val="accent4"/>
                </a:solidFill>
                <a:latin typeface="+mn-lt"/>
                <a:ea typeface="+mn-ea"/>
                <a:cs typeface="+mn-cs"/>
              </a:rPr>
              <a:t>T7</a:t>
            </a:r>
            <a:endParaRPr lang="de-AT" sz="1800" b="1" kern="0" baseline="0" dirty="0">
              <a:solidFill>
                <a:schemeClr val="accent4"/>
              </a:solidFill>
              <a:latin typeface="+mn-lt"/>
              <a:ea typeface="+mn-ea"/>
              <a:cs typeface="+mn-cs"/>
            </a:endParaRPr>
          </a:p>
        </p:txBody>
      </p:sp>
      <p:sp>
        <p:nvSpPr>
          <p:cNvPr id="77" name="TextBox 76">
            <a:extLst>
              <a:ext uri="{FF2B5EF4-FFF2-40B4-BE49-F238E27FC236}">
                <a16:creationId xmlns:a16="http://schemas.microsoft.com/office/drawing/2014/main" id="{551A559F-96E7-4079-83FC-91A7F491BA71}"/>
              </a:ext>
            </a:extLst>
          </p:cNvPr>
          <p:cNvSpPr txBox="1"/>
          <p:nvPr>
            <p:custDataLst>
              <p:tags r:id="rId32"/>
            </p:custDataLst>
          </p:nvPr>
        </p:nvSpPr>
        <p:spPr bwMode="auto">
          <a:xfrm>
            <a:off x="365898" y="3688892"/>
            <a:ext cx="291402"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sl-SI" sz="1800" b="1" kern="0" dirty="0">
                <a:solidFill>
                  <a:schemeClr val="accent5"/>
                </a:solidFill>
                <a:latin typeface="+mn-lt"/>
              </a:rPr>
              <a:t>S</a:t>
            </a:r>
            <a:r>
              <a:rPr lang="sl-SI" sz="1800" b="1" kern="0" baseline="0" dirty="0">
                <a:solidFill>
                  <a:schemeClr val="accent5"/>
                </a:solidFill>
                <a:latin typeface="+mn-lt"/>
                <a:ea typeface="+mn-ea"/>
                <a:cs typeface="+mn-cs"/>
              </a:rPr>
              <a:t>7</a:t>
            </a:r>
            <a:endParaRPr lang="de-AT" sz="1800" b="1" kern="0" baseline="0" dirty="0">
              <a:solidFill>
                <a:schemeClr val="accent5"/>
              </a:solidFill>
              <a:latin typeface="+mn-lt"/>
              <a:ea typeface="+mn-ea"/>
              <a:cs typeface="+mn-cs"/>
            </a:endParaRPr>
          </a:p>
        </p:txBody>
      </p:sp>
      <p:pic>
        <p:nvPicPr>
          <p:cNvPr id="78" name="Picture 77">
            <a:extLst>
              <a:ext uri="{FF2B5EF4-FFF2-40B4-BE49-F238E27FC236}">
                <a16:creationId xmlns:a16="http://schemas.microsoft.com/office/drawing/2014/main" id="{A63C8495-608E-4761-9535-26575D9D599B}"/>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278817" y="2116445"/>
            <a:ext cx="712727" cy="937799"/>
          </a:xfrm>
          <a:prstGeom prst="rect">
            <a:avLst/>
          </a:prstGeom>
        </p:spPr>
      </p:pic>
      <p:pic>
        <p:nvPicPr>
          <p:cNvPr id="79" name="Picture 78">
            <a:extLst>
              <a:ext uri="{FF2B5EF4-FFF2-40B4-BE49-F238E27FC236}">
                <a16:creationId xmlns:a16="http://schemas.microsoft.com/office/drawing/2014/main" id="{6AACAE88-8CED-4322-A809-B3DF5D05AED4}"/>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92143" y="2113025"/>
            <a:ext cx="755826" cy="955935"/>
          </a:xfrm>
          <a:prstGeom prst="rect">
            <a:avLst/>
          </a:prstGeom>
        </p:spPr>
      </p:pic>
      <p:pic>
        <p:nvPicPr>
          <p:cNvPr id="80" name="Picture 79">
            <a:extLst>
              <a:ext uri="{FF2B5EF4-FFF2-40B4-BE49-F238E27FC236}">
                <a16:creationId xmlns:a16="http://schemas.microsoft.com/office/drawing/2014/main" id="{EEF22348-946E-47DE-BE0A-BF73438F084D}"/>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68562" y="2127453"/>
            <a:ext cx="691796" cy="900776"/>
          </a:xfrm>
          <a:prstGeom prst="rect">
            <a:avLst/>
          </a:prstGeom>
        </p:spPr>
      </p:pic>
      <p:pic>
        <p:nvPicPr>
          <p:cNvPr id="81" name="Picture 80">
            <a:extLst>
              <a:ext uri="{FF2B5EF4-FFF2-40B4-BE49-F238E27FC236}">
                <a16:creationId xmlns:a16="http://schemas.microsoft.com/office/drawing/2014/main" id="{D906CA5F-7196-4D5E-8977-A2A333D4BEB4}"/>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1271464" y="1431555"/>
            <a:ext cx="543916" cy="629293"/>
          </a:xfrm>
          <a:prstGeom prst="rect">
            <a:avLst/>
          </a:prstGeom>
        </p:spPr>
      </p:pic>
      <p:pic>
        <p:nvPicPr>
          <p:cNvPr id="95" name="Picture 94">
            <a:extLst>
              <a:ext uri="{FF2B5EF4-FFF2-40B4-BE49-F238E27FC236}">
                <a16:creationId xmlns:a16="http://schemas.microsoft.com/office/drawing/2014/main" id="{FE285873-7536-429A-9591-24D63EDF3413}"/>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767408" y="1503563"/>
            <a:ext cx="401367" cy="448432"/>
          </a:xfrm>
          <a:prstGeom prst="rect">
            <a:avLst/>
          </a:prstGeom>
        </p:spPr>
      </p:pic>
      <p:sp>
        <p:nvSpPr>
          <p:cNvPr id="96" name="Rectangle 95">
            <a:extLst>
              <a:ext uri="{FF2B5EF4-FFF2-40B4-BE49-F238E27FC236}">
                <a16:creationId xmlns:a16="http://schemas.microsoft.com/office/drawing/2014/main" id="{6767CD93-27B3-41A5-8714-7C4188287354}"/>
              </a:ext>
            </a:extLst>
          </p:cNvPr>
          <p:cNvSpPr/>
          <p:nvPr>
            <p:custDataLst>
              <p:tags r:id="rId33"/>
            </p:custDataLst>
          </p:nvPr>
        </p:nvSpPr>
        <p:spPr bwMode="auto">
          <a:xfrm>
            <a:off x="703845" y="4551712"/>
            <a:ext cx="538403" cy="220561"/>
          </a:xfrm>
          <a:prstGeom prst="rect">
            <a:avLst/>
          </a:prstGeom>
          <a:solidFill>
            <a:schemeClr val="accent5"/>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sl-SI" sz="1100" b="0" i="0" u="none" strike="noStrike" kern="1200" cap="none" spc="0" normalizeH="0" baseline="0" noProof="0" dirty="0">
                <a:ln>
                  <a:noFill/>
                </a:ln>
                <a:solidFill>
                  <a:srgbClr val="1D1D1D"/>
                </a:solidFill>
                <a:effectLst/>
                <a:uLnTx/>
                <a:uFillTx/>
                <a:latin typeface="Arial"/>
                <a:cs typeface="Arial"/>
              </a:rPr>
              <a:t>8</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7" name="Rectangle 96">
            <a:extLst>
              <a:ext uri="{FF2B5EF4-FFF2-40B4-BE49-F238E27FC236}">
                <a16:creationId xmlns:a16="http://schemas.microsoft.com/office/drawing/2014/main" id="{88E22578-A25E-492E-B456-445F8C0F98DA}"/>
              </a:ext>
            </a:extLst>
          </p:cNvPr>
          <p:cNvSpPr/>
          <p:nvPr>
            <p:custDataLst>
              <p:tags r:id="rId34"/>
            </p:custDataLst>
          </p:nvPr>
        </p:nvSpPr>
        <p:spPr bwMode="auto">
          <a:xfrm>
            <a:off x="697368" y="4818455"/>
            <a:ext cx="538403" cy="220561"/>
          </a:xfrm>
          <a:prstGeom prst="rect">
            <a:avLst/>
          </a:prstGeom>
          <a:solidFill>
            <a:schemeClr val="accent5"/>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sl-SI" sz="1100" b="0" i="0" u="none" strike="noStrike" kern="1200" cap="none" spc="0" normalizeH="0" baseline="0" noProof="0" dirty="0">
                <a:ln>
                  <a:noFill/>
                </a:ln>
                <a:solidFill>
                  <a:srgbClr val="1D1D1D"/>
                </a:solidFill>
                <a:effectLst/>
                <a:uLnTx/>
                <a:uFillTx/>
                <a:latin typeface="Arial"/>
                <a:cs typeface="Arial"/>
              </a:rPr>
              <a:t>15</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8" name="Rectangle 97">
            <a:extLst>
              <a:ext uri="{FF2B5EF4-FFF2-40B4-BE49-F238E27FC236}">
                <a16:creationId xmlns:a16="http://schemas.microsoft.com/office/drawing/2014/main" id="{D347EBDB-049F-4771-B939-E9936635B58C}"/>
              </a:ext>
            </a:extLst>
          </p:cNvPr>
          <p:cNvSpPr/>
          <p:nvPr>
            <p:custDataLst>
              <p:tags r:id="rId35"/>
            </p:custDataLst>
          </p:nvPr>
        </p:nvSpPr>
        <p:spPr bwMode="auto">
          <a:xfrm>
            <a:off x="703845" y="5076009"/>
            <a:ext cx="538403" cy="220561"/>
          </a:xfrm>
          <a:prstGeom prst="rect">
            <a:avLst/>
          </a:prstGeom>
          <a:solidFill>
            <a:schemeClr val="accent4"/>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sl-SI" sz="1100" dirty="0">
                <a:solidFill>
                  <a:srgbClr val="1D1D1D"/>
                </a:solidFill>
                <a:latin typeface="Arial"/>
                <a:ea typeface="+mn-ea"/>
                <a:cs typeface="Arial"/>
              </a:rPr>
              <a:t>20</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9" name="Rectangle 98">
            <a:extLst>
              <a:ext uri="{FF2B5EF4-FFF2-40B4-BE49-F238E27FC236}">
                <a16:creationId xmlns:a16="http://schemas.microsoft.com/office/drawing/2014/main" id="{50C93923-6FE2-4935-865D-02D4AA50AE0F}"/>
              </a:ext>
            </a:extLst>
          </p:cNvPr>
          <p:cNvSpPr/>
          <p:nvPr>
            <p:custDataLst>
              <p:tags r:id="rId36"/>
            </p:custDataLst>
          </p:nvPr>
        </p:nvSpPr>
        <p:spPr bwMode="auto">
          <a:xfrm>
            <a:off x="697368" y="5342752"/>
            <a:ext cx="538403" cy="220561"/>
          </a:xfrm>
          <a:prstGeom prst="rect">
            <a:avLst/>
          </a:prstGeom>
          <a:solidFill>
            <a:schemeClr val="accent5"/>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sl-SI" sz="1100" b="0" i="0" u="none" strike="noStrike" kern="1200" cap="none" spc="0" normalizeH="0" baseline="0" noProof="0" dirty="0">
                <a:ln>
                  <a:noFill/>
                </a:ln>
                <a:solidFill>
                  <a:srgbClr val="1D1D1D"/>
                </a:solidFill>
                <a:effectLst/>
                <a:uLnTx/>
                <a:uFillTx/>
                <a:latin typeface="Arial"/>
                <a:cs typeface="Arial"/>
              </a:rPr>
              <a:t>25</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nvGrpSpPr>
          <p:cNvPr id="100" name="Group 99">
            <a:extLst>
              <a:ext uri="{FF2B5EF4-FFF2-40B4-BE49-F238E27FC236}">
                <a16:creationId xmlns:a16="http://schemas.microsoft.com/office/drawing/2014/main" id="{23509EEB-8C5D-4F2A-BFA7-BBEC023DE06B}"/>
              </a:ext>
            </a:extLst>
          </p:cNvPr>
          <p:cNvGrpSpPr/>
          <p:nvPr/>
        </p:nvGrpSpPr>
        <p:grpSpPr>
          <a:xfrm>
            <a:off x="1284540" y="4561985"/>
            <a:ext cx="529306" cy="216921"/>
            <a:chOff x="1008066" y="4345928"/>
            <a:chExt cx="511366" cy="216674"/>
          </a:xfrm>
        </p:grpSpPr>
        <p:grpSp>
          <p:nvGrpSpPr>
            <p:cNvPr id="101" name="Group 100">
              <a:extLst>
                <a:ext uri="{FF2B5EF4-FFF2-40B4-BE49-F238E27FC236}">
                  <a16:creationId xmlns:a16="http://schemas.microsoft.com/office/drawing/2014/main" id="{87067FAE-4880-4E83-B256-9823EBD46584}"/>
                </a:ext>
              </a:extLst>
            </p:cNvPr>
            <p:cNvGrpSpPr/>
            <p:nvPr/>
          </p:nvGrpSpPr>
          <p:grpSpPr>
            <a:xfrm>
              <a:off x="1008066" y="4345928"/>
              <a:ext cx="511366" cy="216674"/>
              <a:chOff x="974653" y="4867882"/>
              <a:chExt cx="511366" cy="216674"/>
            </a:xfrm>
          </p:grpSpPr>
          <p:sp>
            <p:nvSpPr>
              <p:cNvPr id="103" name="Rectangle 102">
                <a:extLst>
                  <a:ext uri="{FF2B5EF4-FFF2-40B4-BE49-F238E27FC236}">
                    <a16:creationId xmlns:a16="http://schemas.microsoft.com/office/drawing/2014/main" id="{C7C896E9-A10F-4544-B46B-FF362BA9B222}"/>
                  </a:ext>
                </a:extLst>
              </p:cNvPr>
              <p:cNvSpPr/>
              <p:nvPr/>
            </p:nvSpPr>
            <p:spPr bwMode="auto">
              <a:xfrm>
                <a:off x="974653" y="4867882"/>
                <a:ext cx="252000"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104" name="Rectangle 103">
                <a:extLst>
                  <a:ext uri="{FF2B5EF4-FFF2-40B4-BE49-F238E27FC236}">
                    <a16:creationId xmlns:a16="http://schemas.microsoft.com/office/drawing/2014/main" id="{6C62CF65-2D27-48C3-9097-A731E145368A}"/>
                  </a:ext>
                </a:extLst>
              </p:cNvPr>
              <p:cNvSpPr/>
              <p:nvPr/>
            </p:nvSpPr>
            <p:spPr bwMode="auto">
              <a:xfrm>
                <a:off x="1234019" y="4868556"/>
                <a:ext cx="252000"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102" name="TextBox 101">
              <a:extLst>
                <a:ext uri="{FF2B5EF4-FFF2-40B4-BE49-F238E27FC236}">
                  <a16:creationId xmlns:a16="http://schemas.microsoft.com/office/drawing/2014/main" id="{C8642181-303F-44F2-9DC9-01BAD00135D0}"/>
                </a:ext>
              </a:extLst>
            </p:cNvPr>
            <p:cNvSpPr txBox="1"/>
            <p:nvPr/>
          </p:nvSpPr>
          <p:spPr bwMode="auto">
            <a:xfrm>
              <a:off x="1015084" y="4354278"/>
              <a:ext cx="490237" cy="184474"/>
            </a:xfrm>
            <a:prstGeom prst="rect">
              <a:avLst/>
            </a:prstGeom>
            <a:noFill/>
            <a:ln w="9525">
              <a:noFill/>
              <a:miter lim="800000"/>
              <a:headEnd/>
              <a:tailEnd/>
            </a:ln>
            <a:effectLst/>
          </p:spPr>
          <p:txBody>
            <a:bodyPr wrap="square" lIns="0" tIns="0" rIns="0" bIns="0" rtlCol="0" anchor="t" anchorCtr="0">
              <a:spAutoFit/>
            </a:bodyPr>
            <a:lstStyle/>
            <a:p>
              <a:pPr marL="0" marR="0" lvl="0" indent="0" algn="ctr" defTabSz="576000" rtl="0" eaLnBrk="0" fontAlgn="auto" latinLnBrk="0" hangingPunct="0">
                <a:lnSpc>
                  <a:spcPct val="120000"/>
                </a:lnSpc>
                <a:spcBef>
                  <a:spcPts val="0"/>
                </a:spcBef>
                <a:spcAft>
                  <a:spcPts val="0"/>
                </a:spcAft>
                <a:buClr>
                  <a:srgbClr val="0A8276"/>
                </a:buClr>
                <a:buSzTx/>
                <a:buFontTx/>
                <a:buNone/>
                <a:tabLst/>
                <a:defRPr/>
              </a:pPr>
              <a:r>
                <a:rPr kumimoji="0" lang="sl-SI" sz="1100" b="0" i="0" u="none" strike="noStrike" kern="0" cap="none" spc="0" normalizeH="0" baseline="0" noProof="0" dirty="0">
                  <a:ln>
                    <a:noFill/>
                  </a:ln>
                  <a:solidFill>
                    <a:srgbClr val="1D1D1D"/>
                  </a:solidFill>
                  <a:effectLst/>
                  <a:uLnTx/>
                  <a:uFillTx/>
                  <a:latin typeface="Arial"/>
                  <a:ea typeface="+mn-ea"/>
                  <a:cs typeface="Arial"/>
                </a:rPr>
                <a:t>5</a:t>
              </a:r>
              <a:r>
                <a:rPr kumimoji="0" lang="de-AT" sz="1100" b="0" i="0" u="none" strike="noStrike" kern="0" cap="none" spc="0" normalizeH="0" baseline="0" noProof="0" dirty="0">
                  <a:ln>
                    <a:noFill/>
                  </a:ln>
                  <a:solidFill>
                    <a:srgbClr val="1D1D1D"/>
                  </a:solidFill>
                  <a:effectLst/>
                  <a:uLnTx/>
                  <a:uFillTx/>
                  <a:latin typeface="Arial"/>
                  <a:ea typeface="+mn-ea"/>
                  <a:cs typeface="Arial"/>
                </a:rPr>
                <a:t>0 A</a:t>
              </a:r>
            </a:p>
          </p:txBody>
        </p:sp>
      </p:grpSp>
      <p:grpSp>
        <p:nvGrpSpPr>
          <p:cNvPr id="105" name="Group 104">
            <a:extLst>
              <a:ext uri="{FF2B5EF4-FFF2-40B4-BE49-F238E27FC236}">
                <a16:creationId xmlns:a16="http://schemas.microsoft.com/office/drawing/2014/main" id="{BAA736D6-860E-47E9-95A0-32A6FD038A30}"/>
              </a:ext>
            </a:extLst>
          </p:cNvPr>
          <p:cNvGrpSpPr/>
          <p:nvPr/>
        </p:nvGrpSpPr>
        <p:grpSpPr>
          <a:xfrm>
            <a:off x="1296521" y="4811610"/>
            <a:ext cx="517325" cy="216921"/>
            <a:chOff x="1008066" y="4345928"/>
            <a:chExt cx="511366" cy="216674"/>
          </a:xfrm>
        </p:grpSpPr>
        <p:grpSp>
          <p:nvGrpSpPr>
            <p:cNvPr id="106" name="Group 105">
              <a:extLst>
                <a:ext uri="{FF2B5EF4-FFF2-40B4-BE49-F238E27FC236}">
                  <a16:creationId xmlns:a16="http://schemas.microsoft.com/office/drawing/2014/main" id="{44888F55-452B-4848-8B96-615CFC868DD2}"/>
                </a:ext>
              </a:extLst>
            </p:cNvPr>
            <p:cNvGrpSpPr/>
            <p:nvPr/>
          </p:nvGrpSpPr>
          <p:grpSpPr>
            <a:xfrm>
              <a:off x="1008066" y="4345928"/>
              <a:ext cx="511366" cy="216674"/>
              <a:chOff x="974653" y="4867882"/>
              <a:chExt cx="511366" cy="216674"/>
            </a:xfrm>
          </p:grpSpPr>
          <p:sp>
            <p:nvSpPr>
              <p:cNvPr id="108" name="Rectangle 107">
                <a:extLst>
                  <a:ext uri="{FF2B5EF4-FFF2-40B4-BE49-F238E27FC236}">
                    <a16:creationId xmlns:a16="http://schemas.microsoft.com/office/drawing/2014/main" id="{EDBD552E-3134-46AD-9707-5DCB5A52DB79}"/>
                  </a:ext>
                </a:extLst>
              </p:cNvPr>
              <p:cNvSpPr/>
              <p:nvPr/>
            </p:nvSpPr>
            <p:spPr bwMode="auto">
              <a:xfrm>
                <a:off x="974653" y="4867882"/>
                <a:ext cx="252000"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109" name="Rectangle 108">
                <a:extLst>
                  <a:ext uri="{FF2B5EF4-FFF2-40B4-BE49-F238E27FC236}">
                    <a16:creationId xmlns:a16="http://schemas.microsoft.com/office/drawing/2014/main" id="{A761CE84-BFDA-46DC-B98C-BA5470C1FE2B}"/>
                  </a:ext>
                </a:extLst>
              </p:cNvPr>
              <p:cNvSpPr/>
              <p:nvPr/>
            </p:nvSpPr>
            <p:spPr bwMode="auto">
              <a:xfrm>
                <a:off x="1234019" y="4868556"/>
                <a:ext cx="252000"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107" name="TextBox 106">
              <a:extLst>
                <a:ext uri="{FF2B5EF4-FFF2-40B4-BE49-F238E27FC236}">
                  <a16:creationId xmlns:a16="http://schemas.microsoft.com/office/drawing/2014/main" id="{CE93553B-5DEA-47F8-9F70-4C36704D7505}"/>
                </a:ext>
              </a:extLst>
            </p:cNvPr>
            <p:cNvSpPr txBox="1"/>
            <p:nvPr/>
          </p:nvSpPr>
          <p:spPr bwMode="auto">
            <a:xfrm>
              <a:off x="1015084" y="4354278"/>
              <a:ext cx="490237" cy="184474"/>
            </a:xfrm>
            <a:prstGeom prst="rect">
              <a:avLst/>
            </a:prstGeom>
            <a:noFill/>
            <a:ln w="9525">
              <a:noFill/>
              <a:miter lim="800000"/>
              <a:headEnd/>
              <a:tailEnd/>
            </a:ln>
            <a:effectLst/>
          </p:spPr>
          <p:txBody>
            <a:bodyPr wrap="square" lIns="0" tIns="0" rIns="0" bIns="0" rtlCol="0" anchor="t" anchorCtr="0">
              <a:spAutoFit/>
            </a:bodyPr>
            <a:lstStyle/>
            <a:p>
              <a:pPr marL="0" marR="0" lvl="0" indent="0" algn="ctr" defTabSz="576000" rtl="0" eaLnBrk="0" fontAlgn="auto" latinLnBrk="0" hangingPunct="0">
                <a:lnSpc>
                  <a:spcPct val="120000"/>
                </a:lnSpc>
                <a:spcBef>
                  <a:spcPts val="0"/>
                </a:spcBef>
                <a:spcAft>
                  <a:spcPts val="0"/>
                </a:spcAft>
                <a:buClr>
                  <a:srgbClr val="0A8276"/>
                </a:buClr>
                <a:buSzTx/>
                <a:buFontTx/>
                <a:buNone/>
                <a:tabLst/>
                <a:defRPr/>
              </a:pPr>
              <a:r>
                <a:rPr kumimoji="0" lang="sl-SI" sz="1100" b="0" i="0" u="none" strike="noStrike" kern="0" cap="none" spc="0" normalizeH="0" baseline="0" noProof="0" dirty="0">
                  <a:ln>
                    <a:noFill/>
                  </a:ln>
                  <a:solidFill>
                    <a:srgbClr val="1D1D1D"/>
                  </a:solidFill>
                  <a:effectLst/>
                  <a:uLnTx/>
                  <a:uFillTx/>
                  <a:latin typeface="Arial"/>
                  <a:ea typeface="+mn-ea"/>
                  <a:cs typeface="Arial"/>
                </a:rPr>
                <a:t>75</a:t>
              </a:r>
              <a:r>
                <a:rPr kumimoji="0" lang="de-AT" sz="1100" b="0" i="0" u="none" strike="noStrike" kern="0" cap="none" spc="0" normalizeH="0" baseline="0" noProof="0" dirty="0">
                  <a:ln>
                    <a:noFill/>
                  </a:ln>
                  <a:solidFill>
                    <a:srgbClr val="1D1D1D"/>
                  </a:solidFill>
                  <a:effectLst/>
                  <a:uLnTx/>
                  <a:uFillTx/>
                  <a:latin typeface="Arial"/>
                  <a:ea typeface="+mn-ea"/>
                  <a:cs typeface="Arial"/>
                </a:rPr>
                <a:t> A</a:t>
              </a:r>
            </a:p>
          </p:txBody>
        </p:sp>
      </p:grpSp>
      <p:sp>
        <p:nvSpPr>
          <p:cNvPr id="7" name="Rectangle 6">
            <a:extLst>
              <a:ext uri="{FF2B5EF4-FFF2-40B4-BE49-F238E27FC236}">
                <a16:creationId xmlns:a16="http://schemas.microsoft.com/office/drawing/2014/main" id="{89B92C38-F5AF-47D1-A9D9-0D6C89D8895E}"/>
              </a:ext>
            </a:extLst>
          </p:cNvPr>
          <p:cNvSpPr/>
          <p:nvPr/>
        </p:nvSpPr>
        <p:spPr>
          <a:xfrm>
            <a:off x="8313169" y="6398525"/>
            <a:ext cx="3196709" cy="246221"/>
          </a:xfrm>
          <a:prstGeom prst="rect">
            <a:avLst/>
          </a:prstGeom>
        </p:spPr>
        <p:txBody>
          <a:bodyPr wrap="none">
            <a:spAutoFit/>
          </a:bodyPr>
          <a:lstStyle/>
          <a:p>
            <a:r>
              <a:rPr lang="de-AT" sz="1000" baseline="30000" dirty="0"/>
              <a:t>1</a:t>
            </a:r>
            <a:r>
              <a:rPr lang="de-AT" sz="1000" dirty="0"/>
              <a:t>DPAK/D2PAK portofilo has H3TRB qualification only</a:t>
            </a:r>
          </a:p>
        </p:txBody>
      </p:sp>
    </p:spTree>
    <p:custDataLst>
      <p:tags r:id="rId1"/>
    </p:custDataLst>
    <p:extLst>
      <p:ext uri="{BB962C8B-B14F-4D97-AF65-F5344CB8AC3E}">
        <p14:creationId xmlns:p14="http://schemas.microsoft.com/office/powerpoint/2010/main" val="3041594402"/>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EEC48CDD-4E8A-49B5-8E3D-EE6423838355}"/>
              </a:ext>
            </a:extLst>
          </p:cNvPr>
          <p:cNvPicPr>
            <a:picLocks noChangeAspect="1"/>
          </p:cNvPicPr>
          <p:nvPr/>
        </p:nvPicPr>
        <p:blipFill rotWithShape="1">
          <a:blip r:embed="rId6">
            <a:extLst>
              <a:ext uri="{28A0092B-C50C-407E-A947-70E740481C1C}">
                <a14:useLocalDpi xmlns:a14="http://schemas.microsoft.com/office/drawing/2010/main" val="0"/>
              </a:ext>
            </a:extLst>
          </a:blip>
          <a:srcRect t="43721" b="9443"/>
          <a:stretch/>
        </p:blipFill>
        <p:spPr>
          <a:xfrm>
            <a:off x="6235808" y="4475142"/>
            <a:ext cx="5637512" cy="1760261"/>
          </a:xfrm>
          <a:prstGeom prst="rect">
            <a:avLst/>
          </a:prstGeom>
        </p:spPr>
      </p:pic>
      <p:graphicFrame>
        <p:nvGraphicFramePr>
          <p:cNvPr id="25" name="Objekt 24" hidden="1">
            <a:extLst>
              <a:ext uri="{FF2B5EF4-FFF2-40B4-BE49-F238E27FC236}">
                <a16:creationId xmlns:a16="http://schemas.microsoft.com/office/drawing/2014/main" id="{E5BAC888-D52D-E5A5-5E18-787F39C4B3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Folie" r:id="rId7" imgW="344" imgH="344" progId="TCLayout.ActiveDocument.1">
                  <p:embed/>
                </p:oleObj>
              </mc:Choice>
              <mc:Fallback>
                <p:oleObj name="think-cell Folie" r:id="rId7" imgW="344" imgH="344" progId="TCLayout.ActiveDocument.1">
                  <p:embed/>
                  <p:pic>
                    <p:nvPicPr>
                      <p:cNvPr id="25" name="Objekt 24" hidden="1">
                        <a:extLst>
                          <a:ext uri="{FF2B5EF4-FFF2-40B4-BE49-F238E27FC236}">
                            <a16:creationId xmlns:a16="http://schemas.microsoft.com/office/drawing/2014/main" id="{E5BAC888-D52D-E5A5-5E18-787F39C4B3A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BF941546-3AC1-D38B-8108-A3427319A5EB}"/>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l="5060" t="3659" r="10241" b="-2"/>
          <a:stretch/>
        </p:blipFill>
        <p:spPr bwMode="gray">
          <a:xfrm>
            <a:off x="335360" y="4493388"/>
            <a:ext cx="5616177" cy="1698562"/>
          </a:xfrm>
          <a:prstGeom prst="rect">
            <a:avLst/>
          </a:prstGeom>
        </p:spPr>
      </p:pic>
      <p:sp>
        <p:nvSpPr>
          <p:cNvPr id="20" name="Freihandform: Form 19">
            <a:extLst>
              <a:ext uri="{FF2B5EF4-FFF2-40B4-BE49-F238E27FC236}">
                <a16:creationId xmlns:a16="http://schemas.microsoft.com/office/drawing/2014/main" id="{60D222C8-649D-DD3A-DC94-A3C93B2BCA50}"/>
              </a:ext>
            </a:extLst>
          </p:cNvPr>
          <p:cNvSpPr>
            <a:spLocks/>
          </p:cNvSpPr>
          <p:nvPr/>
        </p:nvSpPr>
        <p:spPr bwMode="gray">
          <a:xfrm flipH="1">
            <a:off x="6132987" y="4005065"/>
            <a:ext cx="6059013" cy="1010964"/>
          </a:xfrm>
          <a:custGeom>
            <a:avLst/>
            <a:gdLst>
              <a:gd name="connsiteX0" fmla="*/ 5835971 w 6059013"/>
              <a:gd name="connsiteY0" fmla="*/ 0 h 1010964"/>
              <a:gd name="connsiteX1" fmla="*/ 0 w 6059013"/>
              <a:gd name="connsiteY1" fmla="*/ 0 h 1010964"/>
              <a:gd name="connsiteX2" fmla="*/ 0 w 6059013"/>
              <a:gd name="connsiteY2" fmla="*/ 1010964 h 1010964"/>
              <a:gd name="connsiteX3" fmla="*/ 6059013 w 6059013"/>
              <a:gd name="connsiteY3" fmla="*/ 1010964 h 1010964"/>
            </a:gdLst>
            <a:ahLst/>
            <a:cxnLst>
              <a:cxn ang="0">
                <a:pos x="connsiteX0" y="connsiteY0"/>
              </a:cxn>
              <a:cxn ang="0">
                <a:pos x="connsiteX1" y="connsiteY1"/>
              </a:cxn>
              <a:cxn ang="0">
                <a:pos x="connsiteX2" y="connsiteY2"/>
              </a:cxn>
              <a:cxn ang="0">
                <a:pos x="connsiteX3" y="connsiteY3"/>
              </a:cxn>
            </a:cxnLst>
            <a:rect l="l" t="t" r="r" b="b"/>
            <a:pathLst>
              <a:path w="6059013" h="1010964">
                <a:moveTo>
                  <a:pt x="5835971" y="0"/>
                </a:moveTo>
                <a:lnTo>
                  <a:pt x="0" y="0"/>
                </a:lnTo>
                <a:lnTo>
                  <a:pt x="0" y="1010964"/>
                </a:lnTo>
                <a:lnTo>
                  <a:pt x="6059013" y="1010964"/>
                </a:lnTo>
                <a:close/>
              </a:path>
            </a:pathLst>
          </a:custGeom>
          <a:noFill/>
          <a:ln w="9525">
            <a:noFill/>
            <a:miter lim="800000"/>
            <a:headEnd/>
            <a:tailEnd/>
          </a:ln>
        </p:spPr>
        <p:txBody>
          <a:bodyPr wrap="square" lIns="72000" tIns="72000" rIns="72000" bIns="7200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2" name="Titel 1">
            <a:extLst>
              <a:ext uri="{FF2B5EF4-FFF2-40B4-BE49-F238E27FC236}">
                <a16:creationId xmlns:a16="http://schemas.microsoft.com/office/drawing/2014/main" id="{3B251C9E-8F09-81F0-D0FC-574FE477070E}"/>
              </a:ext>
            </a:extLst>
          </p:cNvPr>
          <p:cNvSpPr>
            <a:spLocks noGrp="1"/>
          </p:cNvSpPr>
          <p:nvPr>
            <p:ph type="title"/>
          </p:nvPr>
        </p:nvSpPr>
        <p:spPr/>
        <p:txBody>
          <a:bodyPr vert="horz"/>
          <a:lstStyle/>
          <a:p>
            <a:r>
              <a:rPr lang="en-US" dirty="0"/>
              <a:t>IGBT7 manufacturing footprint</a:t>
            </a:r>
          </a:p>
        </p:txBody>
      </p:sp>
      <p:sp>
        <p:nvSpPr>
          <p:cNvPr id="15" name="Freihandform: Form 14">
            <a:extLst>
              <a:ext uri="{FF2B5EF4-FFF2-40B4-BE49-F238E27FC236}">
                <a16:creationId xmlns:a16="http://schemas.microsoft.com/office/drawing/2014/main" id="{37613AD0-1B4C-3A7A-4F6A-355C90BBDFA8}"/>
              </a:ext>
            </a:extLst>
          </p:cNvPr>
          <p:cNvSpPr>
            <a:spLocks/>
          </p:cNvSpPr>
          <p:nvPr/>
        </p:nvSpPr>
        <p:spPr bwMode="gray">
          <a:xfrm>
            <a:off x="1" y="4005065"/>
            <a:ext cx="6391253" cy="1010964"/>
          </a:xfrm>
          <a:custGeom>
            <a:avLst/>
            <a:gdLst>
              <a:gd name="connsiteX0" fmla="*/ 0 w 6391253"/>
              <a:gd name="connsiteY0" fmla="*/ 0 h 1010964"/>
              <a:gd name="connsiteX1" fmla="*/ 6391253 w 6391253"/>
              <a:gd name="connsiteY1" fmla="*/ 0 h 1010964"/>
              <a:gd name="connsiteX2" fmla="*/ 6168212 w 6391253"/>
              <a:gd name="connsiteY2" fmla="*/ 1010964 h 1010964"/>
              <a:gd name="connsiteX3" fmla="*/ 0 w 6391253"/>
              <a:gd name="connsiteY3" fmla="*/ 1010964 h 1010964"/>
            </a:gdLst>
            <a:ahLst/>
            <a:cxnLst>
              <a:cxn ang="0">
                <a:pos x="connsiteX0" y="connsiteY0"/>
              </a:cxn>
              <a:cxn ang="0">
                <a:pos x="connsiteX1" y="connsiteY1"/>
              </a:cxn>
              <a:cxn ang="0">
                <a:pos x="connsiteX2" y="connsiteY2"/>
              </a:cxn>
              <a:cxn ang="0">
                <a:pos x="connsiteX3" y="connsiteY3"/>
              </a:cxn>
            </a:cxnLst>
            <a:rect l="l" t="t" r="r" b="b"/>
            <a:pathLst>
              <a:path w="6391253" h="1010964">
                <a:moveTo>
                  <a:pt x="0" y="0"/>
                </a:moveTo>
                <a:lnTo>
                  <a:pt x="6391253" y="0"/>
                </a:lnTo>
                <a:lnTo>
                  <a:pt x="6168212" y="1010964"/>
                </a:lnTo>
                <a:lnTo>
                  <a:pt x="0" y="1010964"/>
                </a:lnTo>
                <a:close/>
              </a:path>
            </a:pathLst>
          </a:custGeom>
          <a:noFill/>
          <a:ln w="9525">
            <a:noFill/>
            <a:miter lim="800000"/>
            <a:headEnd/>
            <a:tailEnd/>
          </a:ln>
        </p:spPr>
        <p:txBody>
          <a:bodyPr wrap="square" lIns="72000" tIns="72000" rIns="72000" bIns="7200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 name="Textfeld 6">
            <a:extLst>
              <a:ext uri="{FF2B5EF4-FFF2-40B4-BE49-F238E27FC236}">
                <a16:creationId xmlns:a16="http://schemas.microsoft.com/office/drawing/2014/main" id="{7F706276-FBBF-A49F-2F2E-F864FA19D979}"/>
              </a:ext>
            </a:extLst>
          </p:cNvPr>
          <p:cNvSpPr txBox="1">
            <a:spLocks/>
          </p:cNvSpPr>
          <p:nvPr/>
        </p:nvSpPr>
        <p:spPr bwMode="gray">
          <a:xfrm>
            <a:off x="380019" y="1258888"/>
            <a:ext cx="8635994" cy="615553"/>
          </a:xfrm>
          <a:prstGeom prst="rect">
            <a:avLst/>
          </a:prstGeom>
          <a:noFill/>
          <a:ln w="9525">
            <a:noFill/>
            <a:miter lim="800000"/>
            <a:headEnd/>
            <a:tailEnd/>
          </a:ln>
          <a:effectLst/>
        </p:spPr>
        <p:txBody>
          <a:bodyPr wrap="square" lIns="0" tIns="0" rIns="0" bIns="0" anchor="ctr">
            <a:spAutoFit/>
          </a:bodyPr>
          <a:lstStyle/>
          <a:p>
            <a:pPr lvl="0">
              <a:defRPr/>
            </a:pPr>
            <a:r>
              <a:rPr lang="en-US" sz="2000" b="1" dirty="0">
                <a:solidFill>
                  <a:schemeClr val="dk1"/>
                </a:solidFill>
              </a:rPr>
              <a:t>The world's first production of power semiconductors in 300-millimeter thin wafer technology</a:t>
            </a:r>
          </a:p>
        </p:txBody>
      </p:sp>
      <p:sp>
        <p:nvSpPr>
          <p:cNvPr id="18" name="Textfeld 17">
            <a:extLst>
              <a:ext uri="{FF2B5EF4-FFF2-40B4-BE49-F238E27FC236}">
                <a16:creationId xmlns:a16="http://schemas.microsoft.com/office/drawing/2014/main" id="{1490E210-D7D1-718B-B1B4-3DAF14B2F147}"/>
              </a:ext>
            </a:extLst>
          </p:cNvPr>
          <p:cNvSpPr txBox="1">
            <a:spLocks/>
          </p:cNvSpPr>
          <p:nvPr/>
        </p:nvSpPr>
        <p:spPr bwMode="gray">
          <a:xfrm>
            <a:off x="402412" y="1990001"/>
            <a:ext cx="5765596" cy="430887"/>
          </a:xfrm>
          <a:prstGeom prst="rect">
            <a:avLst/>
          </a:prstGeom>
          <a:noFill/>
          <a:ln w="9525">
            <a:noFill/>
            <a:miter lim="800000"/>
            <a:headEnd/>
            <a:tailEnd/>
          </a:ln>
          <a:effectLst/>
        </p:spPr>
        <p:txBody>
          <a:bodyPr wrap="square" lIns="0" tIns="0" rIns="0" bIns="0">
            <a:spAutoFit/>
          </a:bodyPr>
          <a:lstStyle/>
          <a:p>
            <a:r>
              <a:rPr lang="en-US" dirty="0">
                <a:latin typeface="Arial" panose="020B0604020202020204" pitchFamily="34" charset="0"/>
                <a:cs typeface="Arial" panose="020B0604020202020204" pitchFamily="34" charset="0"/>
              </a:rPr>
              <a:t>These particularly </a:t>
            </a:r>
            <a:r>
              <a:rPr lang="en-US" b="1" dirty="0">
                <a:latin typeface="Arial" panose="020B0604020202020204" pitchFamily="34" charset="0"/>
                <a:cs typeface="Arial" panose="020B0604020202020204" pitchFamily="34" charset="0"/>
              </a:rPr>
              <a:t>thin energy-saving chips </a:t>
            </a:r>
            <a:r>
              <a:rPr lang="en-US" dirty="0">
                <a:latin typeface="Arial" panose="020B0604020202020204" pitchFamily="34" charset="0"/>
                <a:cs typeface="Arial" panose="020B0604020202020204" pitchFamily="34" charset="0"/>
              </a:rPr>
              <a:t>ensure even more efficient energy conversion in electronic systems. </a:t>
            </a:r>
            <a:endParaRPr lang="en-US" dirty="0"/>
          </a:p>
        </p:txBody>
      </p:sp>
      <p:sp>
        <p:nvSpPr>
          <p:cNvPr id="3" name="Rechteck 2">
            <a:extLst>
              <a:ext uri="{FF2B5EF4-FFF2-40B4-BE49-F238E27FC236}">
                <a16:creationId xmlns:a16="http://schemas.microsoft.com/office/drawing/2014/main" id="{9FA47785-A666-4736-1749-06DC7D478921}"/>
              </a:ext>
            </a:extLst>
          </p:cNvPr>
          <p:cNvSpPr>
            <a:spLocks/>
          </p:cNvSpPr>
          <p:nvPr/>
        </p:nvSpPr>
        <p:spPr bwMode="auto">
          <a:xfrm>
            <a:off x="514432" y="4095338"/>
            <a:ext cx="1800597" cy="307777"/>
          </a:xfrm>
          <a:prstGeom prst="rect">
            <a:avLst/>
          </a:prstGeom>
          <a:noFill/>
          <a:ln w="9525">
            <a:noFill/>
            <a:miter lim="800000"/>
            <a:headEnd/>
            <a:tailEnd/>
          </a:ln>
          <a:effectLst/>
        </p:spPr>
        <p:txBody>
          <a:bodyPr wrap="square" lIns="0" tIns="0" rIns="0" bIns="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1D1D1D"/>
                </a:solidFill>
                <a:effectLst/>
                <a:uLnTx/>
                <a:uFillTx/>
                <a:latin typeface="Arial" charset="0"/>
                <a:cs typeface="Arial"/>
              </a:rPr>
              <a:t>Villach</a:t>
            </a:r>
          </a:p>
        </p:txBody>
      </p:sp>
      <p:sp>
        <p:nvSpPr>
          <p:cNvPr id="4" name="Rechteck 3">
            <a:extLst>
              <a:ext uri="{FF2B5EF4-FFF2-40B4-BE49-F238E27FC236}">
                <a16:creationId xmlns:a16="http://schemas.microsoft.com/office/drawing/2014/main" id="{01C36959-A698-228C-4C7B-3B834EBFB7B8}"/>
              </a:ext>
            </a:extLst>
          </p:cNvPr>
          <p:cNvSpPr>
            <a:spLocks/>
          </p:cNvSpPr>
          <p:nvPr/>
        </p:nvSpPr>
        <p:spPr bwMode="auto">
          <a:xfrm>
            <a:off x="9876971" y="4095338"/>
            <a:ext cx="1800597" cy="307777"/>
          </a:xfrm>
          <a:prstGeom prst="rect">
            <a:avLst/>
          </a:prstGeom>
          <a:noFill/>
          <a:ln w="9525">
            <a:noFill/>
            <a:miter lim="800000"/>
            <a:headEnd/>
            <a:tailEnd/>
          </a:ln>
          <a:effectLst/>
        </p:spPr>
        <p:txBody>
          <a:bodyPr wrap="square" lIns="0" tIns="0" rIns="0" bIns="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1D1D1D"/>
                </a:solidFill>
                <a:effectLst/>
                <a:uLnTx/>
                <a:uFillTx/>
                <a:latin typeface="Arial" charset="0"/>
                <a:cs typeface="Arial"/>
              </a:rPr>
              <a:t>Dresden</a:t>
            </a:r>
          </a:p>
        </p:txBody>
      </p:sp>
      <p:sp>
        <p:nvSpPr>
          <p:cNvPr id="12" name="Rechteck 11">
            <a:extLst>
              <a:ext uri="{FF2B5EF4-FFF2-40B4-BE49-F238E27FC236}">
                <a16:creationId xmlns:a16="http://schemas.microsoft.com/office/drawing/2014/main" id="{16154133-8F26-847F-FD89-8EF078A5548C}"/>
              </a:ext>
            </a:extLst>
          </p:cNvPr>
          <p:cNvSpPr>
            <a:spLocks/>
          </p:cNvSpPr>
          <p:nvPr/>
        </p:nvSpPr>
        <p:spPr bwMode="auto">
          <a:xfrm>
            <a:off x="334432" y="6169476"/>
            <a:ext cx="5617105" cy="50800"/>
          </a:xfrm>
          <a:prstGeom prst="rect">
            <a:avLst/>
          </a:prstGeom>
          <a:solidFill>
            <a:schemeClr val="tx2"/>
          </a:solidFill>
          <a:ln w="9525">
            <a:solidFill>
              <a:schemeClr val="tx2"/>
            </a:solidFill>
            <a:miter lim="800000"/>
            <a:headEnd/>
            <a:tailEn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14" name="Rechteck 13">
            <a:extLst>
              <a:ext uri="{FF2B5EF4-FFF2-40B4-BE49-F238E27FC236}">
                <a16:creationId xmlns:a16="http://schemas.microsoft.com/office/drawing/2014/main" id="{F64FF5C8-DCC0-3ECC-E537-6DD826EF9B80}"/>
              </a:ext>
            </a:extLst>
          </p:cNvPr>
          <p:cNvSpPr>
            <a:spLocks/>
          </p:cNvSpPr>
          <p:nvPr/>
        </p:nvSpPr>
        <p:spPr bwMode="auto">
          <a:xfrm>
            <a:off x="6240465" y="6169481"/>
            <a:ext cx="5618027" cy="50800"/>
          </a:xfrm>
          <a:prstGeom prst="rect">
            <a:avLst/>
          </a:prstGeom>
          <a:solidFill>
            <a:schemeClr val="accent4"/>
          </a:solidFill>
          <a:ln w="9525" cap="flat" cmpd="sng" algn="ctr">
            <a:solidFill>
              <a:schemeClr val="accent4"/>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28" name="Rechteck 4">
            <a:extLst>
              <a:ext uri="{FF2B5EF4-FFF2-40B4-BE49-F238E27FC236}">
                <a16:creationId xmlns:a16="http://schemas.microsoft.com/office/drawing/2014/main" id="{DB2B6EE9-C1E2-E296-BCB2-6884BF6682F9}"/>
              </a:ext>
            </a:extLst>
          </p:cNvPr>
          <p:cNvSpPr>
            <a:spLocks/>
          </p:cNvSpPr>
          <p:nvPr/>
        </p:nvSpPr>
        <p:spPr bwMode="gray">
          <a:xfrm>
            <a:off x="5442600" y="4689269"/>
            <a:ext cx="1306800" cy="1306800"/>
          </a:xfrm>
          <a:prstGeom prst="ellipse">
            <a:avLst/>
          </a:prstGeom>
          <a:solidFill>
            <a:schemeClr val="bg1"/>
          </a:solidFill>
          <a:ln w="9525">
            <a:noFill/>
            <a:miter lim="800000"/>
            <a:headEnd/>
            <a:tailEnd/>
          </a:ln>
        </p:spPr>
        <p:txBody>
          <a:bodyPr wrap="non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30000" noProof="0" dirty="0">
              <a:ln>
                <a:noFill/>
              </a:ln>
              <a:solidFill>
                <a:srgbClr val="000000"/>
              </a:solidFill>
              <a:effectLst/>
              <a:uLnTx/>
              <a:uFillTx/>
              <a:latin typeface="Arial"/>
              <a:cs typeface="Arial"/>
            </a:endParaRPr>
          </a:p>
        </p:txBody>
      </p:sp>
      <p:pic>
        <p:nvPicPr>
          <p:cNvPr id="117" name="Grafik 38" descr="Mikroskop">
            <a:extLst>
              <a:ext uri="{FF2B5EF4-FFF2-40B4-BE49-F238E27FC236}">
                <a16:creationId xmlns:a16="http://schemas.microsoft.com/office/drawing/2014/main" id="{FE49DF8D-4A43-462E-81C2-7A039F30B0AA}"/>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20336" y="1556872"/>
            <a:ext cx="720000" cy="720000"/>
          </a:xfrm>
          <a:prstGeom prst="rect">
            <a:avLst/>
          </a:prstGeom>
        </p:spPr>
      </p:pic>
      <p:pic>
        <p:nvPicPr>
          <p:cNvPr id="118" name="Grafik 42" descr="Erdkugel: Amerika">
            <a:extLst>
              <a:ext uri="{FF2B5EF4-FFF2-40B4-BE49-F238E27FC236}">
                <a16:creationId xmlns:a16="http://schemas.microsoft.com/office/drawing/2014/main" id="{DEE10828-FD54-43A9-9BF6-0A040C35A49F}"/>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120336" y="3213056"/>
            <a:ext cx="720000" cy="720000"/>
          </a:xfrm>
          <a:prstGeom prst="rect">
            <a:avLst/>
          </a:prstGeom>
        </p:spPr>
      </p:pic>
      <p:sp>
        <p:nvSpPr>
          <p:cNvPr id="119" name="Textfeld 13">
            <a:extLst>
              <a:ext uri="{FF2B5EF4-FFF2-40B4-BE49-F238E27FC236}">
                <a16:creationId xmlns:a16="http://schemas.microsoft.com/office/drawing/2014/main" id="{CA9963A5-1725-40B3-82EB-428243285BFE}"/>
              </a:ext>
            </a:extLst>
          </p:cNvPr>
          <p:cNvSpPr txBox="1"/>
          <p:nvPr/>
        </p:nvSpPr>
        <p:spPr bwMode="auto">
          <a:xfrm>
            <a:off x="9944660" y="1779013"/>
            <a:ext cx="3360373" cy="275717"/>
          </a:xfrm>
          <a:prstGeom prst="rect">
            <a:avLst/>
          </a:prstGeom>
          <a:noFill/>
          <a:ln w="9525">
            <a:noFill/>
            <a:miter lim="800000"/>
            <a:headEnd/>
            <a:tailEnd/>
          </a:ln>
          <a:effectLst/>
        </p:spPr>
        <p:txBody>
          <a:bodyPr wrap="square" lIns="0" tIns="0" rIns="0" bIns="0" rtlCol="0" anchor="ctr" anchorCtr="0">
            <a:spAutoFit/>
          </a:bodyPr>
          <a:lstStyle/>
          <a:p>
            <a:pPr marL="93660" eaLnBrk="0" fontAlgn="auto" hangingPunct="0">
              <a:lnSpc>
                <a:spcPts val="2300"/>
              </a:lnSpc>
              <a:spcBef>
                <a:spcPts val="0"/>
              </a:spcBef>
              <a:spcAft>
                <a:spcPts val="300"/>
              </a:spcAft>
              <a:buClr>
                <a:srgbClr val="B70D28"/>
              </a:buClr>
            </a:pPr>
            <a:r>
              <a:rPr lang="en-US" sz="1867" b="1" kern="0" dirty="0">
                <a:solidFill>
                  <a:schemeClr val="dk2"/>
                </a:solidFill>
                <a:latin typeface="+mj-lt"/>
                <a:ea typeface="Verdana" pitchFamily="34" charset="0"/>
                <a:cs typeface="Verdana" pitchFamily="34" charset="0"/>
              </a:rPr>
              <a:t>R&amp;D</a:t>
            </a:r>
          </a:p>
        </p:txBody>
      </p:sp>
      <p:sp>
        <p:nvSpPr>
          <p:cNvPr id="120" name="Textfeld 13">
            <a:extLst>
              <a:ext uri="{FF2B5EF4-FFF2-40B4-BE49-F238E27FC236}">
                <a16:creationId xmlns:a16="http://schemas.microsoft.com/office/drawing/2014/main" id="{2C143CE3-D6F5-42DA-AB1E-55212827322A}"/>
              </a:ext>
            </a:extLst>
          </p:cNvPr>
          <p:cNvSpPr txBox="1"/>
          <p:nvPr/>
        </p:nvSpPr>
        <p:spPr bwMode="auto">
          <a:xfrm>
            <a:off x="9941980" y="2609864"/>
            <a:ext cx="3360373" cy="275717"/>
          </a:xfrm>
          <a:prstGeom prst="rect">
            <a:avLst/>
          </a:prstGeom>
          <a:noFill/>
          <a:ln w="9525">
            <a:noFill/>
            <a:miter lim="800000"/>
            <a:headEnd/>
            <a:tailEnd/>
          </a:ln>
          <a:effectLst/>
        </p:spPr>
        <p:txBody>
          <a:bodyPr wrap="square" lIns="0" tIns="0" rIns="0" bIns="0" rtlCol="0" anchor="ctr" anchorCtr="0">
            <a:spAutoFit/>
          </a:bodyPr>
          <a:lstStyle/>
          <a:p>
            <a:pPr marL="93660" eaLnBrk="0" fontAlgn="auto" hangingPunct="0">
              <a:lnSpc>
                <a:spcPts val="2300"/>
              </a:lnSpc>
              <a:spcBef>
                <a:spcPts val="0"/>
              </a:spcBef>
              <a:spcAft>
                <a:spcPts val="300"/>
              </a:spcAft>
              <a:buClr>
                <a:srgbClr val="B70D28"/>
              </a:buClr>
            </a:pPr>
            <a:r>
              <a:rPr lang="en-US" sz="1867" b="1" kern="0" dirty="0">
                <a:solidFill>
                  <a:schemeClr val="dk2"/>
                </a:solidFill>
                <a:latin typeface="+mj-lt"/>
                <a:ea typeface="Verdana" pitchFamily="34" charset="0"/>
                <a:cs typeface="Verdana" pitchFamily="34" charset="0"/>
              </a:rPr>
              <a:t>Production</a:t>
            </a:r>
          </a:p>
        </p:txBody>
      </p:sp>
      <p:sp>
        <p:nvSpPr>
          <p:cNvPr id="121" name="Textfeld 13">
            <a:extLst>
              <a:ext uri="{FF2B5EF4-FFF2-40B4-BE49-F238E27FC236}">
                <a16:creationId xmlns:a16="http://schemas.microsoft.com/office/drawing/2014/main" id="{012C6EB1-9194-44EE-AC29-B9621774014F}"/>
              </a:ext>
            </a:extLst>
          </p:cNvPr>
          <p:cNvSpPr txBox="1"/>
          <p:nvPr/>
        </p:nvSpPr>
        <p:spPr bwMode="auto">
          <a:xfrm>
            <a:off x="9941980" y="3287722"/>
            <a:ext cx="3028621" cy="570669"/>
          </a:xfrm>
          <a:prstGeom prst="rect">
            <a:avLst/>
          </a:prstGeom>
          <a:noFill/>
          <a:ln w="9525">
            <a:noFill/>
            <a:miter lim="800000"/>
            <a:headEnd/>
            <a:tailEnd/>
          </a:ln>
          <a:effectLst/>
        </p:spPr>
        <p:txBody>
          <a:bodyPr wrap="square" lIns="0" tIns="0" rIns="0" bIns="0" rtlCol="0" anchor="ctr" anchorCtr="0">
            <a:spAutoFit/>
          </a:bodyPr>
          <a:lstStyle/>
          <a:p>
            <a:pPr marL="93660" eaLnBrk="0" fontAlgn="auto" hangingPunct="0">
              <a:lnSpc>
                <a:spcPts val="2300"/>
              </a:lnSpc>
              <a:spcBef>
                <a:spcPts val="0"/>
              </a:spcBef>
              <a:spcAft>
                <a:spcPts val="300"/>
              </a:spcAft>
              <a:buClr>
                <a:srgbClr val="B70D28"/>
              </a:buClr>
            </a:pPr>
            <a:r>
              <a:rPr lang="en-US" sz="1867" b="1" kern="0" dirty="0">
                <a:solidFill>
                  <a:schemeClr val="dk2"/>
                </a:solidFill>
                <a:latin typeface="+mj-lt"/>
                <a:ea typeface="Verdana" pitchFamily="34" charset="0"/>
                <a:cs typeface="Verdana" pitchFamily="34" charset="0"/>
              </a:rPr>
              <a:t>Global business responsibility</a:t>
            </a:r>
          </a:p>
        </p:txBody>
      </p:sp>
      <p:grpSp>
        <p:nvGrpSpPr>
          <p:cNvPr id="122" name="Wafer">
            <a:extLst>
              <a:ext uri="{FF2B5EF4-FFF2-40B4-BE49-F238E27FC236}">
                <a16:creationId xmlns:a16="http://schemas.microsoft.com/office/drawing/2014/main" id="{D030DA82-8EFC-4303-BDDB-83E3F9A363B1}"/>
              </a:ext>
            </a:extLst>
          </p:cNvPr>
          <p:cNvGrpSpPr>
            <a:grpSpLocks noChangeAspect="1"/>
          </p:cNvGrpSpPr>
          <p:nvPr>
            <p:custDataLst>
              <p:tags r:id="rId3"/>
            </p:custDataLst>
          </p:nvPr>
        </p:nvGrpSpPr>
        <p:grpSpPr>
          <a:xfrm>
            <a:off x="9177912" y="2420888"/>
            <a:ext cx="626748" cy="591033"/>
            <a:chOff x="506602" y="4129851"/>
            <a:chExt cx="735664" cy="693742"/>
          </a:xfrm>
          <a:solidFill>
            <a:srgbClr val="3A8076"/>
          </a:solidFill>
        </p:grpSpPr>
        <p:sp>
          <p:nvSpPr>
            <p:cNvPr id="123" name="Freihandform: Form 37">
              <a:extLst>
                <a:ext uri="{FF2B5EF4-FFF2-40B4-BE49-F238E27FC236}">
                  <a16:creationId xmlns:a16="http://schemas.microsoft.com/office/drawing/2014/main" id="{5DBE1355-9712-4818-AF5E-D16830044191}"/>
                </a:ext>
              </a:extLst>
            </p:cNvPr>
            <p:cNvSpPr/>
            <p:nvPr/>
          </p:nvSpPr>
          <p:spPr>
            <a:xfrm>
              <a:off x="884441" y="4507139"/>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24" name="Freihandform: Form 38">
              <a:extLst>
                <a:ext uri="{FF2B5EF4-FFF2-40B4-BE49-F238E27FC236}">
                  <a16:creationId xmlns:a16="http://schemas.microsoft.com/office/drawing/2014/main" id="{F01EA952-F16B-46DB-8090-AEF0EE84D8F6}"/>
                </a:ext>
              </a:extLst>
            </p:cNvPr>
            <p:cNvSpPr/>
            <p:nvPr/>
          </p:nvSpPr>
          <p:spPr>
            <a:xfrm>
              <a:off x="884441" y="4439595"/>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25" name="Freihandform: Form 39">
              <a:extLst>
                <a:ext uri="{FF2B5EF4-FFF2-40B4-BE49-F238E27FC236}">
                  <a16:creationId xmlns:a16="http://schemas.microsoft.com/office/drawing/2014/main" id="{3DC597D0-7AC8-4EFF-89AC-5CFF4259CC3E}"/>
                </a:ext>
              </a:extLst>
            </p:cNvPr>
            <p:cNvSpPr/>
            <p:nvPr/>
          </p:nvSpPr>
          <p:spPr>
            <a:xfrm>
              <a:off x="884441" y="4373303"/>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26" name="Freihandform: Form 40">
              <a:extLst>
                <a:ext uri="{FF2B5EF4-FFF2-40B4-BE49-F238E27FC236}">
                  <a16:creationId xmlns:a16="http://schemas.microsoft.com/office/drawing/2014/main" id="{1E393669-4140-4BFD-AF07-63D00FF099B1}"/>
                </a:ext>
              </a:extLst>
            </p:cNvPr>
            <p:cNvSpPr/>
            <p:nvPr/>
          </p:nvSpPr>
          <p:spPr>
            <a:xfrm>
              <a:off x="884441" y="4574682"/>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27" name="Freihandform: Form 41">
              <a:extLst>
                <a:ext uri="{FF2B5EF4-FFF2-40B4-BE49-F238E27FC236}">
                  <a16:creationId xmlns:a16="http://schemas.microsoft.com/office/drawing/2014/main" id="{F64C4D30-AD27-4A9C-974E-7D54D2D41FF3}"/>
                </a:ext>
              </a:extLst>
            </p:cNvPr>
            <p:cNvSpPr/>
            <p:nvPr/>
          </p:nvSpPr>
          <p:spPr>
            <a:xfrm>
              <a:off x="884441" y="4305759"/>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28" name="Freihandform: Form 42">
              <a:extLst>
                <a:ext uri="{FF2B5EF4-FFF2-40B4-BE49-F238E27FC236}">
                  <a16:creationId xmlns:a16="http://schemas.microsoft.com/office/drawing/2014/main" id="{DE431670-5AFC-4FAF-964F-AEE4470DC19F}"/>
                </a:ext>
              </a:extLst>
            </p:cNvPr>
            <p:cNvSpPr/>
            <p:nvPr/>
          </p:nvSpPr>
          <p:spPr>
            <a:xfrm>
              <a:off x="951985" y="4642226"/>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29" name="Freihandform: Form 43">
              <a:extLst>
                <a:ext uri="{FF2B5EF4-FFF2-40B4-BE49-F238E27FC236}">
                  <a16:creationId xmlns:a16="http://schemas.microsoft.com/office/drawing/2014/main" id="{9E01573E-35AF-4771-A4EE-8EF5B7105267}"/>
                </a:ext>
              </a:extLst>
            </p:cNvPr>
            <p:cNvSpPr/>
            <p:nvPr/>
          </p:nvSpPr>
          <p:spPr>
            <a:xfrm>
              <a:off x="884441" y="4238215"/>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0" name="Freihandform: Form 44">
              <a:extLst>
                <a:ext uri="{FF2B5EF4-FFF2-40B4-BE49-F238E27FC236}">
                  <a16:creationId xmlns:a16="http://schemas.microsoft.com/office/drawing/2014/main" id="{996BF5A0-F7D7-4068-A30C-629CE356D1AD}"/>
                </a:ext>
              </a:extLst>
            </p:cNvPr>
            <p:cNvSpPr/>
            <p:nvPr/>
          </p:nvSpPr>
          <p:spPr>
            <a:xfrm>
              <a:off x="951985" y="4709770"/>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1" name="Freihandform: Form 45">
              <a:extLst>
                <a:ext uri="{FF2B5EF4-FFF2-40B4-BE49-F238E27FC236}">
                  <a16:creationId xmlns:a16="http://schemas.microsoft.com/office/drawing/2014/main" id="{D399D15D-114D-47F3-8E19-C7F1FBC0AE17}"/>
                </a:ext>
              </a:extLst>
            </p:cNvPr>
            <p:cNvSpPr/>
            <p:nvPr/>
          </p:nvSpPr>
          <p:spPr>
            <a:xfrm>
              <a:off x="816897" y="4305759"/>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2" name="Freihandform: Form 46">
              <a:extLst>
                <a:ext uri="{FF2B5EF4-FFF2-40B4-BE49-F238E27FC236}">
                  <a16:creationId xmlns:a16="http://schemas.microsoft.com/office/drawing/2014/main" id="{B70F4E4F-73B8-4D13-90D4-7EB73086432E}"/>
                </a:ext>
              </a:extLst>
            </p:cNvPr>
            <p:cNvSpPr/>
            <p:nvPr/>
          </p:nvSpPr>
          <p:spPr>
            <a:xfrm>
              <a:off x="816897" y="4373303"/>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3" name="Freihandform: Form 47">
              <a:extLst>
                <a:ext uri="{FF2B5EF4-FFF2-40B4-BE49-F238E27FC236}">
                  <a16:creationId xmlns:a16="http://schemas.microsoft.com/office/drawing/2014/main" id="{A505A4BF-8C87-4F25-99C9-E23C6779A69F}"/>
                </a:ext>
              </a:extLst>
            </p:cNvPr>
            <p:cNvSpPr/>
            <p:nvPr/>
          </p:nvSpPr>
          <p:spPr>
            <a:xfrm>
              <a:off x="816897" y="4439595"/>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4" name="Freihandform: Form 48">
              <a:extLst>
                <a:ext uri="{FF2B5EF4-FFF2-40B4-BE49-F238E27FC236}">
                  <a16:creationId xmlns:a16="http://schemas.microsoft.com/office/drawing/2014/main" id="{0000D1A6-B47B-4075-8285-9CAA745B212E}"/>
                </a:ext>
              </a:extLst>
            </p:cNvPr>
            <p:cNvSpPr/>
            <p:nvPr/>
          </p:nvSpPr>
          <p:spPr>
            <a:xfrm>
              <a:off x="816897" y="4574682"/>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5" name="Freihandform: Form 49">
              <a:extLst>
                <a:ext uri="{FF2B5EF4-FFF2-40B4-BE49-F238E27FC236}">
                  <a16:creationId xmlns:a16="http://schemas.microsoft.com/office/drawing/2014/main" id="{F221495C-3BA7-4CA5-9097-3780455F7D59}"/>
                </a:ext>
              </a:extLst>
            </p:cNvPr>
            <p:cNvSpPr/>
            <p:nvPr/>
          </p:nvSpPr>
          <p:spPr>
            <a:xfrm>
              <a:off x="884441" y="4642226"/>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6" name="Freihandform: Form 50">
              <a:extLst>
                <a:ext uri="{FF2B5EF4-FFF2-40B4-BE49-F238E27FC236}">
                  <a16:creationId xmlns:a16="http://schemas.microsoft.com/office/drawing/2014/main" id="{42105FBE-3A62-4669-ABB8-0E60FB37A3EC}"/>
                </a:ext>
              </a:extLst>
            </p:cNvPr>
            <p:cNvSpPr/>
            <p:nvPr/>
          </p:nvSpPr>
          <p:spPr>
            <a:xfrm>
              <a:off x="816897" y="4238215"/>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7" name="Freihandform: Form 51">
              <a:extLst>
                <a:ext uri="{FF2B5EF4-FFF2-40B4-BE49-F238E27FC236}">
                  <a16:creationId xmlns:a16="http://schemas.microsoft.com/office/drawing/2014/main" id="{2314D898-A6CB-4E43-B122-9EE21D24FB47}"/>
                </a:ext>
              </a:extLst>
            </p:cNvPr>
            <p:cNvSpPr/>
            <p:nvPr/>
          </p:nvSpPr>
          <p:spPr>
            <a:xfrm>
              <a:off x="884441" y="4709770"/>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8" name="Freihandform: Form 52">
              <a:extLst>
                <a:ext uri="{FF2B5EF4-FFF2-40B4-BE49-F238E27FC236}">
                  <a16:creationId xmlns:a16="http://schemas.microsoft.com/office/drawing/2014/main" id="{C2685A7E-F997-467F-B176-88EBC11DD91D}"/>
                </a:ext>
              </a:extLst>
            </p:cNvPr>
            <p:cNvSpPr/>
            <p:nvPr/>
          </p:nvSpPr>
          <p:spPr>
            <a:xfrm>
              <a:off x="816897" y="4507139"/>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39" name="Freihandform: Form 53">
              <a:extLst>
                <a:ext uri="{FF2B5EF4-FFF2-40B4-BE49-F238E27FC236}">
                  <a16:creationId xmlns:a16="http://schemas.microsoft.com/office/drawing/2014/main" id="{57353285-3039-4B63-8BCF-9DE6E90E148A}"/>
                </a:ext>
              </a:extLst>
            </p:cNvPr>
            <p:cNvSpPr/>
            <p:nvPr/>
          </p:nvSpPr>
          <p:spPr>
            <a:xfrm>
              <a:off x="750605" y="4439595"/>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0" name="Freihandform: Form 54">
              <a:extLst>
                <a:ext uri="{FF2B5EF4-FFF2-40B4-BE49-F238E27FC236}">
                  <a16:creationId xmlns:a16="http://schemas.microsoft.com/office/drawing/2014/main" id="{5D5F25BF-9B45-443F-B32D-2974765B0291}"/>
                </a:ext>
              </a:extLst>
            </p:cNvPr>
            <p:cNvSpPr/>
            <p:nvPr/>
          </p:nvSpPr>
          <p:spPr>
            <a:xfrm>
              <a:off x="750605" y="4373303"/>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1" name="Freihandform: Form 55">
              <a:extLst>
                <a:ext uri="{FF2B5EF4-FFF2-40B4-BE49-F238E27FC236}">
                  <a16:creationId xmlns:a16="http://schemas.microsoft.com/office/drawing/2014/main" id="{A4DA7F67-AC57-4312-81A1-B2C4688E4EA8}"/>
                </a:ext>
              </a:extLst>
            </p:cNvPr>
            <p:cNvSpPr/>
            <p:nvPr/>
          </p:nvSpPr>
          <p:spPr>
            <a:xfrm>
              <a:off x="750605" y="4642226"/>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2" name="Freihandform: Form 56">
              <a:extLst>
                <a:ext uri="{FF2B5EF4-FFF2-40B4-BE49-F238E27FC236}">
                  <a16:creationId xmlns:a16="http://schemas.microsoft.com/office/drawing/2014/main" id="{05D89D2B-EDF0-4AE0-B75A-6029ED64590A}"/>
                </a:ext>
              </a:extLst>
            </p:cNvPr>
            <p:cNvSpPr/>
            <p:nvPr/>
          </p:nvSpPr>
          <p:spPr>
            <a:xfrm>
              <a:off x="750605" y="4574682"/>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3" name="Freihandform: Form 57">
              <a:extLst>
                <a:ext uri="{FF2B5EF4-FFF2-40B4-BE49-F238E27FC236}">
                  <a16:creationId xmlns:a16="http://schemas.microsoft.com/office/drawing/2014/main" id="{2DFEDBB9-7629-4DB8-80D5-EA7237027123}"/>
                </a:ext>
              </a:extLst>
            </p:cNvPr>
            <p:cNvSpPr/>
            <p:nvPr/>
          </p:nvSpPr>
          <p:spPr>
            <a:xfrm>
              <a:off x="750605" y="4507139"/>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4" name="Freihandform: Form 58">
              <a:extLst>
                <a:ext uri="{FF2B5EF4-FFF2-40B4-BE49-F238E27FC236}">
                  <a16:creationId xmlns:a16="http://schemas.microsoft.com/office/drawing/2014/main" id="{C0ABAD61-9B79-4300-9AF8-344BD5FCEBE5}"/>
                </a:ext>
              </a:extLst>
            </p:cNvPr>
            <p:cNvSpPr/>
            <p:nvPr/>
          </p:nvSpPr>
          <p:spPr>
            <a:xfrm>
              <a:off x="506602" y="4129851"/>
              <a:ext cx="735664" cy="693742"/>
            </a:xfrm>
            <a:custGeom>
              <a:avLst/>
              <a:gdLst>
                <a:gd name="connsiteX0" fmla="*/ 528709 w 560213"/>
                <a:gd name="connsiteY0" fmla="*/ 151099 h 528289"/>
                <a:gd name="connsiteX1" fmla="*/ 151519 w 560213"/>
                <a:gd name="connsiteY1" fmla="*/ 31084 h 528289"/>
                <a:gd name="connsiteX2" fmla="*/ 31504 w 560213"/>
                <a:gd name="connsiteY2" fmla="*/ 408274 h 528289"/>
                <a:gd name="connsiteX3" fmla="*/ 151519 w 560213"/>
                <a:gd name="connsiteY3" fmla="*/ 528289 h 528289"/>
                <a:gd name="connsiteX4" fmla="*/ 151519 w 560213"/>
                <a:gd name="connsiteY4" fmla="*/ 528289 h 528289"/>
                <a:gd name="connsiteX5" fmla="*/ 151519 w 560213"/>
                <a:gd name="connsiteY5" fmla="*/ 528289 h 528289"/>
                <a:gd name="connsiteX6" fmla="*/ 408694 w 560213"/>
                <a:gd name="connsiteY6" fmla="*/ 528289 h 528289"/>
                <a:gd name="connsiteX7" fmla="*/ 408694 w 560213"/>
                <a:gd name="connsiteY7" fmla="*/ 528289 h 528289"/>
                <a:gd name="connsiteX8" fmla="*/ 408694 w 560213"/>
                <a:gd name="connsiteY8" fmla="*/ 528289 h 528289"/>
                <a:gd name="connsiteX9" fmla="*/ 528709 w 560213"/>
                <a:gd name="connsiteY9" fmla="*/ 151099 h 528289"/>
                <a:gd name="connsiteX10" fmla="*/ 408694 w 560213"/>
                <a:gd name="connsiteY10" fmla="*/ 511144 h 528289"/>
                <a:gd name="connsiteX11" fmla="*/ 408694 w 560213"/>
                <a:gd name="connsiteY11" fmla="*/ 511144 h 528289"/>
                <a:gd name="connsiteX12" fmla="*/ 373452 w 560213"/>
                <a:gd name="connsiteY12" fmla="*/ 511144 h 528289"/>
                <a:gd name="connsiteX13" fmla="*/ 375357 w 560213"/>
                <a:gd name="connsiteY13" fmla="*/ 510192 h 528289"/>
                <a:gd name="connsiteX14" fmla="*/ 375357 w 560213"/>
                <a:gd name="connsiteY14" fmla="*/ 493047 h 528289"/>
                <a:gd name="connsiteX15" fmla="*/ 339162 w 560213"/>
                <a:gd name="connsiteY15" fmla="*/ 493047 h 528289"/>
                <a:gd name="connsiteX16" fmla="*/ 339162 w 560213"/>
                <a:gd name="connsiteY16" fmla="*/ 511144 h 528289"/>
                <a:gd name="connsiteX17" fmla="*/ 323922 w 560213"/>
                <a:gd name="connsiteY17" fmla="*/ 511144 h 528289"/>
                <a:gd name="connsiteX18" fmla="*/ 323922 w 560213"/>
                <a:gd name="connsiteY18" fmla="*/ 493047 h 528289"/>
                <a:gd name="connsiteX19" fmla="*/ 287727 w 560213"/>
                <a:gd name="connsiteY19" fmla="*/ 493047 h 528289"/>
                <a:gd name="connsiteX20" fmla="*/ 287727 w 560213"/>
                <a:gd name="connsiteY20" fmla="*/ 511144 h 528289"/>
                <a:gd name="connsiteX21" fmla="*/ 272487 w 560213"/>
                <a:gd name="connsiteY21" fmla="*/ 511144 h 528289"/>
                <a:gd name="connsiteX22" fmla="*/ 272487 w 560213"/>
                <a:gd name="connsiteY22" fmla="*/ 493047 h 528289"/>
                <a:gd name="connsiteX23" fmla="*/ 237244 w 560213"/>
                <a:gd name="connsiteY23" fmla="*/ 493047 h 528289"/>
                <a:gd name="connsiteX24" fmla="*/ 237244 w 560213"/>
                <a:gd name="connsiteY24" fmla="*/ 511144 h 528289"/>
                <a:gd name="connsiteX25" fmla="*/ 221052 w 560213"/>
                <a:gd name="connsiteY25" fmla="*/ 511144 h 528289"/>
                <a:gd name="connsiteX26" fmla="*/ 221052 w 560213"/>
                <a:gd name="connsiteY26" fmla="*/ 493047 h 528289"/>
                <a:gd name="connsiteX27" fmla="*/ 184857 w 560213"/>
                <a:gd name="connsiteY27" fmla="*/ 493047 h 528289"/>
                <a:gd name="connsiteX28" fmla="*/ 184857 w 560213"/>
                <a:gd name="connsiteY28" fmla="*/ 510192 h 528289"/>
                <a:gd name="connsiteX29" fmla="*/ 186762 w 560213"/>
                <a:gd name="connsiteY29" fmla="*/ 511144 h 528289"/>
                <a:gd name="connsiteX30" fmla="*/ 151519 w 560213"/>
                <a:gd name="connsiteY30" fmla="*/ 511144 h 528289"/>
                <a:gd name="connsiteX31" fmla="*/ 151519 w 560213"/>
                <a:gd name="connsiteY31" fmla="*/ 511144 h 528289"/>
                <a:gd name="connsiteX32" fmla="*/ 32457 w 560213"/>
                <a:gd name="connsiteY32" fmla="*/ 374937 h 528289"/>
                <a:gd name="connsiteX33" fmla="*/ 66747 w 560213"/>
                <a:gd name="connsiteY33" fmla="*/ 374937 h 528289"/>
                <a:gd name="connsiteX34" fmla="*/ 66747 w 560213"/>
                <a:gd name="connsiteY34" fmla="*/ 338742 h 528289"/>
                <a:gd name="connsiteX35" fmla="*/ 30552 w 560213"/>
                <a:gd name="connsiteY35" fmla="*/ 338742 h 528289"/>
                <a:gd name="connsiteX36" fmla="*/ 30552 w 560213"/>
                <a:gd name="connsiteY36" fmla="*/ 370174 h 528289"/>
                <a:gd name="connsiteX37" fmla="*/ 30552 w 560213"/>
                <a:gd name="connsiteY37" fmla="*/ 190152 h 528289"/>
                <a:gd name="connsiteX38" fmla="*/ 30552 w 560213"/>
                <a:gd name="connsiteY38" fmla="*/ 190152 h 528289"/>
                <a:gd name="connsiteX39" fmla="*/ 30552 w 560213"/>
                <a:gd name="connsiteY39" fmla="*/ 221584 h 528289"/>
                <a:gd name="connsiteX40" fmla="*/ 66747 w 560213"/>
                <a:gd name="connsiteY40" fmla="*/ 221584 h 528289"/>
                <a:gd name="connsiteX41" fmla="*/ 66747 w 560213"/>
                <a:gd name="connsiteY41" fmla="*/ 185389 h 528289"/>
                <a:gd name="connsiteX42" fmla="*/ 32457 w 560213"/>
                <a:gd name="connsiteY42" fmla="*/ 185389 h 528289"/>
                <a:gd name="connsiteX43" fmla="*/ 184857 w 560213"/>
                <a:gd name="connsiteY43" fmla="*/ 33942 h 528289"/>
                <a:gd name="connsiteX44" fmla="*/ 184857 w 560213"/>
                <a:gd name="connsiteY44" fmla="*/ 67279 h 528289"/>
                <a:gd name="connsiteX45" fmla="*/ 221052 w 560213"/>
                <a:gd name="connsiteY45" fmla="*/ 67279 h 528289"/>
                <a:gd name="connsiteX46" fmla="*/ 221052 w 560213"/>
                <a:gd name="connsiteY46" fmla="*/ 31084 h 528289"/>
                <a:gd name="connsiteX47" fmla="*/ 190572 w 560213"/>
                <a:gd name="connsiteY47" fmla="*/ 31084 h 528289"/>
                <a:gd name="connsiteX48" fmla="*/ 369642 w 560213"/>
                <a:gd name="connsiteY48" fmla="*/ 31084 h 528289"/>
                <a:gd name="connsiteX49" fmla="*/ 339162 w 560213"/>
                <a:gd name="connsiteY49" fmla="*/ 31084 h 528289"/>
                <a:gd name="connsiteX50" fmla="*/ 339162 w 560213"/>
                <a:gd name="connsiteY50" fmla="*/ 67279 h 528289"/>
                <a:gd name="connsiteX51" fmla="*/ 375357 w 560213"/>
                <a:gd name="connsiteY51" fmla="*/ 67279 h 528289"/>
                <a:gd name="connsiteX52" fmla="*/ 375357 w 560213"/>
                <a:gd name="connsiteY52" fmla="*/ 33942 h 528289"/>
                <a:gd name="connsiteX53" fmla="*/ 526804 w 560213"/>
                <a:gd name="connsiteY53" fmla="*/ 185389 h 528289"/>
                <a:gd name="connsiteX54" fmla="*/ 493467 w 560213"/>
                <a:gd name="connsiteY54" fmla="*/ 185389 h 528289"/>
                <a:gd name="connsiteX55" fmla="*/ 493467 w 560213"/>
                <a:gd name="connsiteY55" fmla="*/ 221584 h 528289"/>
                <a:gd name="connsiteX56" fmla="*/ 529662 w 560213"/>
                <a:gd name="connsiteY56" fmla="*/ 221584 h 528289"/>
                <a:gd name="connsiteX57" fmla="*/ 529662 w 560213"/>
                <a:gd name="connsiteY57" fmla="*/ 192057 h 528289"/>
                <a:gd name="connsiteX58" fmla="*/ 529662 w 560213"/>
                <a:gd name="connsiteY58" fmla="*/ 370174 h 528289"/>
                <a:gd name="connsiteX59" fmla="*/ 529662 w 560213"/>
                <a:gd name="connsiteY59" fmla="*/ 340647 h 528289"/>
                <a:gd name="connsiteX60" fmla="*/ 493467 w 560213"/>
                <a:gd name="connsiteY60" fmla="*/ 340647 h 528289"/>
                <a:gd name="connsiteX61" fmla="*/ 493467 w 560213"/>
                <a:gd name="connsiteY61" fmla="*/ 376842 h 528289"/>
                <a:gd name="connsiteX62" fmla="*/ 526804 w 560213"/>
                <a:gd name="connsiteY62" fmla="*/ 376842 h 528289"/>
                <a:gd name="connsiteX63" fmla="*/ 408694 w 560213"/>
                <a:gd name="connsiteY63" fmla="*/ 511144 h 52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60213" h="528289">
                  <a:moveTo>
                    <a:pt x="528709" y="151099"/>
                  </a:moveTo>
                  <a:cubicBezTo>
                    <a:pt x="457272" y="13939"/>
                    <a:pt x="288679" y="-39401"/>
                    <a:pt x="151519" y="31084"/>
                  </a:cubicBezTo>
                  <a:cubicBezTo>
                    <a:pt x="14359" y="102522"/>
                    <a:pt x="-39933" y="271114"/>
                    <a:pt x="31504" y="408274"/>
                  </a:cubicBezTo>
                  <a:cubicBezTo>
                    <a:pt x="58174" y="459709"/>
                    <a:pt x="100084" y="501619"/>
                    <a:pt x="151519" y="528289"/>
                  </a:cubicBezTo>
                  <a:lnTo>
                    <a:pt x="151519" y="528289"/>
                  </a:lnTo>
                  <a:lnTo>
                    <a:pt x="151519" y="528289"/>
                  </a:lnTo>
                  <a:lnTo>
                    <a:pt x="408694" y="528289"/>
                  </a:lnTo>
                  <a:lnTo>
                    <a:pt x="408694" y="528289"/>
                  </a:lnTo>
                  <a:lnTo>
                    <a:pt x="408694" y="528289"/>
                  </a:lnTo>
                  <a:cubicBezTo>
                    <a:pt x="545854" y="457804"/>
                    <a:pt x="600147" y="288259"/>
                    <a:pt x="528709" y="151099"/>
                  </a:cubicBezTo>
                  <a:close/>
                  <a:moveTo>
                    <a:pt x="408694" y="511144"/>
                  </a:moveTo>
                  <a:lnTo>
                    <a:pt x="408694" y="511144"/>
                  </a:lnTo>
                  <a:lnTo>
                    <a:pt x="373452" y="511144"/>
                  </a:lnTo>
                  <a:cubicBezTo>
                    <a:pt x="374404" y="511144"/>
                    <a:pt x="374404" y="510192"/>
                    <a:pt x="375357" y="510192"/>
                  </a:cubicBezTo>
                  <a:lnTo>
                    <a:pt x="375357" y="493047"/>
                  </a:lnTo>
                  <a:lnTo>
                    <a:pt x="339162" y="493047"/>
                  </a:lnTo>
                  <a:lnTo>
                    <a:pt x="339162" y="511144"/>
                  </a:lnTo>
                  <a:lnTo>
                    <a:pt x="323922" y="511144"/>
                  </a:lnTo>
                  <a:lnTo>
                    <a:pt x="323922" y="493047"/>
                  </a:lnTo>
                  <a:lnTo>
                    <a:pt x="287727" y="493047"/>
                  </a:lnTo>
                  <a:lnTo>
                    <a:pt x="287727" y="511144"/>
                  </a:lnTo>
                  <a:lnTo>
                    <a:pt x="272487" y="511144"/>
                  </a:lnTo>
                  <a:lnTo>
                    <a:pt x="272487" y="493047"/>
                  </a:lnTo>
                  <a:lnTo>
                    <a:pt x="237244" y="493047"/>
                  </a:lnTo>
                  <a:lnTo>
                    <a:pt x="237244" y="511144"/>
                  </a:lnTo>
                  <a:lnTo>
                    <a:pt x="221052" y="511144"/>
                  </a:lnTo>
                  <a:lnTo>
                    <a:pt x="221052" y="493047"/>
                  </a:lnTo>
                  <a:lnTo>
                    <a:pt x="184857" y="493047"/>
                  </a:lnTo>
                  <a:lnTo>
                    <a:pt x="184857" y="510192"/>
                  </a:lnTo>
                  <a:cubicBezTo>
                    <a:pt x="185809" y="510192"/>
                    <a:pt x="185809" y="511144"/>
                    <a:pt x="186762" y="511144"/>
                  </a:cubicBezTo>
                  <a:lnTo>
                    <a:pt x="151519" y="511144"/>
                  </a:lnTo>
                  <a:lnTo>
                    <a:pt x="151519" y="511144"/>
                  </a:lnTo>
                  <a:cubicBezTo>
                    <a:pt x="96274" y="480664"/>
                    <a:pt x="54364" y="431134"/>
                    <a:pt x="32457" y="374937"/>
                  </a:cubicBezTo>
                  <a:lnTo>
                    <a:pt x="66747" y="374937"/>
                  </a:lnTo>
                  <a:lnTo>
                    <a:pt x="66747" y="338742"/>
                  </a:lnTo>
                  <a:lnTo>
                    <a:pt x="30552" y="338742"/>
                  </a:lnTo>
                  <a:lnTo>
                    <a:pt x="30552" y="370174"/>
                  </a:lnTo>
                  <a:cubicBezTo>
                    <a:pt x="10549" y="313977"/>
                    <a:pt x="8644" y="251112"/>
                    <a:pt x="30552" y="190152"/>
                  </a:cubicBezTo>
                  <a:cubicBezTo>
                    <a:pt x="30552" y="190152"/>
                    <a:pt x="30552" y="190152"/>
                    <a:pt x="30552" y="190152"/>
                  </a:cubicBezTo>
                  <a:lnTo>
                    <a:pt x="30552" y="221584"/>
                  </a:lnTo>
                  <a:lnTo>
                    <a:pt x="66747" y="221584"/>
                  </a:lnTo>
                  <a:lnTo>
                    <a:pt x="66747" y="185389"/>
                  </a:lnTo>
                  <a:lnTo>
                    <a:pt x="32457" y="185389"/>
                  </a:lnTo>
                  <a:cubicBezTo>
                    <a:pt x="60079" y="112999"/>
                    <a:pt x="117229" y="59659"/>
                    <a:pt x="184857" y="33942"/>
                  </a:cubicBezTo>
                  <a:lnTo>
                    <a:pt x="184857" y="67279"/>
                  </a:lnTo>
                  <a:lnTo>
                    <a:pt x="221052" y="67279"/>
                  </a:lnTo>
                  <a:lnTo>
                    <a:pt x="221052" y="31084"/>
                  </a:lnTo>
                  <a:lnTo>
                    <a:pt x="190572" y="31084"/>
                  </a:lnTo>
                  <a:cubicBezTo>
                    <a:pt x="246769" y="11082"/>
                    <a:pt x="309634" y="9177"/>
                    <a:pt x="369642" y="31084"/>
                  </a:cubicBezTo>
                  <a:lnTo>
                    <a:pt x="339162" y="31084"/>
                  </a:lnTo>
                  <a:lnTo>
                    <a:pt x="339162" y="67279"/>
                  </a:lnTo>
                  <a:lnTo>
                    <a:pt x="375357" y="67279"/>
                  </a:lnTo>
                  <a:lnTo>
                    <a:pt x="375357" y="33942"/>
                  </a:lnTo>
                  <a:cubicBezTo>
                    <a:pt x="447747" y="61564"/>
                    <a:pt x="501087" y="118714"/>
                    <a:pt x="526804" y="185389"/>
                  </a:cubicBezTo>
                  <a:lnTo>
                    <a:pt x="493467" y="185389"/>
                  </a:lnTo>
                  <a:lnTo>
                    <a:pt x="493467" y="221584"/>
                  </a:lnTo>
                  <a:lnTo>
                    <a:pt x="529662" y="221584"/>
                  </a:lnTo>
                  <a:lnTo>
                    <a:pt x="529662" y="192057"/>
                  </a:lnTo>
                  <a:cubicBezTo>
                    <a:pt x="549664" y="247302"/>
                    <a:pt x="550617" y="310167"/>
                    <a:pt x="529662" y="370174"/>
                  </a:cubicBezTo>
                  <a:lnTo>
                    <a:pt x="529662" y="340647"/>
                  </a:lnTo>
                  <a:lnTo>
                    <a:pt x="493467" y="340647"/>
                  </a:lnTo>
                  <a:lnTo>
                    <a:pt x="493467" y="376842"/>
                  </a:lnTo>
                  <a:lnTo>
                    <a:pt x="526804" y="376842"/>
                  </a:lnTo>
                  <a:cubicBezTo>
                    <a:pt x="504897" y="433039"/>
                    <a:pt x="462034" y="480664"/>
                    <a:pt x="408694" y="511144"/>
                  </a:cubicBezTo>
                  <a:close/>
                </a:path>
              </a:pathLst>
            </a:custGeom>
            <a:grpFill/>
            <a:ln w="9525" cap="flat">
              <a:noFill/>
              <a:prstDash val="solid"/>
              <a:miter/>
            </a:ln>
          </p:spPr>
          <p:txBody>
            <a:bodyPr rtlCol="0" anchor="ctr"/>
            <a:lstStyle/>
            <a:p>
              <a:endParaRPr lang="en-US" dirty="0"/>
            </a:p>
          </p:txBody>
        </p:sp>
        <p:sp>
          <p:nvSpPr>
            <p:cNvPr id="145" name="Freihandform: Form 59">
              <a:extLst>
                <a:ext uri="{FF2B5EF4-FFF2-40B4-BE49-F238E27FC236}">
                  <a16:creationId xmlns:a16="http://schemas.microsoft.com/office/drawing/2014/main" id="{A4C2600E-8A25-445B-95F1-263C5E4F2EAC}"/>
                </a:ext>
              </a:extLst>
            </p:cNvPr>
            <p:cNvSpPr/>
            <p:nvPr/>
          </p:nvSpPr>
          <p:spPr>
            <a:xfrm>
              <a:off x="750605" y="4305759"/>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6" name="Freihandform: Form 60">
              <a:extLst>
                <a:ext uri="{FF2B5EF4-FFF2-40B4-BE49-F238E27FC236}">
                  <a16:creationId xmlns:a16="http://schemas.microsoft.com/office/drawing/2014/main" id="{7FF39F4C-6AD1-4BE6-B8E2-DC422C752B7A}"/>
                </a:ext>
              </a:extLst>
            </p:cNvPr>
            <p:cNvSpPr/>
            <p:nvPr/>
          </p:nvSpPr>
          <p:spPr>
            <a:xfrm>
              <a:off x="750605" y="4238215"/>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7" name="Freihandform: Form 61">
              <a:extLst>
                <a:ext uri="{FF2B5EF4-FFF2-40B4-BE49-F238E27FC236}">
                  <a16:creationId xmlns:a16="http://schemas.microsoft.com/office/drawing/2014/main" id="{A1296687-CBAE-40BC-A404-06B84E4D366F}"/>
                </a:ext>
              </a:extLst>
            </p:cNvPr>
            <p:cNvSpPr/>
            <p:nvPr/>
          </p:nvSpPr>
          <p:spPr>
            <a:xfrm>
              <a:off x="951985" y="4305759"/>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8" name="Freihandform: Form 62">
              <a:extLst>
                <a:ext uri="{FF2B5EF4-FFF2-40B4-BE49-F238E27FC236}">
                  <a16:creationId xmlns:a16="http://schemas.microsoft.com/office/drawing/2014/main" id="{6A7CFC34-3F2F-4A40-9752-DF558CA0A800}"/>
                </a:ext>
              </a:extLst>
            </p:cNvPr>
            <p:cNvSpPr/>
            <p:nvPr/>
          </p:nvSpPr>
          <p:spPr>
            <a:xfrm>
              <a:off x="951985" y="4373303"/>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49" name="Freihandform: Form 63">
              <a:extLst>
                <a:ext uri="{FF2B5EF4-FFF2-40B4-BE49-F238E27FC236}">
                  <a16:creationId xmlns:a16="http://schemas.microsoft.com/office/drawing/2014/main" id="{BA99620C-D046-4427-B602-274B67907831}"/>
                </a:ext>
              </a:extLst>
            </p:cNvPr>
            <p:cNvSpPr/>
            <p:nvPr/>
          </p:nvSpPr>
          <p:spPr>
            <a:xfrm>
              <a:off x="951985" y="4439595"/>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0" name="Freihandform: Form 64">
              <a:extLst>
                <a:ext uri="{FF2B5EF4-FFF2-40B4-BE49-F238E27FC236}">
                  <a16:creationId xmlns:a16="http://schemas.microsoft.com/office/drawing/2014/main" id="{4C990A72-E1FD-4EB7-9C75-DCA8334B93E1}"/>
                </a:ext>
              </a:extLst>
            </p:cNvPr>
            <p:cNvSpPr/>
            <p:nvPr/>
          </p:nvSpPr>
          <p:spPr>
            <a:xfrm>
              <a:off x="750605" y="4709770"/>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1" name="Freihandform: Form 65">
              <a:extLst>
                <a:ext uri="{FF2B5EF4-FFF2-40B4-BE49-F238E27FC236}">
                  <a16:creationId xmlns:a16="http://schemas.microsoft.com/office/drawing/2014/main" id="{8878A2A3-D49A-4CBD-B02D-B1C1846ADDF1}"/>
                </a:ext>
              </a:extLst>
            </p:cNvPr>
            <p:cNvSpPr/>
            <p:nvPr/>
          </p:nvSpPr>
          <p:spPr>
            <a:xfrm>
              <a:off x="951985" y="4507139"/>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2" name="Freihandform: Form 66">
              <a:extLst>
                <a:ext uri="{FF2B5EF4-FFF2-40B4-BE49-F238E27FC236}">
                  <a16:creationId xmlns:a16="http://schemas.microsoft.com/office/drawing/2014/main" id="{00742974-525B-4853-96C6-F7F9148C398D}"/>
                </a:ext>
              </a:extLst>
            </p:cNvPr>
            <p:cNvSpPr/>
            <p:nvPr/>
          </p:nvSpPr>
          <p:spPr>
            <a:xfrm>
              <a:off x="951985" y="4574682"/>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3" name="Freihandform: Form 67">
              <a:extLst>
                <a:ext uri="{FF2B5EF4-FFF2-40B4-BE49-F238E27FC236}">
                  <a16:creationId xmlns:a16="http://schemas.microsoft.com/office/drawing/2014/main" id="{B9730F02-2109-4C0D-8FE2-96738890AC06}"/>
                </a:ext>
              </a:extLst>
            </p:cNvPr>
            <p:cNvSpPr/>
            <p:nvPr/>
          </p:nvSpPr>
          <p:spPr>
            <a:xfrm>
              <a:off x="951985" y="4238215"/>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4" name="Freihandform: Form 68">
              <a:extLst>
                <a:ext uri="{FF2B5EF4-FFF2-40B4-BE49-F238E27FC236}">
                  <a16:creationId xmlns:a16="http://schemas.microsoft.com/office/drawing/2014/main" id="{1E5AA9E6-BC2C-4371-B017-1986CCA8E8EC}"/>
                </a:ext>
              </a:extLst>
            </p:cNvPr>
            <p:cNvSpPr/>
            <p:nvPr/>
          </p:nvSpPr>
          <p:spPr>
            <a:xfrm>
              <a:off x="615518" y="4574682"/>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5" name="Freihandform: Form 69">
              <a:extLst>
                <a:ext uri="{FF2B5EF4-FFF2-40B4-BE49-F238E27FC236}">
                  <a16:creationId xmlns:a16="http://schemas.microsoft.com/office/drawing/2014/main" id="{A41AC35F-F6FE-4079-920B-A1679752939A}"/>
                </a:ext>
              </a:extLst>
            </p:cNvPr>
            <p:cNvSpPr/>
            <p:nvPr/>
          </p:nvSpPr>
          <p:spPr>
            <a:xfrm>
              <a:off x="683061" y="4439595"/>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6" name="Freihandform: Form 70">
              <a:extLst>
                <a:ext uri="{FF2B5EF4-FFF2-40B4-BE49-F238E27FC236}">
                  <a16:creationId xmlns:a16="http://schemas.microsoft.com/office/drawing/2014/main" id="{0B29959B-8ED8-4563-BD69-719FC668F03D}"/>
                </a:ext>
              </a:extLst>
            </p:cNvPr>
            <p:cNvSpPr/>
            <p:nvPr/>
          </p:nvSpPr>
          <p:spPr>
            <a:xfrm>
              <a:off x="683061" y="4305759"/>
              <a:ext cx="47531" cy="47531"/>
            </a:xfrm>
            <a:custGeom>
              <a:avLst/>
              <a:gdLst>
                <a:gd name="connsiteX0" fmla="*/ 0 w 36195"/>
                <a:gd name="connsiteY0" fmla="*/ 0 h 36195"/>
                <a:gd name="connsiteX1" fmla="*/ 36195 w 36195"/>
                <a:gd name="connsiteY1" fmla="*/ 0 h 36195"/>
                <a:gd name="connsiteX2" fmla="*/ 36195 w 36195"/>
                <a:gd name="connsiteY2" fmla="*/ 36195 h 36195"/>
                <a:gd name="connsiteX3" fmla="*/ 0 w 36195"/>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5"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7" name="Freihandform: Form 71">
              <a:extLst>
                <a:ext uri="{FF2B5EF4-FFF2-40B4-BE49-F238E27FC236}">
                  <a16:creationId xmlns:a16="http://schemas.microsoft.com/office/drawing/2014/main" id="{1059B566-82CA-4858-B740-53A368A966A2}"/>
                </a:ext>
              </a:extLst>
            </p:cNvPr>
            <p:cNvSpPr/>
            <p:nvPr/>
          </p:nvSpPr>
          <p:spPr>
            <a:xfrm>
              <a:off x="683061" y="4373303"/>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8" name="Freihandform: Form 72">
              <a:extLst>
                <a:ext uri="{FF2B5EF4-FFF2-40B4-BE49-F238E27FC236}">
                  <a16:creationId xmlns:a16="http://schemas.microsoft.com/office/drawing/2014/main" id="{8120DF3A-7DF0-463A-B3DC-A36A8CA614F3}"/>
                </a:ext>
              </a:extLst>
            </p:cNvPr>
            <p:cNvSpPr/>
            <p:nvPr/>
          </p:nvSpPr>
          <p:spPr>
            <a:xfrm>
              <a:off x="683061" y="4238215"/>
              <a:ext cx="47531" cy="47531"/>
            </a:xfrm>
            <a:custGeom>
              <a:avLst/>
              <a:gdLst>
                <a:gd name="connsiteX0" fmla="*/ 0 w 36195"/>
                <a:gd name="connsiteY0" fmla="*/ 0 h 36195"/>
                <a:gd name="connsiteX1" fmla="*/ 36195 w 36195"/>
                <a:gd name="connsiteY1" fmla="*/ 0 h 36195"/>
                <a:gd name="connsiteX2" fmla="*/ 36195 w 36195"/>
                <a:gd name="connsiteY2" fmla="*/ 36195 h 36195"/>
                <a:gd name="connsiteX3" fmla="*/ 0 w 36195"/>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5"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59" name="Freihandform: Form 73">
              <a:extLst>
                <a:ext uri="{FF2B5EF4-FFF2-40B4-BE49-F238E27FC236}">
                  <a16:creationId xmlns:a16="http://schemas.microsoft.com/office/drawing/2014/main" id="{4C62A004-BD68-4981-8E24-08390CC44A98}"/>
                </a:ext>
              </a:extLst>
            </p:cNvPr>
            <p:cNvSpPr/>
            <p:nvPr/>
          </p:nvSpPr>
          <p:spPr>
            <a:xfrm>
              <a:off x="683061" y="4574682"/>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0" name="Freihandform: Form 74">
              <a:extLst>
                <a:ext uri="{FF2B5EF4-FFF2-40B4-BE49-F238E27FC236}">
                  <a16:creationId xmlns:a16="http://schemas.microsoft.com/office/drawing/2014/main" id="{003FED54-52FC-414F-9E24-C1884839ECF1}"/>
                </a:ext>
              </a:extLst>
            </p:cNvPr>
            <p:cNvSpPr/>
            <p:nvPr/>
          </p:nvSpPr>
          <p:spPr>
            <a:xfrm>
              <a:off x="683061" y="4709770"/>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1" name="Freihandform: Form 75">
              <a:extLst>
                <a:ext uri="{FF2B5EF4-FFF2-40B4-BE49-F238E27FC236}">
                  <a16:creationId xmlns:a16="http://schemas.microsoft.com/office/drawing/2014/main" id="{A8120E44-F4C4-4B1C-98C8-D8E4BC161D87}"/>
                </a:ext>
              </a:extLst>
            </p:cNvPr>
            <p:cNvSpPr/>
            <p:nvPr/>
          </p:nvSpPr>
          <p:spPr>
            <a:xfrm>
              <a:off x="683061" y="4507139"/>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2" name="Freihandform: Form 76">
              <a:extLst>
                <a:ext uri="{FF2B5EF4-FFF2-40B4-BE49-F238E27FC236}">
                  <a16:creationId xmlns:a16="http://schemas.microsoft.com/office/drawing/2014/main" id="{062D1BED-3306-4E88-845E-FE39D85EB364}"/>
                </a:ext>
              </a:extLst>
            </p:cNvPr>
            <p:cNvSpPr/>
            <p:nvPr/>
          </p:nvSpPr>
          <p:spPr>
            <a:xfrm>
              <a:off x="683061" y="4642226"/>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3" name="Freihandform: Form 77">
              <a:extLst>
                <a:ext uri="{FF2B5EF4-FFF2-40B4-BE49-F238E27FC236}">
                  <a16:creationId xmlns:a16="http://schemas.microsoft.com/office/drawing/2014/main" id="{8C42FFB8-452F-4B5E-892B-CE2CB26AF3B0}"/>
                </a:ext>
              </a:extLst>
            </p:cNvPr>
            <p:cNvSpPr/>
            <p:nvPr/>
          </p:nvSpPr>
          <p:spPr>
            <a:xfrm>
              <a:off x="615518" y="4642226"/>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4" name="Freihandform: Form 78">
              <a:extLst>
                <a:ext uri="{FF2B5EF4-FFF2-40B4-BE49-F238E27FC236}">
                  <a16:creationId xmlns:a16="http://schemas.microsoft.com/office/drawing/2014/main" id="{454AAF81-9A22-4E86-B6DC-285D856CB66A}"/>
                </a:ext>
              </a:extLst>
            </p:cNvPr>
            <p:cNvSpPr/>
            <p:nvPr/>
          </p:nvSpPr>
          <p:spPr>
            <a:xfrm>
              <a:off x="615518" y="4373303"/>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5" name="Freihandform: Form 79">
              <a:extLst>
                <a:ext uri="{FF2B5EF4-FFF2-40B4-BE49-F238E27FC236}">
                  <a16:creationId xmlns:a16="http://schemas.microsoft.com/office/drawing/2014/main" id="{32D1D165-0711-4708-9F1F-38B64186B265}"/>
                </a:ext>
              </a:extLst>
            </p:cNvPr>
            <p:cNvSpPr/>
            <p:nvPr/>
          </p:nvSpPr>
          <p:spPr>
            <a:xfrm>
              <a:off x="615518" y="4507139"/>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6" name="Freihandform: Form 80">
              <a:extLst>
                <a:ext uri="{FF2B5EF4-FFF2-40B4-BE49-F238E27FC236}">
                  <a16:creationId xmlns:a16="http://schemas.microsoft.com/office/drawing/2014/main" id="{80AD1169-F63E-4106-9448-2A9CC2AC4312}"/>
                </a:ext>
              </a:extLst>
            </p:cNvPr>
            <p:cNvSpPr/>
            <p:nvPr/>
          </p:nvSpPr>
          <p:spPr>
            <a:xfrm>
              <a:off x="615518" y="4439595"/>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7" name="Freihandform: Form 81">
              <a:extLst>
                <a:ext uri="{FF2B5EF4-FFF2-40B4-BE49-F238E27FC236}">
                  <a16:creationId xmlns:a16="http://schemas.microsoft.com/office/drawing/2014/main" id="{9D521268-9946-4F05-A972-4C5686899176}"/>
                </a:ext>
              </a:extLst>
            </p:cNvPr>
            <p:cNvSpPr/>
            <p:nvPr/>
          </p:nvSpPr>
          <p:spPr>
            <a:xfrm>
              <a:off x="615518" y="4305759"/>
              <a:ext cx="47531" cy="47531"/>
            </a:xfrm>
            <a:custGeom>
              <a:avLst/>
              <a:gdLst>
                <a:gd name="connsiteX0" fmla="*/ 0 w 36195"/>
                <a:gd name="connsiteY0" fmla="*/ 0 h 36195"/>
                <a:gd name="connsiteX1" fmla="*/ 36195 w 36195"/>
                <a:gd name="connsiteY1" fmla="*/ 0 h 36195"/>
                <a:gd name="connsiteX2" fmla="*/ 36195 w 36195"/>
                <a:gd name="connsiteY2" fmla="*/ 36195 h 36195"/>
                <a:gd name="connsiteX3" fmla="*/ 0 w 36195"/>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5"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8" name="Freihandform: Form 82">
              <a:extLst>
                <a:ext uri="{FF2B5EF4-FFF2-40B4-BE49-F238E27FC236}">
                  <a16:creationId xmlns:a16="http://schemas.microsoft.com/office/drawing/2014/main" id="{CDF9E53D-09CC-4149-8B66-E73D3A6A868A}"/>
                </a:ext>
              </a:extLst>
            </p:cNvPr>
            <p:cNvSpPr/>
            <p:nvPr/>
          </p:nvSpPr>
          <p:spPr>
            <a:xfrm>
              <a:off x="1019529" y="4709770"/>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69" name="Freihandform: Form 83">
              <a:extLst>
                <a:ext uri="{FF2B5EF4-FFF2-40B4-BE49-F238E27FC236}">
                  <a16:creationId xmlns:a16="http://schemas.microsoft.com/office/drawing/2014/main" id="{8AB8C6A4-3768-421D-AAD1-E436C500F057}"/>
                </a:ext>
              </a:extLst>
            </p:cNvPr>
            <p:cNvSpPr/>
            <p:nvPr/>
          </p:nvSpPr>
          <p:spPr>
            <a:xfrm>
              <a:off x="1019529" y="4507139"/>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0" name="Freihandform: Form 84">
              <a:extLst>
                <a:ext uri="{FF2B5EF4-FFF2-40B4-BE49-F238E27FC236}">
                  <a16:creationId xmlns:a16="http://schemas.microsoft.com/office/drawing/2014/main" id="{F02AEDFF-158C-4834-A82C-D807FAE1ADFB}"/>
                </a:ext>
              </a:extLst>
            </p:cNvPr>
            <p:cNvSpPr/>
            <p:nvPr/>
          </p:nvSpPr>
          <p:spPr>
            <a:xfrm>
              <a:off x="816897" y="4642226"/>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1" name="Freihandform: Form 85">
              <a:extLst>
                <a:ext uri="{FF2B5EF4-FFF2-40B4-BE49-F238E27FC236}">
                  <a16:creationId xmlns:a16="http://schemas.microsoft.com/office/drawing/2014/main" id="{ABB79B08-77D8-4082-AE6D-AEB3F6F33C48}"/>
                </a:ext>
              </a:extLst>
            </p:cNvPr>
            <p:cNvSpPr/>
            <p:nvPr/>
          </p:nvSpPr>
          <p:spPr>
            <a:xfrm>
              <a:off x="1019529" y="4642226"/>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2" name="Freihandform: Form 86">
              <a:extLst>
                <a:ext uri="{FF2B5EF4-FFF2-40B4-BE49-F238E27FC236}">
                  <a16:creationId xmlns:a16="http://schemas.microsoft.com/office/drawing/2014/main" id="{08CA02DD-B1ED-4813-80A0-C66A7C9E278B}"/>
                </a:ext>
              </a:extLst>
            </p:cNvPr>
            <p:cNvSpPr/>
            <p:nvPr/>
          </p:nvSpPr>
          <p:spPr>
            <a:xfrm>
              <a:off x="1019529" y="4574682"/>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3" name="Freihandform: Form 87">
              <a:extLst>
                <a:ext uri="{FF2B5EF4-FFF2-40B4-BE49-F238E27FC236}">
                  <a16:creationId xmlns:a16="http://schemas.microsoft.com/office/drawing/2014/main" id="{E212D4A8-DD7A-40F7-9EE2-2268BCED2D15}"/>
                </a:ext>
              </a:extLst>
            </p:cNvPr>
            <p:cNvSpPr/>
            <p:nvPr/>
          </p:nvSpPr>
          <p:spPr>
            <a:xfrm>
              <a:off x="1019529" y="4305759"/>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4" name="Freihandform: Form 88">
              <a:extLst>
                <a:ext uri="{FF2B5EF4-FFF2-40B4-BE49-F238E27FC236}">
                  <a16:creationId xmlns:a16="http://schemas.microsoft.com/office/drawing/2014/main" id="{2CBABA7F-A513-4D42-B716-0E4661BBF96F}"/>
                </a:ext>
              </a:extLst>
            </p:cNvPr>
            <p:cNvSpPr/>
            <p:nvPr/>
          </p:nvSpPr>
          <p:spPr>
            <a:xfrm>
              <a:off x="1019529" y="4373303"/>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5" name="Freihandform: Form 89">
              <a:extLst>
                <a:ext uri="{FF2B5EF4-FFF2-40B4-BE49-F238E27FC236}">
                  <a16:creationId xmlns:a16="http://schemas.microsoft.com/office/drawing/2014/main" id="{E85A04D8-017F-4730-BEC9-711D93132246}"/>
                </a:ext>
              </a:extLst>
            </p:cNvPr>
            <p:cNvSpPr/>
            <p:nvPr/>
          </p:nvSpPr>
          <p:spPr>
            <a:xfrm>
              <a:off x="816897" y="4709770"/>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6" name="Freihandform: Form 90">
              <a:extLst>
                <a:ext uri="{FF2B5EF4-FFF2-40B4-BE49-F238E27FC236}">
                  <a16:creationId xmlns:a16="http://schemas.microsoft.com/office/drawing/2014/main" id="{659AB01C-ABFA-4FFB-BF4A-51BB80F6438B}"/>
                </a:ext>
              </a:extLst>
            </p:cNvPr>
            <p:cNvSpPr/>
            <p:nvPr/>
          </p:nvSpPr>
          <p:spPr>
            <a:xfrm>
              <a:off x="1019529" y="4238215"/>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7" name="Freihandform: Form 91">
              <a:extLst>
                <a:ext uri="{FF2B5EF4-FFF2-40B4-BE49-F238E27FC236}">
                  <a16:creationId xmlns:a16="http://schemas.microsoft.com/office/drawing/2014/main" id="{38E421F3-086D-49CD-884F-A09CA9D4B64A}"/>
                </a:ext>
              </a:extLst>
            </p:cNvPr>
            <p:cNvSpPr/>
            <p:nvPr/>
          </p:nvSpPr>
          <p:spPr>
            <a:xfrm>
              <a:off x="1019529" y="4439595"/>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8" name="Freihandform: Form 92">
              <a:extLst>
                <a:ext uri="{FF2B5EF4-FFF2-40B4-BE49-F238E27FC236}">
                  <a16:creationId xmlns:a16="http://schemas.microsoft.com/office/drawing/2014/main" id="{6E762582-C4C2-48F3-9DB0-8D7D5B0C664A}"/>
                </a:ext>
              </a:extLst>
            </p:cNvPr>
            <p:cNvSpPr/>
            <p:nvPr/>
          </p:nvSpPr>
          <p:spPr>
            <a:xfrm>
              <a:off x="1087072" y="4574682"/>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79" name="Freihandform: Form 93">
              <a:extLst>
                <a:ext uri="{FF2B5EF4-FFF2-40B4-BE49-F238E27FC236}">
                  <a16:creationId xmlns:a16="http://schemas.microsoft.com/office/drawing/2014/main" id="{1DB6942E-9FC4-41DE-A136-39EF0A3AAF4C}"/>
                </a:ext>
              </a:extLst>
            </p:cNvPr>
            <p:cNvSpPr/>
            <p:nvPr/>
          </p:nvSpPr>
          <p:spPr>
            <a:xfrm>
              <a:off x="1087072" y="4642226"/>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0" name="Freihandform: Form 94">
              <a:extLst>
                <a:ext uri="{FF2B5EF4-FFF2-40B4-BE49-F238E27FC236}">
                  <a16:creationId xmlns:a16="http://schemas.microsoft.com/office/drawing/2014/main" id="{35F78C07-5790-4692-8CDD-051E6EBCE678}"/>
                </a:ext>
              </a:extLst>
            </p:cNvPr>
            <p:cNvSpPr/>
            <p:nvPr/>
          </p:nvSpPr>
          <p:spPr>
            <a:xfrm>
              <a:off x="1087072" y="4373303"/>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1" name="Freihandform: Form 95">
              <a:extLst>
                <a:ext uri="{FF2B5EF4-FFF2-40B4-BE49-F238E27FC236}">
                  <a16:creationId xmlns:a16="http://schemas.microsoft.com/office/drawing/2014/main" id="{5D90C89A-0D83-409E-8620-E543541A585D}"/>
                </a:ext>
              </a:extLst>
            </p:cNvPr>
            <p:cNvSpPr/>
            <p:nvPr/>
          </p:nvSpPr>
          <p:spPr>
            <a:xfrm>
              <a:off x="1087072" y="4305759"/>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2" name="Freihandform: Form 96">
              <a:extLst>
                <a:ext uri="{FF2B5EF4-FFF2-40B4-BE49-F238E27FC236}">
                  <a16:creationId xmlns:a16="http://schemas.microsoft.com/office/drawing/2014/main" id="{F35C0E4C-9CAC-4C18-8123-BCC79BCC5A08}"/>
                </a:ext>
              </a:extLst>
            </p:cNvPr>
            <p:cNvSpPr/>
            <p:nvPr/>
          </p:nvSpPr>
          <p:spPr>
            <a:xfrm>
              <a:off x="1087072" y="4507139"/>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3" name="Freihandform: Form 97">
              <a:extLst>
                <a:ext uri="{FF2B5EF4-FFF2-40B4-BE49-F238E27FC236}">
                  <a16:creationId xmlns:a16="http://schemas.microsoft.com/office/drawing/2014/main" id="{7E0D8C7B-C81D-4704-A0E4-FD56A572B995}"/>
                </a:ext>
              </a:extLst>
            </p:cNvPr>
            <p:cNvSpPr/>
            <p:nvPr/>
          </p:nvSpPr>
          <p:spPr>
            <a:xfrm>
              <a:off x="1087072" y="4439595"/>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4" name="Freihandform: Form 98">
              <a:extLst>
                <a:ext uri="{FF2B5EF4-FFF2-40B4-BE49-F238E27FC236}">
                  <a16:creationId xmlns:a16="http://schemas.microsoft.com/office/drawing/2014/main" id="{27F88230-5DC8-49F2-AB97-810D5C5BDFFB}"/>
                </a:ext>
              </a:extLst>
            </p:cNvPr>
            <p:cNvSpPr/>
            <p:nvPr/>
          </p:nvSpPr>
          <p:spPr>
            <a:xfrm>
              <a:off x="884441" y="4170671"/>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5" name="Freihandform: Form 99">
              <a:extLst>
                <a:ext uri="{FF2B5EF4-FFF2-40B4-BE49-F238E27FC236}">
                  <a16:creationId xmlns:a16="http://schemas.microsoft.com/office/drawing/2014/main" id="{472E33F3-8FDD-44ED-8C13-0BAA9FC97F82}"/>
                </a:ext>
              </a:extLst>
            </p:cNvPr>
            <p:cNvSpPr/>
            <p:nvPr/>
          </p:nvSpPr>
          <p:spPr>
            <a:xfrm>
              <a:off x="816897" y="4170671"/>
              <a:ext cx="47529" cy="47531"/>
            </a:xfrm>
            <a:custGeom>
              <a:avLst/>
              <a:gdLst>
                <a:gd name="connsiteX0" fmla="*/ 0 w 36194"/>
                <a:gd name="connsiteY0" fmla="*/ 0 h 36195"/>
                <a:gd name="connsiteX1" fmla="*/ 36195 w 36194"/>
                <a:gd name="connsiteY1" fmla="*/ 0 h 36195"/>
                <a:gd name="connsiteX2" fmla="*/ 36195 w 36194"/>
                <a:gd name="connsiteY2" fmla="*/ 36195 h 36195"/>
                <a:gd name="connsiteX3" fmla="*/ 0 w 36194"/>
                <a:gd name="connsiteY3" fmla="*/ 36195 h 36195"/>
              </a:gdLst>
              <a:ahLst/>
              <a:cxnLst>
                <a:cxn ang="0">
                  <a:pos x="connsiteX0" y="connsiteY0"/>
                </a:cxn>
                <a:cxn ang="0">
                  <a:pos x="connsiteX1" y="connsiteY1"/>
                </a:cxn>
                <a:cxn ang="0">
                  <a:pos x="connsiteX2" y="connsiteY2"/>
                </a:cxn>
                <a:cxn ang="0">
                  <a:pos x="connsiteX3" y="connsiteY3"/>
                </a:cxn>
              </a:cxnLst>
              <a:rect l="l" t="t" r="r" b="b"/>
              <a:pathLst>
                <a:path w="36194" h="36195">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6" name="Freihandform: Form 100">
              <a:extLst>
                <a:ext uri="{FF2B5EF4-FFF2-40B4-BE49-F238E27FC236}">
                  <a16:creationId xmlns:a16="http://schemas.microsoft.com/office/drawing/2014/main" id="{B8862BE1-6387-4AFC-82A1-1FFC438F50C7}"/>
                </a:ext>
              </a:extLst>
            </p:cNvPr>
            <p:cNvSpPr/>
            <p:nvPr/>
          </p:nvSpPr>
          <p:spPr>
            <a:xfrm>
              <a:off x="547974" y="4507139"/>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7" name="Freihandform: Form 101">
              <a:extLst>
                <a:ext uri="{FF2B5EF4-FFF2-40B4-BE49-F238E27FC236}">
                  <a16:creationId xmlns:a16="http://schemas.microsoft.com/office/drawing/2014/main" id="{17602FBE-A410-4DEA-9F9B-0E179D81D266}"/>
                </a:ext>
              </a:extLst>
            </p:cNvPr>
            <p:cNvSpPr/>
            <p:nvPr/>
          </p:nvSpPr>
          <p:spPr>
            <a:xfrm>
              <a:off x="547974" y="4439595"/>
              <a:ext cx="47531" cy="47529"/>
            </a:xfrm>
            <a:custGeom>
              <a:avLst/>
              <a:gdLst>
                <a:gd name="connsiteX0" fmla="*/ 0 w 36195"/>
                <a:gd name="connsiteY0" fmla="*/ 0 h 36194"/>
                <a:gd name="connsiteX1" fmla="*/ 36195 w 36195"/>
                <a:gd name="connsiteY1" fmla="*/ 0 h 36194"/>
                <a:gd name="connsiteX2" fmla="*/ 36195 w 36195"/>
                <a:gd name="connsiteY2" fmla="*/ 36195 h 36194"/>
                <a:gd name="connsiteX3" fmla="*/ 0 w 36195"/>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5"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8" name="Freihandform: Form 102">
              <a:extLst>
                <a:ext uri="{FF2B5EF4-FFF2-40B4-BE49-F238E27FC236}">
                  <a16:creationId xmlns:a16="http://schemas.microsoft.com/office/drawing/2014/main" id="{236B73ED-238F-4D3E-814D-C813F8B9E862}"/>
                </a:ext>
              </a:extLst>
            </p:cNvPr>
            <p:cNvSpPr/>
            <p:nvPr/>
          </p:nvSpPr>
          <p:spPr>
            <a:xfrm>
              <a:off x="1154616" y="4507139"/>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sp>
          <p:nvSpPr>
            <p:cNvPr id="189" name="Freihandform: Form 103">
              <a:extLst>
                <a:ext uri="{FF2B5EF4-FFF2-40B4-BE49-F238E27FC236}">
                  <a16:creationId xmlns:a16="http://schemas.microsoft.com/office/drawing/2014/main" id="{94D4F1A8-6593-4C9A-8E36-553C95150933}"/>
                </a:ext>
              </a:extLst>
            </p:cNvPr>
            <p:cNvSpPr/>
            <p:nvPr/>
          </p:nvSpPr>
          <p:spPr>
            <a:xfrm>
              <a:off x="1154616" y="4439595"/>
              <a:ext cx="47529" cy="47529"/>
            </a:xfrm>
            <a:custGeom>
              <a:avLst/>
              <a:gdLst>
                <a:gd name="connsiteX0" fmla="*/ 0 w 36194"/>
                <a:gd name="connsiteY0" fmla="*/ 0 h 36194"/>
                <a:gd name="connsiteX1" fmla="*/ 36195 w 36194"/>
                <a:gd name="connsiteY1" fmla="*/ 0 h 36194"/>
                <a:gd name="connsiteX2" fmla="*/ 36195 w 36194"/>
                <a:gd name="connsiteY2" fmla="*/ 36195 h 36194"/>
                <a:gd name="connsiteX3" fmla="*/ 0 w 36194"/>
                <a:gd name="connsiteY3" fmla="*/ 36195 h 36194"/>
              </a:gdLst>
              <a:ahLst/>
              <a:cxnLst>
                <a:cxn ang="0">
                  <a:pos x="connsiteX0" y="connsiteY0"/>
                </a:cxn>
                <a:cxn ang="0">
                  <a:pos x="connsiteX1" y="connsiteY1"/>
                </a:cxn>
                <a:cxn ang="0">
                  <a:pos x="connsiteX2" y="connsiteY2"/>
                </a:cxn>
                <a:cxn ang="0">
                  <a:pos x="connsiteX3" y="connsiteY3"/>
                </a:cxn>
              </a:cxnLst>
              <a:rect l="l" t="t" r="r" b="b"/>
              <a:pathLst>
                <a:path w="36194" h="36194">
                  <a:moveTo>
                    <a:pt x="0" y="0"/>
                  </a:moveTo>
                  <a:lnTo>
                    <a:pt x="36195" y="0"/>
                  </a:lnTo>
                  <a:lnTo>
                    <a:pt x="36195" y="36195"/>
                  </a:lnTo>
                  <a:lnTo>
                    <a:pt x="0" y="36195"/>
                  </a:lnTo>
                  <a:close/>
                </a:path>
              </a:pathLst>
            </a:custGeom>
            <a:grpFill/>
            <a:ln w="9525" cap="flat">
              <a:noFill/>
              <a:prstDash val="solid"/>
              <a:miter/>
            </a:ln>
          </p:spPr>
          <p:txBody>
            <a:bodyPr rtlCol="0" anchor="ctr"/>
            <a:lstStyle/>
            <a:p>
              <a:endParaRPr lang="en-US" dirty="0"/>
            </a:p>
          </p:txBody>
        </p:sp>
      </p:grpSp>
      <p:pic>
        <p:nvPicPr>
          <p:cNvPr id="190" name="Picture 189">
            <a:extLst>
              <a:ext uri="{FF2B5EF4-FFF2-40B4-BE49-F238E27FC236}">
                <a16:creationId xmlns:a16="http://schemas.microsoft.com/office/drawing/2014/main" id="{987D467C-BD59-42C8-AA3F-584BB05DDDE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458064" y="4723235"/>
            <a:ext cx="1275872" cy="1275872"/>
          </a:xfrm>
          <a:prstGeom prst="rect">
            <a:avLst/>
          </a:prstGeom>
        </p:spPr>
      </p:pic>
      <p:pic>
        <p:nvPicPr>
          <p:cNvPr id="191" name="Picture 2" descr="See the source image">
            <a:extLst>
              <a:ext uri="{FF2B5EF4-FFF2-40B4-BE49-F238E27FC236}">
                <a16:creationId xmlns:a16="http://schemas.microsoft.com/office/drawing/2014/main" id="{5E4081F3-2E40-488D-B907-A634A994B932}"/>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859025" y="2291754"/>
            <a:ext cx="2701311" cy="1799749"/>
          </a:xfrm>
          <a:prstGeom prst="rect">
            <a:avLst/>
          </a:prstGeom>
          <a:noFill/>
          <a:extLst>
            <a:ext uri="{909E8E84-426E-40DD-AFC4-6F175D3DCCD1}">
              <a14:hiddenFill xmlns:a14="http://schemas.microsoft.com/office/drawing/2010/main">
                <a:solidFill>
                  <a:srgbClr val="FFFFFF"/>
                </a:solidFill>
              </a14:hiddenFill>
            </a:ext>
          </a:extLst>
        </p:spPr>
      </p:pic>
      <p:sp>
        <p:nvSpPr>
          <p:cNvPr id="192" name="TextBox 191">
            <a:extLst>
              <a:ext uri="{FF2B5EF4-FFF2-40B4-BE49-F238E27FC236}">
                <a16:creationId xmlns:a16="http://schemas.microsoft.com/office/drawing/2014/main" id="{A6DB380C-51FF-4017-AB5F-F5440FB67CA1}"/>
              </a:ext>
            </a:extLst>
          </p:cNvPr>
          <p:cNvSpPr txBox="1"/>
          <p:nvPr/>
        </p:nvSpPr>
        <p:spPr bwMode="auto">
          <a:xfrm>
            <a:off x="6312024" y="2793817"/>
            <a:ext cx="2016224" cy="792088"/>
          </a:xfrm>
          <a:prstGeom prst="rect">
            <a:avLst/>
          </a:prstGeom>
          <a:noFill/>
          <a:ln w="9525">
            <a:noFill/>
            <a:miter lim="800000"/>
            <a:headEnd/>
            <a:tailEnd/>
          </a:ln>
          <a:effectLst/>
        </p:spPr>
        <p:txBody>
          <a:bodyPr wrap="square" lIns="0" tIns="0" rIns="0" bIns="0" rtlCol="0" anchor="ctr" anchorCtr="0">
            <a:noAutofit/>
          </a:bodyPr>
          <a:lstStyle/>
          <a:p>
            <a:pPr algn="ctr" defTabSz="575986" eaLnBrk="0" fontAlgn="auto" hangingPunct="0">
              <a:spcBef>
                <a:spcPts val="0"/>
              </a:spcBef>
              <a:spcAft>
                <a:spcPts val="0"/>
              </a:spcAft>
              <a:buClr>
                <a:schemeClr val="accent1"/>
              </a:buClr>
            </a:pPr>
            <a:r>
              <a:rPr lang="en-US" sz="1333" b="1" kern="0" dirty="0">
                <a:latin typeface="+mn-lt"/>
              </a:rPr>
              <a:t>IGBTs produced in the</a:t>
            </a:r>
          </a:p>
          <a:p>
            <a:pPr algn="ctr" defTabSz="575986" eaLnBrk="0" fontAlgn="auto" hangingPunct="0">
              <a:spcBef>
                <a:spcPts val="0"/>
              </a:spcBef>
              <a:spcAft>
                <a:spcPts val="0"/>
              </a:spcAft>
              <a:buClr>
                <a:schemeClr val="accent1"/>
              </a:buClr>
            </a:pPr>
            <a:r>
              <a:rPr lang="en-US" sz="1333" b="1" kern="0" dirty="0">
                <a:latin typeface="+mn-lt"/>
              </a:rPr>
              <a:t>newest fully automated</a:t>
            </a:r>
          </a:p>
          <a:p>
            <a:pPr algn="ctr" defTabSz="575986" eaLnBrk="0" fontAlgn="auto" hangingPunct="0">
              <a:spcBef>
                <a:spcPts val="0"/>
              </a:spcBef>
              <a:spcAft>
                <a:spcPts val="0"/>
              </a:spcAft>
              <a:buClr>
                <a:schemeClr val="accent1"/>
              </a:buClr>
            </a:pPr>
            <a:r>
              <a:rPr lang="en-US" sz="1333" b="1" kern="0" dirty="0">
                <a:latin typeface="+mn-lt"/>
              </a:rPr>
              <a:t>300 mm chip factory</a:t>
            </a:r>
            <a:endParaRPr lang="en-US" sz="1333" kern="0" dirty="0">
              <a:latin typeface="+mn-lt"/>
            </a:endParaRPr>
          </a:p>
        </p:txBody>
      </p:sp>
      <p:sp>
        <p:nvSpPr>
          <p:cNvPr id="5" name="Rectangle 4">
            <a:extLst>
              <a:ext uri="{FF2B5EF4-FFF2-40B4-BE49-F238E27FC236}">
                <a16:creationId xmlns:a16="http://schemas.microsoft.com/office/drawing/2014/main" id="{0C8A33D2-D4CA-48E7-861D-26A0A6446F25}"/>
              </a:ext>
            </a:extLst>
          </p:cNvPr>
          <p:cNvSpPr/>
          <p:nvPr/>
        </p:nvSpPr>
        <p:spPr>
          <a:xfrm>
            <a:off x="3227329" y="4123395"/>
            <a:ext cx="8546188" cy="307777"/>
          </a:xfrm>
          <a:prstGeom prst="rect">
            <a:avLst/>
          </a:prstGeom>
        </p:spPr>
        <p:txBody>
          <a:bodyPr wrap="square">
            <a:spAutoFit/>
          </a:bodyPr>
          <a:lstStyle/>
          <a:p>
            <a:r>
              <a:rPr lang="en-US" dirty="0"/>
              <a:t>One virtual fab: virtual mega-factory for 300-millimeter thin wafers together</a:t>
            </a:r>
          </a:p>
        </p:txBody>
      </p:sp>
      <p:pic>
        <p:nvPicPr>
          <p:cNvPr id="197" name="Picture 196">
            <a:extLst>
              <a:ext uri="{FF2B5EF4-FFF2-40B4-BE49-F238E27FC236}">
                <a16:creationId xmlns:a16="http://schemas.microsoft.com/office/drawing/2014/main" id="{9F096C06-25FF-464B-884C-D6660AB5C1A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666557" y="2595450"/>
            <a:ext cx="1235212" cy="1235212"/>
          </a:xfrm>
          <a:prstGeom prst="rect">
            <a:avLst/>
          </a:prstGeom>
        </p:spPr>
      </p:pic>
    </p:spTree>
    <p:extLst>
      <p:ext uri="{BB962C8B-B14F-4D97-AF65-F5344CB8AC3E}">
        <p14:creationId xmlns:p14="http://schemas.microsoft.com/office/powerpoint/2010/main" val="1760373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693326-74CD-4044-8B49-D6837B91CB31}"/>
              </a:ext>
            </a:extLst>
          </p:cNvPr>
          <p:cNvSpPr>
            <a:spLocks noGrp="1"/>
          </p:cNvSpPr>
          <p:nvPr>
            <p:ph type="title"/>
          </p:nvPr>
        </p:nvSpPr>
        <p:spPr/>
        <p:txBody>
          <a:bodyPr/>
          <a:lstStyle/>
          <a:p>
            <a:r>
              <a:rPr lang="sl-SI" dirty="0"/>
              <a:t>E</a:t>
            </a:r>
            <a:r>
              <a:rPr lang="de-AT" dirty="0"/>
              <a:t>mitter </a:t>
            </a:r>
            <a:r>
              <a:rPr lang="de-DE" dirty="0"/>
              <a:t>c</a:t>
            </a:r>
            <a:r>
              <a:rPr lang="de-AT" dirty="0"/>
              <a:t>ontrol </a:t>
            </a:r>
            <a:r>
              <a:rPr lang="sl-SI" dirty="0"/>
              <a:t>7 </a:t>
            </a:r>
            <a:r>
              <a:rPr lang="de-DE" dirty="0"/>
              <a:t>d</a:t>
            </a:r>
            <a:r>
              <a:rPr lang="sl-SI" dirty="0"/>
              <a:t>iodes</a:t>
            </a:r>
            <a:endParaRPr lang="de-AT" dirty="0"/>
          </a:p>
        </p:txBody>
      </p:sp>
    </p:spTree>
    <p:extLst>
      <p:ext uri="{BB962C8B-B14F-4D97-AF65-F5344CB8AC3E}">
        <p14:creationId xmlns:p14="http://schemas.microsoft.com/office/powerpoint/2010/main" val="1329645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EE1CCF-F284-48A5-8395-DD71FE9A3C38}"/>
              </a:ext>
            </a:extLst>
          </p:cNvPr>
          <p:cNvSpPr>
            <a:spLocks noGrp="1"/>
          </p:cNvSpPr>
          <p:nvPr>
            <p:ph type="title"/>
          </p:nvPr>
        </p:nvSpPr>
        <p:spPr/>
        <p:txBody>
          <a:bodyPr/>
          <a:lstStyle/>
          <a:p>
            <a:r>
              <a:rPr lang="de-AT" dirty="0"/>
              <a:t>650 V emitter controlled 7 discrete diode </a:t>
            </a:r>
          </a:p>
        </p:txBody>
      </p:sp>
      <p:pic>
        <p:nvPicPr>
          <p:cNvPr id="6" name="Picture 5">
            <a:extLst>
              <a:ext uri="{FF2B5EF4-FFF2-40B4-BE49-F238E27FC236}">
                <a16:creationId xmlns:a16="http://schemas.microsoft.com/office/drawing/2014/main" id="{9F48C2FD-A218-402E-BF9E-3A77FCC6568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290729" y="1099639"/>
            <a:ext cx="7504625" cy="4684191"/>
          </a:xfrm>
          <a:prstGeom prst="rect">
            <a:avLst/>
          </a:prstGeom>
        </p:spPr>
      </p:pic>
      <p:pic>
        <p:nvPicPr>
          <p:cNvPr id="15" name="Picture 14">
            <a:extLst>
              <a:ext uri="{FF2B5EF4-FFF2-40B4-BE49-F238E27FC236}">
                <a16:creationId xmlns:a16="http://schemas.microsoft.com/office/drawing/2014/main" id="{1E523E1F-CDD6-4CDC-8A4C-7A5A73505EE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875"/>
          <a:stretch/>
        </p:blipFill>
        <p:spPr>
          <a:xfrm>
            <a:off x="1703512" y="980728"/>
            <a:ext cx="8443986" cy="4929851"/>
          </a:xfrm>
          <a:custGeom>
            <a:avLst/>
            <a:gdLst>
              <a:gd name="connsiteX0" fmla="*/ 0 w 8443986"/>
              <a:gd name="connsiteY0" fmla="*/ 0 h 4929851"/>
              <a:gd name="connsiteX1" fmla="*/ 8443986 w 8443986"/>
              <a:gd name="connsiteY1" fmla="*/ 0 h 4929851"/>
              <a:gd name="connsiteX2" fmla="*/ 8443986 w 8443986"/>
              <a:gd name="connsiteY2" fmla="*/ 4929851 h 4929851"/>
              <a:gd name="connsiteX3" fmla="*/ 5308513 w 8443986"/>
              <a:gd name="connsiteY3" fmla="*/ 4929851 h 4929851"/>
              <a:gd name="connsiteX4" fmla="*/ 5308513 w 8443986"/>
              <a:gd name="connsiteY4" fmla="*/ 1134669 h 4929851"/>
              <a:gd name="connsiteX5" fmla="*/ 3272177 w 8443986"/>
              <a:gd name="connsiteY5" fmla="*/ 1134669 h 4929851"/>
              <a:gd name="connsiteX6" fmla="*/ 3167786 w 8443986"/>
              <a:gd name="connsiteY6" fmla="*/ 1125929 h 4929851"/>
              <a:gd name="connsiteX7" fmla="*/ 3167054 w 8443986"/>
              <a:gd name="connsiteY7" fmla="*/ 1134669 h 4929851"/>
              <a:gd name="connsiteX8" fmla="*/ 3156407 w 8443986"/>
              <a:gd name="connsiteY8" fmla="*/ 1134669 h 4929851"/>
              <a:gd name="connsiteX9" fmla="*/ 3156407 w 8443986"/>
              <a:gd name="connsiteY9" fmla="*/ 1261839 h 4929851"/>
              <a:gd name="connsiteX10" fmla="*/ 2855769 w 8443986"/>
              <a:gd name="connsiteY10" fmla="*/ 4852800 h 4929851"/>
              <a:gd name="connsiteX11" fmla="*/ 3156407 w 8443986"/>
              <a:gd name="connsiteY11" fmla="*/ 4877970 h 4929851"/>
              <a:gd name="connsiteX12" fmla="*/ 3156407 w 8443986"/>
              <a:gd name="connsiteY12" fmla="*/ 4929851 h 4929851"/>
              <a:gd name="connsiteX13" fmla="*/ 0 w 8443986"/>
              <a:gd name="connsiteY13" fmla="*/ 4929851 h 492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43986" h="4929851">
                <a:moveTo>
                  <a:pt x="0" y="0"/>
                </a:moveTo>
                <a:lnTo>
                  <a:pt x="8443986" y="0"/>
                </a:lnTo>
                <a:lnTo>
                  <a:pt x="8443986" y="4929851"/>
                </a:lnTo>
                <a:lnTo>
                  <a:pt x="5308513" y="4929851"/>
                </a:lnTo>
                <a:lnTo>
                  <a:pt x="5308513" y="1134669"/>
                </a:lnTo>
                <a:lnTo>
                  <a:pt x="3272177" y="1134669"/>
                </a:lnTo>
                <a:lnTo>
                  <a:pt x="3167786" y="1125929"/>
                </a:lnTo>
                <a:lnTo>
                  <a:pt x="3167054" y="1134669"/>
                </a:lnTo>
                <a:lnTo>
                  <a:pt x="3156407" y="1134669"/>
                </a:lnTo>
                <a:lnTo>
                  <a:pt x="3156407" y="1261839"/>
                </a:lnTo>
                <a:lnTo>
                  <a:pt x="2855769" y="4852800"/>
                </a:lnTo>
                <a:lnTo>
                  <a:pt x="3156407" y="4877970"/>
                </a:lnTo>
                <a:lnTo>
                  <a:pt x="3156407" y="4929851"/>
                </a:lnTo>
                <a:lnTo>
                  <a:pt x="0" y="4929851"/>
                </a:lnTo>
                <a:close/>
              </a:path>
            </a:pathLst>
          </a:custGeom>
        </p:spPr>
      </p:pic>
      <p:pic>
        <p:nvPicPr>
          <p:cNvPr id="10" name="Picture 9">
            <a:extLst>
              <a:ext uri="{FF2B5EF4-FFF2-40B4-BE49-F238E27FC236}">
                <a16:creationId xmlns:a16="http://schemas.microsoft.com/office/drawing/2014/main" id="{A5660F2F-ADDB-4C63-AE84-6E2E3516802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356211" y="5522439"/>
            <a:ext cx="1899163" cy="757174"/>
          </a:xfrm>
          <a:custGeom>
            <a:avLst/>
            <a:gdLst>
              <a:gd name="connsiteX0" fmla="*/ 898443 w 3381062"/>
              <a:gd name="connsiteY0" fmla="*/ 0 h 1347990"/>
              <a:gd name="connsiteX1" fmla="*/ 3381062 w 3381062"/>
              <a:gd name="connsiteY1" fmla="*/ 0 h 1347990"/>
              <a:gd name="connsiteX2" fmla="*/ 3381062 w 3381062"/>
              <a:gd name="connsiteY2" fmla="*/ 1347990 h 1347990"/>
              <a:gd name="connsiteX3" fmla="*/ 0 w 3381062"/>
              <a:gd name="connsiteY3" fmla="*/ 1347990 h 1347990"/>
              <a:gd name="connsiteX4" fmla="*/ 0 w 3381062"/>
              <a:gd name="connsiteY4" fmla="*/ 430109 h 1347990"/>
              <a:gd name="connsiteX5" fmla="*/ 898443 w 3381062"/>
              <a:gd name="connsiteY5" fmla="*/ 430109 h 134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1062" h="1347990">
                <a:moveTo>
                  <a:pt x="898443" y="0"/>
                </a:moveTo>
                <a:lnTo>
                  <a:pt x="3381062" y="0"/>
                </a:lnTo>
                <a:lnTo>
                  <a:pt x="3381062" y="1347990"/>
                </a:lnTo>
                <a:lnTo>
                  <a:pt x="0" y="1347990"/>
                </a:lnTo>
                <a:lnTo>
                  <a:pt x="0" y="430109"/>
                </a:lnTo>
                <a:lnTo>
                  <a:pt x="898443" y="430109"/>
                </a:lnTo>
                <a:close/>
              </a:path>
            </a:pathLst>
          </a:custGeom>
        </p:spPr>
      </p:pic>
      <p:pic>
        <p:nvPicPr>
          <p:cNvPr id="11" name="Picture 10">
            <a:extLst>
              <a:ext uri="{FF2B5EF4-FFF2-40B4-BE49-F238E27FC236}">
                <a16:creationId xmlns:a16="http://schemas.microsoft.com/office/drawing/2014/main" id="{1413A08F-9E01-4F0E-82EC-1C058DF41A4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960254" y="5247269"/>
            <a:ext cx="1899164" cy="1032344"/>
          </a:xfrm>
          <a:prstGeom prst="rect">
            <a:avLst/>
          </a:prstGeom>
        </p:spPr>
      </p:pic>
      <p:pic>
        <p:nvPicPr>
          <p:cNvPr id="12" name="Picture 11">
            <a:extLst>
              <a:ext uri="{FF2B5EF4-FFF2-40B4-BE49-F238E27FC236}">
                <a16:creationId xmlns:a16="http://schemas.microsoft.com/office/drawing/2014/main" id="{A06F67F6-66F6-4D03-AB2B-95A890CEEA5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5683074">
            <a:off x="5205741" y="5547909"/>
            <a:ext cx="811935" cy="1128699"/>
          </a:xfrm>
          <a:prstGeom prst="rect">
            <a:avLst/>
          </a:prstGeom>
        </p:spPr>
      </p:pic>
      <p:sp>
        <p:nvSpPr>
          <p:cNvPr id="7" name="TextBox 6">
            <a:extLst>
              <a:ext uri="{FF2B5EF4-FFF2-40B4-BE49-F238E27FC236}">
                <a16:creationId xmlns:a16="http://schemas.microsoft.com/office/drawing/2014/main" id="{2DD795B2-EA34-4C5A-B609-9DBB0F3BD587}"/>
              </a:ext>
            </a:extLst>
          </p:cNvPr>
          <p:cNvSpPr txBox="1"/>
          <p:nvPr/>
        </p:nvSpPr>
        <p:spPr bwMode="auto">
          <a:xfrm>
            <a:off x="6918280" y="5395214"/>
            <a:ext cx="4892750" cy="634276"/>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de-AT" sz="1800" kern="0" baseline="0" dirty="0">
                <a:latin typeface="+mn-lt"/>
                <a:ea typeface="+mn-ea"/>
                <a:cs typeface="+mn-cs"/>
              </a:rPr>
              <a:t>The same diode is copacked with </a:t>
            </a:r>
          </a:p>
          <a:p>
            <a:pPr marR="0" algn="ctr" defTabSz="576000" eaLnBrk="0" fontAlgn="auto" latinLnBrk="0" hangingPunct="0">
              <a:lnSpc>
                <a:spcPct val="120000"/>
              </a:lnSpc>
              <a:spcBef>
                <a:spcPts val="0"/>
              </a:spcBef>
              <a:spcAft>
                <a:spcPts val="0"/>
              </a:spcAft>
              <a:buClr>
                <a:schemeClr val="tx2"/>
              </a:buClr>
              <a:buSzTx/>
              <a:tabLst/>
            </a:pPr>
            <a:r>
              <a:rPr lang="sl-SI" sz="1800" kern="0" baseline="0" dirty="0">
                <a:latin typeface="+mn-lt"/>
                <a:ea typeface="+mn-ea"/>
                <a:cs typeface="+mn-cs"/>
              </a:rPr>
              <a:t>650 V IGBT7 H7 and T7</a:t>
            </a:r>
            <a:endParaRPr lang="de-AT" sz="1800" kern="0" baseline="0" dirty="0">
              <a:latin typeface="+mn-lt"/>
              <a:ea typeface="+mn-ea"/>
              <a:cs typeface="+mn-cs"/>
            </a:endParaRPr>
          </a:p>
        </p:txBody>
      </p:sp>
    </p:spTree>
    <p:custDataLst>
      <p:tags r:id="rId1"/>
    </p:custDataLst>
    <p:extLst>
      <p:ext uri="{BB962C8B-B14F-4D97-AF65-F5344CB8AC3E}">
        <p14:creationId xmlns:p14="http://schemas.microsoft.com/office/powerpoint/2010/main" val="3810822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2000"/>
                                  </p:stCondLst>
                                  <p:childTnLst>
                                    <p:set>
                                      <p:cBhvr>
                                        <p:cTn id="6"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6CF68F-0672-4729-97BB-9AFDC02FF7ED}"/>
              </a:ext>
            </a:extLst>
          </p:cNvPr>
          <p:cNvSpPr>
            <a:spLocks noGrp="1"/>
          </p:cNvSpPr>
          <p:nvPr>
            <p:ph type="title"/>
          </p:nvPr>
        </p:nvSpPr>
        <p:spPr/>
        <p:txBody>
          <a:bodyPr/>
          <a:lstStyle/>
          <a:p>
            <a:r>
              <a:rPr lang="de-AT" dirty="0"/>
              <a:t>1200 V emitter controlled 7 discrete diode </a:t>
            </a:r>
          </a:p>
        </p:txBody>
      </p:sp>
      <p:pic>
        <p:nvPicPr>
          <p:cNvPr id="8" name="Picture 7">
            <a:extLst>
              <a:ext uri="{FF2B5EF4-FFF2-40B4-BE49-F238E27FC236}">
                <a16:creationId xmlns:a16="http://schemas.microsoft.com/office/drawing/2014/main" id="{48F8F74E-9E23-43D5-9B77-A50D353C6B3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279576" y="1255873"/>
            <a:ext cx="6696744" cy="4547885"/>
          </a:xfrm>
          <a:prstGeom prst="rect">
            <a:avLst/>
          </a:prstGeom>
        </p:spPr>
      </p:pic>
      <p:pic>
        <p:nvPicPr>
          <p:cNvPr id="21" name="Picture 20">
            <a:extLst>
              <a:ext uri="{FF2B5EF4-FFF2-40B4-BE49-F238E27FC236}">
                <a16:creationId xmlns:a16="http://schemas.microsoft.com/office/drawing/2014/main" id="{C8222140-F3FA-417B-B4E1-629AF05C224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847528" y="1172694"/>
            <a:ext cx="7920880" cy="4622048"/>
          </a:xfrm>
          <a:custGeom>
            <a:avLst/>
            <a:gdLst>
              <a:gd name="connsiteX0" fmla="*/ 0 w 7920880"/>
              <a:gd name="connsiteY0" fmla="*/ 0 h 4622048"/>
              <a:gd name="connsiteX1" fmla="*/ 7920880 w 7920880"/>
              <a:gd name="connsiteY1" fmla="*/ 0 h 4622048"/>
              <a:gd name="connsiteX2" fmla="*/ 7920880 w 7920880"/>
              <a:gd name="connsiteY2" fmla="*/ 4622048 h 4622048"/>
              <a:gd name="connsiteX3" fmla="*/ 5112568 w 7920880"/>
              <a:gd name="connsiteY3" fmla="*/ 4622048 h 4622048"/>
              <a:gd name="connsiteX4" fmla="*/ 5112568 w 7920880"/>
              <a:gd name="connsiteY4" fmla="*/ 1104178 h 4622048"/>
              <a:gd name="connsiteX5" fmla="*/ 2821168 w 7920880"/>
              <a:gd name="connsiteY5" fmla="*/ 1104178 h 4622048"/>
              <a:gd name="connsiteX6" fmla="*/ 2821168 w 7920880"/>
              <a:gd name="connsiteY6" fmla="*/ 4622048 h 4622048"/>
              <a:gd name="connsiteX7" fmla="*/ 0 w 7920880"/>
              <a:gd name="connsiteY7" fmla="*/ 4622048 h 462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20880" h="4622048">
                <a:moveTo>
                  <a:pt x="0" y="0"/>
                </a:moveTo>
                <a:lnTo>
                  <a:pt x="7920880" y="0"/>
                </a:lnTo>
                <a:lnTo>
                  <a:pt x="7920880" y="4622048"/>
                </a:lnTo>
                <a:lnTo>
                  <a:pt x="5112568" y="4622048"/>
                </a:lnTo>
                <a:lnTo>
                  <a:pt x="5112568" y="1104178"/>
                </a:lnTo>
                <a:lnTo>
                  <a:pt x="2821168" y="1104178"/>
                </a:lnTo>
                <a:lnTo>
                  <a:pt x="2821168" y="4622048"/>
                </a:lnTo>
                <a:lnTo>
                  <a:pt x="0" y="4622048"/>
                </a:lnTo>
                <a:close/>
              </a:path>
            </a:pathLst>
          </a:custGeom>
        </p:spPr>
      </p:pic>
      <p:pic>
        <p:nvPicPr>
          <p:cNvPr id="14" name="Picture 13">
            <a:extLst>
              <a:ext uri="{FF2B5EF4-FFF2-40B4-BE49-F238E27FC236}">
                <a16:creationId xmlns:a16="http://schemas.microsoft.com/office/drawing/2014/main" id="{2E142BA3-20E8-4666-AA1F-880672F205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372451" y="5508350"/>
            <a:ext cx="1899163" cy="757174"/>
          </a:xfrm>
          <a:custGeom>
            <a:avLst/>
            <a:gdLst>
              <a:gd name="connsiteX0" fmla="*/ 898443 w 3381062"/>
              <a:gd name="connsiteY0" fmla="*/ 0 h 1347990"/>
              <a:gd name="connsiteX1" fmla="*/ 3381062 w 3381062"/>
              <a:gd name="connsiteY1" fmla="*/ 0 h 1347990"/>
              <a:gd name="connsiteX2" fmla="*/ 3381062 w 3381062"/>
              <a:gd name="connsiteY2" fmla="*/ 1347990 h 1347990"/>
              <a:gd name="connsiteX3" fmla="*/ 0 w 3381062"/>
              <a:gd name="connsiteY3" fmla="*/ 1347990 h 1347990"/>
              <a:gd name="connsiteX4" fmla="*/ 0 w 3381062"/>
              <a:gd name="connsiteY4" fmla="*/ 430109 h 1347990"/>
              <a:gd name="connsiteX5" fmla="*/ 898443 w 3381062"/>
              <a:gd name="connsiteY5" fmla="*/ 430109 h 134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1062" h="1347990">
                <a:moveTo>
                  <a:pt x="898443" y="0"/>
                </a:moveTo>
                <a:lnTo>
                  <a:pt x="3381062" y="0"/>
                </a:lnTo>
                <a:lnTo>
                  <a:pt x="3381062" y="1347990"/>
                </a:lnTo>
                <a:lnTo>
                  <a:pt x="0" y="1347990"/>
                </a:lnTo>
                <a:lnTo>
                  <a:pt x="0" y="430109"/>
                </a:lnTo>
                <a:lnTo>
                  <a:pt x="898443" y="430109"/>
                </a:lnTo>
                <a:close/>
              </a:path>
            </a:pathLst>
          </a:custGeom>
        </p:spPr>
      </p:pic>
      <p:pic>
        <p:nvPicPr>
          <p:cNvPr id="11" name="Picture 10">
            <a:extLst>
              <a:ext uri="{FF2B5EF4-FFF2-40B4-BE49-F238E27FC236}">
                <a16:creationId xmlns:a16="http://schemas.microsoft.com/office/drawing/2014/main" id="{B2348EDC-69D7-4AD6-9DB0-43BC335C570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976494" y="5233180"/>
            <a:ext cx="1899164" cy="1032344"/>
          </a:xfrm>
          <a:prstGeom prst="rect">
            <a:avLst/>
          </a:prstGeom>
        </p:spPr>
      </p:pic>
      <p:sp>
        <p:nvSpPr>
          <p:cNvPr id="9" name="TextBox 8">
            <a:extLst>
              <a:ext uri="{FF2B5EF4-FFF2-40B4-BE49-F238E27FC236}">
                <a16:creationId xmlns:a16="http://schemas.microsoft.com/office/drawing/2014/main" id="{A5A64864-BFE4-446E-9DA8-B223540D2F3B}"/>
              </a:ext>
            </a:extLst>
          </p:cNvPr>
          <p:cNvSpPr txBox="1"/>
          <p:nvPr>
            <p:custDataLst>
              <p:tags r:id="rId2"/>
            </p:custDataLst>
          </p:nvPr>
        </p:nvSpPr>
        <p:spPr bwMode="auto">
          <a:xfrm>
            <a:off x="7176120" y="5405592"/>
            <a:ext cx="4892750" cy="634276"/>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de-AT" sz="1800" kern="0" baseline="0" dirty="0">
                <a:latin typeface="+mn-lt"/>
                <a:ea typeface="+mn-ea"/>
                <a:cs typeface="+mn-cs"/>
              </a:rPr>
              <a:t>The same diode is copacked with </a:t>
            </a:r>
          </a:p>
          <a:p>
            <a:pPr marR="0" algn="ctr" defTabSz="576000" eaLnBrk="0" fontAlgn="auto" latinLnBrk="0" hangingPunct="0">
              <a:lnSpc>
                <a:spcPct val="120000"/>
              </a:lnSpc>
              <a:spcBef>
                <a:spcPts val="0"/>
              </a:spcBef>
              <a:spcAft>
                <a:spcPts val="0"/>
              </a:spcAft>
              <a:buClr>
                <a:schemeClr val="tx2"/>
              </a:buClr>
              <a:buSzTx/>
              <a:tabLst/>
            </a:pPr>
            <a:r>
              <a:rPr lang="de-AT" sz="1800" kern="0" baseline="0" dirty="0">
                <a:latin typeface="+mn-lt"/>
                <a:ea typeface="+mn-ea"/>
                <a:cs typeface="+mn-cs"/>
              </a:rPr>
              <a:t>1200</a:t>
            </a:r>
            <a:r>
              <a:rPr lang="sl-SI" sz="1800" kern="0" baseline="0" dirty="0">
                <a:latin typeface="+mn-lt"/>
                <a:ea typeface="+mn-ea"/>
                <a:cs typeface="+mn-cs"/>
              </a:rPr>
              <a:t> V IGBT7 H7</a:t>
            </a:r>
            <a:endParaRPr lang="de-AT" sz="1800" kern="0" baseline="0" dirty="0">
              <a:latin typeface="+mn-lt"/>
              <a:ea typeface="+mn-ea"/>
              <a:cs typeface="+mn-cs"/>
            </a:endParaRPr>
          </a:p>
        </p:txBody>
      </p:sp>
      <p:pic>
        <p:nvPicPr>
          <p:cNvPr id="15" name="Picture 14">
            <a:extLst>
              <a:ext uri="{FF2B5EF4-FFF2-40B4-BE49-F238E27FC236}">
                <a16:creationId xmlns:a16="http://schemas.microsoft.com/office/drawing/2014/main" id="{DA49868E-F190-49D4-8EB8-23AA07A2FC9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5683074">
            <a:off x="5221981" y="5543145"/>
            <a:ext cx="811935" cy="1128699"/>
          </a:xfrm>
          <a:prstGeom prst="rect">
            <a:avLst/>
          </a:prstGeom>
        </p:spPr>
      </p:pic>
    </p:spTree>
    <p:custDataLst>
      <p:tags r:id="rId1"/>
    </p:custDataLst>
    <p:extLst>
      <p:ext uri="{BB962C8B-B14F-4D97-AF65-F5344CB8AC3E}">
        <p14:creationId xmlns:p14="http://schemas.microsoft.com/office/powerpoint/2010/main" val="1315265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1500"/>
                                  </p:stCondLst>
                                  <p:childTnLst>
                                    <p:set>
                                      <p:cBhvr>
                                        <p:cTn id="6"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BB6012-A2CF-4384-ACE8-711C2D8533B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300356" y="1671610"/>
            <a:ext cx="2376264" cy="3770880"/>
          </a:xfrm>
          <a:prstGeom prst="rect">
            <a:avLst/>
          </a:prstGeom>
        </p:spPr>
      </p:pic>
      <p:pic>
        <p:nvPicPr>
          <p:cNvPr id="5" name="Picture 4">
            <a:extLst>
              <a:ext uri="{FF2B5EF4-FFF2-40B4-BE49-F238E27FC236}">
                <a16:creationId xmlns:a16="http://schemas.microsoft.com/office/drawing/2014/main" id="{7DFF77E7-C0A2-4F03-8896-7082FD19337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575720" y="5877271"/>
            <a:ext cx="5165248" cy="656899"/>
          </a:xfrm>
          <a:prstGeom prst="rect">
            <a:avLst/>
          </a:prstGeom>
        </p:spPr>
      </p:pic>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p:txBody>
          <a:bodyPr/>
          <a:lstStyle/>
          <a:p>
            <a:r>
              <a:rPr lang="de-AT" dirty="0"/>
              <a:t>650 V emitter controlled 7 discrete diode </a:t>
            </a:r>
            <a:endParaRPr lang="en-US" dirty="0"/>
          </a:p>
        </p:txBody>
      </p:sp>
      <p:pic>
        <p:nvPicPr>
          <p:cNvPr id="4" name="Picture 3">
            <a:extLst>
              <a:ext uri="{FF2B5EF4-FFF2-40B4-BE49-F238E27FC236}">
                <a16:creationId xmlns:a16="http://schemas.microsoft.com/office/drawing/2014/main" id="{A6DE39C0-5BBF-4883-B4A5-1AED7626384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711624" y="1415510"/>
            <a:ext cx="6768752" cy="4026980"/>
          </a:xfrm>
          <a:prstGeom prst="rect">
            <a:avLst/>
          </a:prstGeom>
        </p:spPr>
      </p:pic>
      <p:pic>
        <p:nvPicPr>
          <p:cNvPr id="7" name="Picture 6">
            <a:extLst>
              <a:ext uri="{FF2B5EF4-FFF2-40B4-BE49-F238E27FC236}">
                <a16:creationId xmlns:a16="http://schemas.microsoft.com/office/drawing/2014/main" id="{751C628E-D080-442B-B37A-64695CACE1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61833" y="4867107"/>
            <a:ext cx="1008112" cy="1150765"/>
          </a:xfrm>
          <a:prstGeom prst="rect">
            <a:avLst/>
          </a:prstGeom>
        </p:spPr>
      </p:pic>
      <p:pic>
        <p:nvPicPr>
          <p:cNvPr id="3" name="Picture 2">
            <a:extLst>
              <a:ext uri="{FF2B5EF4-FFF2-40B4-BE49-F238E27FC236}">
                <a16:creationId xmlns:a16="http://schemas.microsoft.com/office/drawing/2014/main" id="{6845B09B-8CD6-4299-8CFD-82B20A7EB611}"/>
              </a:ext>
            </a:extLst>
          </p:cNvPr>
          <p:cNvPicPr>
            <a:picLocks noChangeAspect="1"/>
          </p:cNvPicPr>
          <p:nvPr/>
        </p:nvPicPr>
        <p:blipFill>
          <a:blip r:embed="rId8"/>
          <a:stretch>
            <a:fillRect/>
          </a:stretch>
        </p:blipFill>
        <p:spPr>
          <a:xfrm>
            <a:off x="559549" y="1853943"/>
            <a:ext cx="2152075" cy="2694666"/>
          </a:xfrm>
          <a:prstGeom prst="rect">
            <a:avLst/>
          </a:prstGeom>
        </p:spPr>
      </p:pic>
    </p:spTree>
    <p:custDataLst>
      <p:tags r:id="rId1"/>
    </p:custDataLst>
    <p:extLst>
      <p:ext uri="{BB962C8B-B14F-4D97-AF65-F5344CB8AC3E}">
        <p14:creationId xmlns:p14="http://schemas.microsoft.com/office/powerpoint/2010/main" val="3601296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82ACF2-79E5-4086-B9C9-1E47EC1C8618}"/>
              </a:ext>
            </a:extLst>
          </p:cNvPr>
          <p:cNvPicPr>
            <a:picLocks noChangeAspect="1"/>
          </p:cNvPicPr>
          <p:nvPr/>
        </p:nvPicPr>
        <p:blipFill rotWithShape="1">
          <a:blip r:embed="rId5">
            <a:extLst>
              <a:ext uri="{28A0092B-C50C-407E-A947-70E740481C1C}">
                <a14:useLocalDpi xmlns:a14="http://schemas.microsoft.com/office/drawing/2010/main" val="0"/>
              </a:ext>
            </a:extLst>
          </a:blip>
          <a:srcRect r="13300"/>
          <a:stretch/>
        </p:blipFill>
        <p:spPr>
          <a:xfrm>
            <a:off x="3297832" y="-3176"/>
            <a:ext cx="8918848" cy="6858000"/>
          </a:xfrm>
          <a:prstGeom prst="rect">
            <a:avLst/>
          </a:prstGeom>
        </p:spPr>
      </p:pic>
      <p:graphicFrame>
        <p:nvGraphicFramePr>
          <p:cNvPr id="6" name="think-cell data - do not delete" hidden="1">
            <a:extLst>
              <a:ext uri="{FF2B5EF4-FFF2-40B4-BE49-F238E27FC236}">
                <a16:creationId xmlns:a16="http://schemas.microsoft.com/office/drawing/2014/main" id="{EE12E983-C583-9831-BE81-D8AB2F09A14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6" imgW="344" imgH="345" progId="TCLayout.ActiveDocument.1">
                  <p:embed/>
                </p:oleObj>
              </mc:Choice>
              <mc:Fallback>
                <p:oleObj name="think-cell Folie" r:id="rId6" imgW="344" imgH="345" progId="TCLayout.ActiveDocument.1">
                  <p:embed/>
                  <p:pic>
                    <p:nvPicPr>
                      <p:cNvPr id="6" name="think-cell data - do not delete" hidden="1">
                        <a:extLst>
                          <a:ext uri="{FF2B5EF4-FFF2-40B4-BE49-F238E27FC236}">
                            <a16:creationId xmlns:a16="http://schemas.microsoft.com/office/drawing/2014/main" id="{EE12E983-C583-9831-BE81-D8AB2F09A14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ABAC7A6D-9703-CF43-5B94-181F70CA16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646348" y="638133"/>
            <a:ext cx="6858002" cy="5581737"/>
          </a:xfrm>
          <a:prstGeom prst="rect">
            <a:avLst/>
          </a:prstGeom>
        </p:spPr>
      </p:pic>
      <p:sp>
        <p:nvSpPr>
          <p:cNvPr id="9" name="Textfeld 8">
            <a:extLst>
              <a:ext uri="{FF2B5EF4-FFF2-40B4-BE49-F238E27FC236}">
                <a16:creationId xmlns:a16="http://schemas.microsoft.com/office/drawing/2014/main" id="{05C77201-044D-0C93-85D8-15757E653EAA}"/>
              </a:ext>
            </a:extLst>
          </p:cNvPr>
          <p:cNvSpPr txBox="1"/>
          <p:nvPr/>
        </p:nvSpPr>
        <p:spPr bwMode="auto">
          <a:xfrm>
            <a:off x="334434" y="1448780"/>
            <a:ext cx="4033374" cy="1107996"/>
          </a:xfrm>
          <a:prstGeom prst="rect">
            <a:avLst/>
          </a:prstGeom>
          <a:noFill/>
          <a:ln w="9525">
            <a:noFill/>
            <a:miter lim="800000"/>
            <a:headEnd/>
            <a:tailEnd/>
          </a:ln>
          <a:effectLst/>
        </p:spPr>
        <p:txBody>
          <a:bodyPr wrap="square" lIns="0" tIns="0" rIns="0" bIns="0" rtlCol="0" anchor="t" anchorCtr="0">
            <a:spAutoFit/>
          </a:bodyPr>
          <a:lstStyle/>
          <a:p>
            <a:pPr defTabSz="1219170" eaLnBrk="0" fontAlgn="auto" hangingPunct="0">
              <a:spcBef>
                <a:spcPts val="0"/>
              </a:spcBef>
              <a:spcAft>
                <a:spcPts val="0"/>
              </a:spcAft>
              <a:buClr>
                <a:schemeClr val="accent1"/>
              </a:buClr>
            </a:pPr>
            <a:r>
              <a:rPr lang="en-US" sz="3600" b="1" kern="0">
                <a:solidFill>
                  <a:srgbClr val="0A8276"/>
                </a:solidFill>
                <a:latin typeface="Arial" panose="020B0604020202020204" pitchFamily="34" charset="0"/>
                <a:ea typeface="Verdana" pitchFamily="34" charset="0"/>
                <a:cs typeface="Arial" panose="020B0604020202020204" pitchFamily="34" charset="0"/>
              </a:rPr>
              <a:t>Technology background</a:t>
            </a:r>
            <a:endParaRPr lang="en-US" sz="3600" b="1" kern="0" dirty="0">
              <a:solidFill>
                <a:srgbClr val="0A8276"/>
              </a:solidFill>
              <a:latin typeface="Arial" panose="020B0604020202020204" pitchFamily="34" charset="0"/>
              <a:ea typeface="Verdana" pitchFamily="34" charset="0"/>
              <a:cs typeface="Arial" panose="020B0604020202020204" pitchFamily="34" charset="0"/>
            </a:endParaRPr>
          </a:p>
        </p:txBody>
      </p:sp>
      <p:pic>
        <p:nvPicPr>
          <p:cNvPr id="11" name="Picture 10">
            <a:extLst>
              <a:ext uri="{FF2B5EF4-FFF2-40B4-BE49-F238E27FC236}">
                <a16:creationId xmlns:a16="http://schemas.microsoft.com/office/drawing/2014/main" id="{82E1EBFA-CDD8-4353-92CF-9229DA7EE3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15480" y="3328502"/>
            <a:ext cx="2240977" cy="2240977"/>
          </a:xfrm>
          <a:prstGeom prst="rect">
            <a:avLst/>
          </a:prstGeom>
        </p:spPr>
      </p:pic>
      <p:sp>
        <p:nvSpPr>
          <p:cNvPr id="3" name="Rectangle 2">
            <a:extLst>
              <a:ext uri="{FF2B5EF4-FFF2-40B4-BE49-F238E27FC236}">
                <a16:creationId xmlns:a16="http://schemas.microsoft.com/office/drawing/2014/main" id="{EC3A4024-4DC9-437A-B62A-6E1D0B3A9E3F}"/>
              </a:ext>
            </a:extLst>
          </p:cNvPr>
          <p:cNvSpPr/>
          <p:nvPr/>
        </p:nvSpPr>
        <p:spPr>
          <a:xfrm>
            <a:off x="1511802" y="2995609"/>
            <a:ext cx="2125903" cy="338554"/>
          </a:xfrm>
          <a:prstGeom prst="rect">
            <a:avLst/>
          </a:prstGeom>
        </p:spPr>
        <p:txBody>
          <a:bodyPr wrap="none">
            <a:spAutoFit/>
          </a:bodyPr>
          <a:lstStyle/>
          <a:p>
            <a:r>
              <a:rPr lang="en-US" sz="1600" b="1">
                <a:solidFill>
                  <a:schemeClr val="accent1"/>
                </a:solidFill>
              </a:rPr>
              <a:t>The two flavours of </a:t>
            </a:r>
            <a:endParaRPr lang="en-US" sz="1600" b="1" dirty="0">
              <a:solidFill>
                <a:schemeClr val="accent1"/>
              </a:solidFill>
            </a:endParaRPr>
          </a:p>
        </p:txBody>
      </p:sp>
    </p:spTree>
    <p:extLst>
      <p:ext uri="{BB962C8B-B14F-4D97-AF65-F5344CB8AC3E}">
        <p14:creationId xmlns:p14="http://schemas.microsoft.com/office/powerpoint/2010/main" val="3273593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2"/>
          <p:cNvSpPr>
            <a:spLocks noGrp="1"/>
          </p:cNvSpPr>
          <p:nvPr>
            <p:ph type="title"/>
          </p:nvPr>
        </p:nvSpPr>
        <p:spPr/>
        <p:txBody>
          <a:bodyPr/>
          <a:lstStyle/>
          <a:p>
            <a:r>
              <a:rPr lang="en-US" dirty="0"/>
              <a:t>Industrial applications trade-off curves</a:t>
            </a:r>
            <a:br>
              <a:rPr lang="en-US" dirty="0"/>
            </a:br>
            <a:r>
              <a:rPr lang="en-US" dirty="0"/>
              <a:t>IGBT flavors for different applications and voltage classes</a:t>
            </a:r>
          </a:p>
        </p:txBody>
      </p:sp>
      <p:grpSp>
        <p:nvGrpSpPr>
          <p:cNvPr id="3" name="Group 2">
            <a:extLst>
              <a:ext uri="{FF2B5EF4-FFF2-40B4-BE49-F238E27FC236}">
                <a16:creationId xmlns:a16="http://schemas.microsoft.com/office/drawing/2014/main" id="{98E3E5BF-749A-E56E-91D3-A9AB5C5926FA}"/>
              </a:ext>
            </a:extLst>
          </p:cNvPr>
          <p:cNvGrpSpPr/>
          <p:nvPr/>
        </p:nvGrpSpPr>
        <p:grpSpPr>
          <a:xfrm>
            <a:off x="2243572" y="-843676"/>
            <a:ext cx="9668023" cy="7040782"/>
            <a:chOff x="2260625" y="-587446"/>
            <a:chExt cx="9668023" cy="7040782"/>
          </a:xfrm>
        </p:grpSpPr>
        <p:sp>
          <p:nvSpPr>
            <p:cNvPr id="2" name="Oval 1">
              <a:extLst>
                <a:ext uri="{FF2B5EF4-FFF2-40B4-BE49-F238E27FC236}">
                  <a16:creationId xmlns:a16="http://schemas.microsoft.com/office/drawing/2014/main" id="{5C651BD9-506D-A3FE-E868-8F680DBD3164}"/>
                </a:ext>
              </a:extLst>
            </p:cNvPr>
            <p:cNvSpPr/>
            <p:nvPr/>
          </p:nvSpPr>
          <p:spPr bwMode="auto">
            <a:xfrm rot="2322180">
              <a:off x="3445344" y="1198044"/>
              <a:ext cx="2353353" cy="3710633"/>
            </a:xfrm>
            <a:prstGeom prst="ellipse">
              <a:avLst/>
            </a:prstGeom>
            <a:solidFill>
              <a:srgbClr val="6CB4AD">
                <a:alpha val="31000"/>
              </a:srgbClr>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grpSp>
          <p:nvGrpSpPr>
            <p:cNvPr id="28" name="Group 27">
              <a:extLst>
                <a:ext uri="{FF2B5EF4-FFF2-40B4-BE49-F238E27FC236}">
                  <a16:creationId xmlns:a16="http://schemas.microsoft.com/office/drawing/2014/main" id="{7181DAE9-61B7-32DA-9843-67B72B257C09}"/>
                </a:ext>
              </a:extLst>
            </p:cNvPr>
            <p:cNvGrpSpPr/>
            <p:nvPr/>
          </p:nvGrpSpPr>
          <p:grpSpPr>
            <a:xfrm>
              <a:off x="2260625" y="-587446"/>
              <a:ext cx="9668023" cy="7040782"/>
              <a:chOff x="2541843" y="-754272"/>
              <a:chExt cx="9668023" cy="7040782"/>
            </a:xfrm>
          </p:grpSpPr>
          <p:cxnSp>
            <p:nvCxnSpPr>
              <p:cNvPr id="6" name="Straight Arrow Connector 5"/>
              <p:cNvCxnSpPr/>
              <p:nvPr/>
            </p:nvCxnSpPr>
            <p:spPr bwMode="auto">
              <a:xfrm flipV="1">
                <a:off x="3092793" y="1475627"/>
                <a:ext cx="0" cy="4320480"/>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7" name="Straight Arrow Connector 6"/>
              <p:cNvCxnSpPr/>
              <p:nvPr/>
            </p:nvCxnSpPr>
            <p:spPr bwMode="auto">
              <a:xfrm>
                <a:off x="3092793" y="5796107"/>
                <a:ext cx="6767856" cy="11101"/>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sp>
            <p:nvSpPr>
              <p:cNvPr id="9" name="TextBox 8"/>
              <p:cNvSpPr txBox="1"/>
              <p:nvPr/>
            </p:nvSpPr>
            <p:spPr>
              <a:xfrm>
                <a:off x="8205429" y="5824845"/>
                <a:ext cx="1873129" cy="461665"/>
              </a:xfrm>
              <a:prstGeom prst="rect">
                <a:avLst/>
              </a:prstGeom>
              <a:noFill/>
              <a:effectLst/>
            </p:spPr>
            <p:txBody>
              <a:bodyPr wrap="square" rtlCol="0">
                <a:spAutoFit/>
              </a:bodyPr>
              <a:lstStyle/>
              <a:p>
                <a:pPr algn="ctr" defTabSz="914377">
                  <a:buClr>
                    <a:srgbClr val="000000"/>
                  </a:buClr>
                  <a:defRPr/>
                </a:pPr>
                <a:r>
                  <a:rPr lang="en-US" sz="1200">
                    <a:solidFill>
                      <a:schemeClr val="dk1"/>
                    </a:solidFill>
                    <a:latin typeface="+mj-lt"/>
                    <a:cs typeface="Arial" charset="0"/>
                  </a:rPr>
                  <a:t>Conduction Losses</a:t>
                </a:r>
              </a:p>
              <a:p>
                <a:pPr algn="ctr" defTabSz="914377">
                  <a:buClr>
                    <a:srgbClr val="000000"/>
                  </a:buClr>
                  <a:defRPr/>
                </a:pPr>
                <a:r>
                  <a:rPr lang="en-US" sz="1200">
                    <a:solidFill>
                      <a:schemeClr val="dk1"/>
                    </a:solidFill>
                    <a:latin typeface="+mj-lt"/>
                    <a:cs typeface="Arial" charset="0"/>
                  </a:rPr>
                  <a:t>[V</a:t>
                </a:r>
                <a:r>
                  <a:rPr lang="en-US" sz="1200" baseline="-25000">
                    <a:solidFill>
                      <a:schemeClr val="dk1"/>
                    </a:solidFill>
                    <a:latin typeface="+mj-lt"/>
                    <a:cs typeface="Arial" charset="0"/>
                  </a:rPr>
                  <a:t>ce(sat)</a:t>
                </a:r>
                <a:r>
                  <a:rPr lang="en-US" sz="1200">
                    <a:solidFill>
                      <a:schemeClr val="dk1"/>
                    </a:solidFill>
                    <a:latin typeface="+mj-lt"/>
                    <a:cs typeface="Arial" charset="0"/>
                  </a:rPr>
                  <a:t>]</a:t>
                </a:r>
                <a:endParaRPr lang="en-US" sz="1200" dirty="0">
                  <a:solidFill>
                    <a:schemeClr val="dk1"/>
                  </a:solidFill>
                  <a:latin typeface="+mj-lt"/>
                  <a:cs typeface="Arial" charset="0"/>
                </a:endParaRPr>
              </a:p>
            </p:txBody>
          </p:sp>
          <p:sp>
            <p:nvSpPr>
              <p:cNvPr id="10" name="TextBox 9"/>
              <p:cNvSpPr txBox="1"/>
              <p:nvPr/>
            </p:nvSpPr>
            <p:spPr>
              <a:xfrm rot="16200000">
                <a:off x="2113681" y="1864093"/>
                <a:ext cx="1317990" cy="461665"/>
              </a:xfrm>
              <a:prstGeom prst="rect">
                <a:avLst/>
              </a:prstGeom>
              <a:noFill/>
              <a:effectLst/>
            </p:spPr>
            <p:txBody>
              <a:bodyPr wrap="none" rtlCol="0">
                <a:spAutoFit/>
              </a:bodyPr>
              <a:lstStyle/>
              <a:p>
                <a:pPr algn="ctr" defTabSz="914377">
                  <a:buClr>
                    <a:srgbClr val="000000"/>
                  </a:buClr>
                  <a:defRPr/>
                </a:pPr>
                <a:r>
                  <a:rPr lang="en-US" sz="1200">
                    <a:solidFill>
                      <a:schemeClr val="dk1"/>
                    </a:solidFill>
                    <a:latin typeface="+mj-lt"/>
                    <a:cs typeface="Arial" charset="0"/>
                  </a:rPr>
                  <a:t>Switching losses</a:t>
                </a:r>
              </a:p>
              <a:p>
                <a:pPr algn="ctr" defTabSz="914377">
                  <a:buClr>
                    <a:srgbClr val="000000"/>
                  </a:buClr>
                  <a:defRPr/>
                </a:pPr>
                <a:r>
                  <a:rPr lang="en-US" sz="1200">
                    <a:solidFill>
                      <a:schemeClr val="dk1"/>
                    </a:solidFill>
                    <a:latin typeface="+mj-lt"/>
                    <a:cs typeface="Arial" charset="0"/>
                  </a:rPr>
                  <a:t>[E</a:t>
                </a:r>
                <a:r>
                  <a:rPr lang="en-US" sz="1200" baseline="-25000">
                    <a:solidFill>
                      <a:schemeClr val="dk1"/>
                    </a:solidFill>
                    <a:latin typeface="+mj-lt"/>
                    <a:cs typeface="Arial" charset="0"/>
                  </a:rPr>
                  <a:t>tot</a:t>
                </a:r>
                <a:r>
                  <a:rPr lang="en-US" sz="1200">
                    <a:solidFill>
                      <a:schemeClr val="dk1"/>
                    </a:solidFill>
                    <a:latin typeface="+mj-lt"/>
                    <a:cs typeface="Arial" charset="0"/>
                  </a:rPr>
                  <a:t>]</a:t>
                </a:r>
                <a:endParaRPr lang="en-US" sz="1200" dirty="0">
                  <a:solidFill>
                    <a:schemeClr val="dk1"/>
                  </a:solidFill>
                  <a:latin typeface="+mj-lt"/>
                  <a:cs typeface="Arial" charset="0"/>
                </a:endParaRPr>
              </a:p>
            </p:txBody>
          </p:sp>
          <p:sp>
            <p:nvSpPr>
              <p:cNvPr id="12" name="Arc 11"/>
              <p:cNvSpPr/>
              <p:nvPr/>
            </p:nvSpPr>
            <p:spPr bwMode="auto">
              <a:xfrm rot="10974979">
                <a:off x="4144970" y="-754272"/>
                <a:ext cx="8064896" cy="4608512"/>
              </a:xfrm>
              <a:prstGeom prst="arc">
                <a:avLst>
                  <a:gd name="adj1" fmla="val 16198380"/>
                  <a:gd name="adj2" fmla="val 21497131"/>
                </a:avLst>
              </a:prstGeom>
              <a:noFill/>
              <a:ln w="2540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15" name="Oval 14"/>
              <p:cNvSpPr/>
              <p:nvPr/>
            </p:nvSpPr>
            <p:spPr bwMode="auto">
              <a:xfrm>
                <a:off x="3020708" y="5700238"/>
                <a:ext cx="144016" cy="167940"/>
              </a:xfrm>
              <a:prstGeom prst="ellipse">
                <a:avLst/>
              </a:prstGeom>
              <a:solidFill>
                <a:srgbClr val="812161"/>
              </a:solidFill>
              <a:ln w="9525" cap="flat" cmpd="sng" algn="ctr">
                <a:solidFill>
                  <a:srgbClr val="BCB0B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37" name="TextBox 36"/>
              <p:cNvSpPr txBox="1"/>
              <p:nvPr/>
            </p:nvSpPr>
            <p:spPr>
              <a:xfrm>
                <a:off x="3173707" y="5955458"/>
                <a:ext cx="2511369" cy="276999"/>
              </a:xfrm>
              <a:prstGeom prst="rect">
                <a:avLst/>
              </a:prstGeom>
              <a:noFill/>
              <a:effectLst/>
            </p:spPr>
            <p:txBody>
              <a:bodyPr wrap="square" rtlCol="0">
                <a:spAutoFit/>
              </a:bodyPr>
              <a:lstStyle>
                <a:defPPr>
                  <a:defRPr lang="en-US"/>
                </a:defPPr>
                <a:lvl1pPr algn="ctr">
                  <a:buClr>
                    <a:schemeClr val="tx1"/>
                  </a:buClr>
                  <a:defRPr sz="1200" b="1" i="1">
                    <a:solidFill>
                      <a:schemeClr val="tx2"/>
                    </a:solidFill>
                    <a:latin typeface="Verdana"/>
                    <a:cs typeface="Arial" charset="0"/>
                  </a:defRPr>
                </a:lvl1pPr>
              </a:lstStyle>
              <a:p>
                <a:pPr defTabSz="914377">
                  <a:buClr>
                    <a:srgbClr val="000000"/>
                  </a:buClr>
                  <a:defRPr/>
                </a:pPr>
                <a:r>
                  <a:rPr lang="en-US">
                    <a:solidFill>
                      <a:schemeClr val="dk1"/>
                    </a:solidFill>
                    <a:latin typeface="+mj-lt"/>
                  </a:rPr>
                  <a:t>&lt;= Low switching 20 kHz</a:t>
                </a:r>
                <a:endParaRPr lang="en-US" dirty="0">
                  <a:solidFill>
                    <a:schemeClr val="dk1"/>
                  </a:solidFill>
                  <a:latin typeface="+mj-lt"/>
                </a:endParaRPr>
              </a:p>
            </p:txBody>
          </p:sp>
          <p:sp>
            <p:nvSpPr>
              <p:cNvPr id="38" name="TextBox 37"/>
              <p:cNvSpPr txBox="1"/>
              <p:nvPr/>
            </p:nvSpPr>
            <p:spPr>
              <a:xfrm>
                <a:off x="5490992" y="5953863"/>
                <a:ext cx="3456376" cy="276999"/>
              </a:xfrm>
              <a:prstGeom prst="rect">
                <a:avLst/>
              </a:prstGeom>
              <a:noFill/>
              <a:effectLst/>
            </p:spPr>
            <p:txBody>
              <a:bodyPr wrap="square" rtlCol="0">
                <a:spAutoFit/>
              </a:bodyPr>
              <a:lstStyle/>
              <a:p>
                <a:pPr algn="ctr" defTabSz="914377">
                  <a:buClr>
                    <a:srgbClr val="000000"/>
                  </a:buClr>
                  <a:defRPr/>
                </a:pPr>
                <a:r>
                  <a:rPr lang="en-US" sz="1200" b="1" i="1">
                    <a:solidFill>
                      <a:schemeClr val="dk1"/>
                    </a:solidFill>
                    <a:latin typeface="+mj-lt"/>
                    <a:cs typeface="Arial" charset="0"/>
                  </a:rPr>
                  <a:t>Fast switching up to 20-100 kHz =&gt;</a:t>
                </a:r>
                <a:endParaRPr lang="en-US" sz="1200" b="1" i="1" dirty="0">
                  <a:solidFill>
                    <a:schemeClr val="dk1"/>
                  </a:solidFill>
                  <a:latin typeface="+mj-lt"/>
                  <a:cs typeface="Arial" charset="0"/>
                </a:endParaRPr>
              </a:p>
            </p:txBody>
          </p:sp>
          <p:sp>
            <p:nvSpPr>
              <p:cNvPr id="41" name="Arc 40"/>
              <p:cNvSpPr/>
              <p:nvPr/>
            </p:nvSpPr>
            <p:spPr bwMode="auto">
              <a:xfrm rot="10800000">
                <a:off x="3396586" y="260258"/>
                <a:ext cx="8064896" cy="4608512"/>
              </a:xfrm>
              <a:prstGeom prst="arc">
                <a:avLst>
                  <a:gd name="adj1" fmla="val 16198380"/>
                  <a:gd name="adj2" fmla="val 21497131"/>
                </a:avLst>
              </a:prstGeom>
              <a:noFill/>
              <a:ln w="25400" cap="flat" cmpd="sng" algn="ctr">
                <a:solidFill>
                  <a:srgbClr val="0A827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42" name="Rectangle 41"/>
              <p:cNvSpPr/>
              <p:nvPr/>
            </p:nvSpPr>
            <p:spPr bwMode="auto">
              <a:xfrm>
                <a:off x="7925760" y="4782614"/>
                <a:ext cx="1035296" cy="252028"/>
              </a:xfrm>
              <a:prstGeom prst="rect">
                <a:avLst/>
              </a:prstGeom>
              <a:solidFill>
                <a:srgbClr val="0A8276"/>
              </a:solidFill>
              <a:ln w="19050" algn="ctr">
                <a:noFill/>
                <a:miter lim="800000"/>
                <a:headEnd/>
                <a:tailEnd/>
              </a:ln>
              <a:effectLst/>
            </p:spPr>
            <p:txBody>
              <a:bodyPr wrap="none" anchor="ctr"/>
              <a:lstStyle/>
              <a:p>
                <a:pPr algn="ctr" defTabSz="914377" eaLnBrk="0" fontAlgn="auto" hangingPunct="0">
                  <a:spcBef>
                    <a:spcPct val="10000"/>
                  </a:spcBef>
                  <a:spcAft>
                    <a:spcPct val="10000"/>
                  </a:spcAft>
                  <a:buClr>
                    <a:srgbClr val="00214A"/>
                  </a:buClr>
                  <a:tabLst>
                    <a:tab pos="292093" algn="l"/>
                  </a:tabLst>
                </a:pPr>
                <a:r>
                  <a:rPr lang="en-US" b="1" kern="0" dirty="0">
                    <a:solidFill>
                      <a:schemeClr val="bg1"/>
                    </a:solidFill>
                    <a:latin typeface="+mj-lt"/>
                    <a:ea typeface="Verdana" pitchFamily="34" charset="0"/>
                    <a:cs typeface="Arial" charset="0"/>
                  </a:rPr>
                  <a:t>650V</a:t>
                </a:r>
              </a:p>
            </p:txBody>
          </p:sp>
          <p:sp>
            <p:nvSpPr>
              <p:cNvPr id="55" name="Oval 54"/>
              <p:cNvSpPr/>
              <p:nvPr/>
            </p:nvSpPr>
            <p:spPr bwMode="auto">
              <a:xfrm>
                <a:off x="5910812" y="4625163"/>
                <a:ext cx="144000" cy="143212"/>
              </a:xfrm>
              <a:prstGeom prst="ellipse">
                <a:avLst/>
              </a:prstGeom>
              <a:solidFill>
                <a:srgbClr val="0A827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30" name="Oval 29"/>
              <p:cNvSpPr/>
              <p:nvPr/>
            </p:nvSpPr>
            <p:spPr bwMode="auto">
              <a:xfrm>
                <a:off x="4552962" y="2449167"/>
                <a:ext cx="144000" cy="143212"/>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24" name="Rectangle 6"/>
              <p:cNvSpPr>
                <a:spLocks noChangeArrowheads="1"/>
              </p:cNvSpPr>
              <p:nvPr/>
            </p:nvSpPr>
            <p:spPr bwMode="auto">
              <a:xfrm>
                <a:off x="4552962" y="1628783"/>
                <a:ext cx="592100" cy="504056"/>
              </a:xfrm>
              <a:prstGeom prst="roundRect">
                <a:avLst>
                  <a:gd name="adj" fmla="val 17588"/>
                </a:avLst>
              </a:prstGeom>
              <a:solidFill>
                <a:schemeClr val="accent2"/>
              </a:solidFill>
              <a:ln w="19050" algn="ctr">
                <a:noFill/>
                <a:miter lim="800000"/>
                <a:headEnd/>
                <a:tailEnd/>
              </a:ln>
              <a:effectLst/>
            </p:spPr>
            <p:txBody>
              <a:bodyPr wrap="none" anchor="ctr"/>
              <a:lstStyle>
                <a:lvl1pPr eaLnBrk="0" hangingPunct="0">
                  <a:spcAft>
                    <a:spcPts val="1200"/>
                  </a:spcAft>
                  <a:buClr>
                    <a:schemeClr val="accent1"/>
                  </a:buClr>
                  <a:buFont typeface="Wingdings" pitchFamily="2" charset="2"/>
                  <a:buChar char="n"/>
                  <a:tabLst>
                    <a:tab pos="292100" algn="l"/>
                  </a:tabLst>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tabLst>
                    <a:tab pos="292100" algn="l"/>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292100" algn="l"/>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292100" algn="l"/>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9pPr>
              </a:lstStyle>
              <a:p>
                <a:pPr algn="ctr" defTabSz="914377" fontAlgn="auto">
                  <a:spcBef>
                    <a:spcPct val="10000"/>
                  </a:spcBef>
                  <a:spcAft>
                    <a:spcPct val="10000"/>
                  </a:spcAft>
                  <a:buClr>
                    <a:srgbClr val="00214A"/>
                  </a:buClr>
                  <a:buNone/>
                  <a:tabLst>
                    <a:tab pos="292093" algn="l"/>
                  </a:tabLst>
                  <a:defRPr/>
                </a:pPr>
                <a:r>
                  <a:rPr lang="en-US" altLang="en-US" sz="1400" b="1" kern="0">
                    <a:solidFill>
                      <a:schemeClr val="bg1"/>
                    </a:solidFill>
                    <a:latin typeface="+mj-lt"/>
                    <a:cs typeface="Arial" charset="0"/>
                  </a:rPr>
                  <a:t>S7</a:t>
                </a:r>
                <a:endParaRPr lang="en-US" altLang="en-US" sz="1400" b="1" kern="0" dirty="0">
                  <a:solidFill>
                    <a:schemeClr val="bg1"/>
                  </a:solidFill>
                  <a:latin typeface="+mj-lt"/>
                  <a:cs typeface="Arial" charset="0"/>
                </a:endParaRPr>
              </a:p>
            </p:txBody>
          </p:sp>
          <p:grpSp>
            <p:nvGrpSpPr>
              <p:cNvPr id="32" name="Group 31"/>
              <p:cNvGrpSpPr/>
              <p:nvPr/>
            </p:nvGrpSpPr>
            <p:grpSpPr>
              <a:xfrm>
                <a:off x="6965227" y="3121748"/>
                <a:ext cx="832346" cy="661451"/>
                <a:chOff x="5508104" y="3309493"/>
                <a:chExt cx="832345" cy="661451"/>
              </a:xfrm>
            </p:grpSpPr>
            <p:sp>
              <p:nvSpPr>
                <p:cNvPr id="31" name="Oval 30"/>
                <p:cNvSpPr/>
                <p:nvPr/>
              </p:nvSpPr>
              <p:spPr bwMode="auto">
                <a:xfrm>
                  <a:off x="5508104" y="3827732"/>
                  <a:ext cx="144000" cy="143212"/>
                </a:xfrm>
                <a:prstGeom prst="ellipse">
                  <a:avLst/>
                </a:prstGeom>
                <a:solidFill>
                  <a:schemeClr val="accent2"/>
                </a:solidFill>
                <a:ln w="19050" algn="ctr">
                  <a:noFill/>
                  <a:miter lim="800000"/>
                  <a:headEnd/>
                  <a:tailEnd/>
                </a:ln>
                <a:effectLst/>
              </p:spPr>
              <p:txBody>
                <a:bodyPr wrap="none" anchor="ctr"/>
                <a:lstStyle/>
                <a:p>
                  <a:pPr algn="ctr" defTabSz="914377" eaLnBrk="0" fontAlgn="auto" hangingPunct="0">
                    <a:spcBef>
                      <a:spcPct val="10000"/>
                    </a:spcBef>
                    <a:spcAft>
                      <a:spcPct val="10000"/>
                    </a:spcAft>
                    <a:buClr>
                      <a:srgbClr val="00214A"/>
                    </a:buClr>
                    <a:tabLst>
                      <a:tab pos="292093" algn="l"/>
                    </a:tabLst>
                  </a:pPr>
                  <a:endParaRPr lang="en-US" b="1" kern="0" dirty="0">
                    <a:solidFill>
                      <a:schemeClr val="bg1"/>
                    </a:solidFill>
                    <a:latin typeface="+mj-lt"/>
                    <a:ea typeface="Verdana" pitchFamily="34" charset="0"/>
                    <a:cs typeface="Arial" charset="0"/>
                  </a:endParaRPr>
                </a:p>
              </p:txBody>
            </p:sp>
            <p:sp>
              <p:nvSpPr>
                <p:cNvPr id="29" name="Rectangle 6"/>
                <p:cNvSpPr>
                  <a:spLocks noChangeArrowheads="1"/>
                </p:cNvSpPr>
                <p:nvPr/>
              </p:nvSpPr>
              <p:spPr bwMode="auto">
                <a:xfrm>
                  <a:off x="5762060" y="3309493"/>
                  <a:ext cx="578389" cy="504056"/>
                </a:xfrm>
                <a:prstGeom prst="roundRect">
                  <a:avLst>
                    <a:gd name="adj" fmla="val 17588"/>
                  </a:avLst>
                </a:prstGeom>
                <a:solidFill>
                  <a:schemeClr val="accent2"/>
                </a:solidFill>
                <a:ln w="19050" algn="ctr">
                  <a:noFill/>
                  <a:miter lim="800000"/>
                  <a:headEnd/>
                  <a:tailEnd/>
                </a:ln>
                <a:effectLst/>
              </p:spPr>
              <p:txBody>
                <a:bodyPr wrap="none" anchor="ctr"/>
                <a:lstStyle>
                  <a:lvl1pPr eaLnBrk="0" hangingPunct="0">
                    <a:spcAft>
                      <a:spcPts val="1200"/>
                    </a:spcAft>
                    <a:buClr>
                      <a:schemeClr val="accent1"/>
                    </a:buClr>
                    <a:buFont typeface="Wingdings" pitchFamily="2" charset="2"/>
                    <a:buChar char="n"/>
                    <a:tabLst>
                      <a:tab pos="292100" algn="l"/>
                    </a:tabLst>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tabLst>
                      <a:tab pos="292100" algn="l"/>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292100" algn="l"/>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292100" algn="l"/>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9pPr>
                </a:lstStyle>
                <a:p>
                  <a:pPr algn="ctr" defTabSz="914377" fontAlgn="auto">
                    <a:spcBef>
                      <a:spcPct val="10000"/>
                    </a:spcBef>
                    <a:spcAft>
                      <a:spcPct val="10000"/>
                    </a:spcAft>
                    <a:buClr>
                      <a:srgbClr val="00214A"/>
                    </a:buClr>
                    <a:buNone/>
                    <a:tabLst>
                      <a:tab pos="292093" algn="l"/>
                    </a:tabLst>
                  </a:pPr>
                  <a:r>
                    <a:rPr lang="en-US" altLang="en-US" sz="1400" b="1" kern="0">
                      <a:solidFill>
                        <a:schemeClr val="bg1"/>
                      </a:solidFill>
                      <a:latin typeface="+mj-lt"/>
                      <a:cs typeface="Arial" charset="0"/>
                    </a:rPr>
                    <a:t>H7</a:t>
                  </a:r>
                  <a:endParaRPr lang="en-US" altLang="en-US" sz="1400" b="1" kern="0" dirty="0">
                    <a:solidFill>
                      <a:schemeClr val="bg1"/>
                    </a:solidFill>
                    <a:latin typeface="+mj-lt"/>
                    <a:cs typeface="Arial" charset="0"/>
                  </a:endParaRPr>
                </a:p>
              </p:txBody>
            </p:sp>
          </p:grpSp>
          <p:sp>
            <p:nvSpPr>
              <p:cNvPr id="58" name="Oval 57"/>
              <p:cNvSpPr/>
              <p:nvPr/>
            </p:nvSpPr>
            <p:spPr bwMode="auto">
              <a:xfrm>
                <a:off x="3755240" y="3481327"/>
                <a:ext cx="144000" cy="143212"/>
              </a:xfrm>
              <a:prstGeom prst="ellipse">
                <a:avLst/>
              </a:prstGeom>
              <a:solidFill>
                <a:srgbClr val="0A827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8" name="Rectangle 7">
                <a:extLst>
                  <a:ext uri="{FF2B5EF4-FFF2-40B4-BE49-F238E27FC236}">
                    <a16:creationId xmlns:a16="http://schemas.microsoft.com/office/drawing/2014/main" id="{BDAD90D3-BE65-2D04-F3B2-ABEF39F6706F}"/>
                  </a:ext>
                </a:extLst>
              </p:cNvPr>
              <p:cNvSpPr/>
              <p:nvPr/>
            </p:nvSpPr>
            <p:spPr bwMode="auto">
              <a:xfrm>
                <a:off x="7954606" y="3728375"/>
                <a:ext cx="1035296" cy="252028"/>
              </a:xfrm>
              <a:prstGeom prst="rect">
                <a:avLst/>
              </a:prstGeom>
              <a:solidFill>
                <a:schemeClr val="accent2"/>
              </a:solidFill>
              <a:ln w="19050" algn="ctr">
                <a:noFill/>
                <a:miter lim="800000"/>
                <a:headEnd/>
                <a:tailEnd/>
              </a:ln>
              <a:effectLst/>
            </p:spPr>
            <p:txBody>
              <a:bodyPr wrap="none" anchor="ctr"/>
              <a:lstStyle/>
              <a:p>
                <a:pPr algn="ctr" defTabSz="914377" eaLnBrk="0" fontAlgn="auto" hangingPunct="0">
                  <a:spcBef>
                    <a:spcPct val="10000"/>
                  </a:spcBef>
                  <a:spcAft>
                    <a:spcPct val="10000"/>
                  </a:spcAft>
                  <a:buClr>
                    <a:srgbClr val="00214A"/>
                  </a:buClr>
                  <a:tabLst>
                    <a:tab pos="292093" algn="l"/>
                  </a:tabLst>
                </a:pPr>
                <a:r>
                  <a:rPr lang="en-US" b="1" kern="0">
                    <a:solidFill>
                      <a:schemeClr val="bg1"/>
                    </a:solidFill>
                    <a:latin typeface="+mj-lt"/>
                    <a:ea typeface="Verdana" pitchFamily="34" charset="0"/>
                    <a:cs typeface="Arial" charset="0"/>
                  </a:rPr>
                  <a:t>1200V</a:t>
                </a:r>
                <a:endParaRPr lang="en-US" b="1" kern="0" dirty="0">
                  <a:solidFill>
                    <a:schemeClr val="bg1"/>
                  </a:solidFill>
                  <a:latin typeface="+mj-lt"/>
                  <a:ea typeface="Verdana" pitchFamily="34" charset="0"/>
                  <a:cs typeface="Arial" charset="0"/>
                </a:endParaRPr>
              </a:p>
            </p:txBody>
          </p:sp>
          <p:sp>
            <p:nvSpPr>
              <p:cNvPr id="11" name="Rectangle 6">
                <a:extLst>
                  <a:ext uri="{FF2B5EF4-FFF2-40B4-BE49-F238E27FC236}">
                    <a16:creationId xmlns:a16="http://schemas.microsoft.com/office/drawing/2014/main" id="{74FF7CA7-BFA5-E147-710B-E23E10BC7F76}"/>
                  </a:ext>
                </a:extLst>
              </p:cNvPr>
              <p:cNvSpPr>
                <a:spLocks noChangeArrowheads="1"/>
              </p:cNvSpPr>
              <p:nvPr/>
            </p:nvSpPr>
            <p:spPr bwMode="auto">
              <a:xfrm>
                <a:off x="3318606" y="3659917"/>
                <a:ext cx="457690" cy="504056"/>
              </a:xfrm>
              <a:prstGeom prst="roundRect">
                <a:avLst>
                  <a:gd name="adj" fmla="val 0"/>
                </a:avLst>
              </a:prstGeom>
              <a:solidFill>
                <a:srgbClr val="0A8276"/>
              </a:solidFill>
              <a:ln w="19050" algn="ctr">
                <a:noFill/>
                <a:miter lim="800000"/>
                <a:headEnd/>
                <a:tailEnd/>
              </a:ln>
              <a:effectLst/>
            </p:spPr>
            <p:txBody>
              <a:bodyPr wrap="none" anchor="ctr"/>
              <a:lstStyle>
                <a:lvl1pPr eaLnBrk="0" hangingPunct="0">
                  <a:spcAft>
                    <a:spcPts val="1200"/>
                  </a:spcAft>
                  <a:buClr>
                    <a:schemeClr val="accent1"/>
                  </a:buClr>
                  <a:buFont typeface="Wingdings" pitchFamily="2" charset="2"/>
                  <a:buChar char="n"/>
                  <a:tabLst>
                    <a:tab pos="292100" algn="l"/>
                  </a:tabLst>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tabLst>
                    <a:tab pos="292100" algn="l"/>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292100" algn="l"/>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292100" algn="l"/>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9pPr>
              </a:lstStyle>
              <a:p>
                <a:pPr algn="ctr" defTabSz="914377" fontAlgn="auto">
                  <a:spcBef>
                    <a:spcPct val="10000"/>
                  </a:spcBef>
                  <a:spcAft>
                    <a:spcPct val="10000"/>
                  </a:spcAft>
                  <a:buClr>
                    <a:srgbClr val="00214A"/>
                  </a:buClr>
                  <a:buNone/>
                  <a:tabLst>
                    <a:tab pos="292093" algn="l"/>
                  </a:tabLst>
                </a:pPr>
                <a:r>
                  <a:rPr lang="en-US" altLang="en-US" sz="1400" b="1" kern="0">
                    <a:solidFill>
                      <a:schemeClr val="bg1"/>
                    </a:solidFill>
                    <a:latin typeface="+mj-lt"/>
                    <a:cs typeface="Arial" charset="0"/>
                  </a:rPr>
                  <a:t>T7</a:t>
                </a:r>
                <a:endParaRPr lang="en-US" altLang="en-US" sz="1400" b="1" kern="0" dirty="0">
                  <a:solidFill>
                    <a:schemeClr val="bg1"/>
                  </a:solidFill>
                  <a:latin typeface="+mj-lt"/>
                  <a:cs typeface="Arial" charset="0"/>
                </a:endParaRPr>
              </a:p>
            </p:txBody>
          </p:sp>
          <p:sp>
            <p:nvSpPr>
              <p:cNvPr id="18" name="Rectangle 6">
                <a:extLst>
                  <a:ext uri="{FF2B5EF4-FFF2-40B4-BE49-F238E27FC236}">
                    <a16:creationId xmlns:a16="http://schemas.microsoft.com/office/drawing/2014/main" id="{1CE7F4F3-FAC4-CD39-BE40-B2C2AC193BAD}"/>
                  </a:ext>
                </a:extLst>
              </p:cNvPr>
              <p:cNvSpPr>
                <a:spLocks noChangeArrowheads="1"/>
              </p:cNvSpPr>
              <p:nvPr/>
            </p:nvSpPr>
            <p:spPr bwMode="auto">
              <a:xfrm>
                <a:off x="5522360" y="4821150"/>
                <a:ext cx="445312" cy="340740"/>
              </a:xfrm>
              <a:prstGeom prst="roundRect">
                <a:avLst>
                  <a:gd name="adj" fmla="val 17588"/>
                </a:avLst>
              </a:prstGeom>
              <a:solidFill>
                <a:srgbClr val="0A8276"/>
              </a:solidFill>
              <a:ln w="19050" algn="ctr">
                <a:noFill/>
                <a:miter lim="800000"/>
                <a:headEnd/>
                <a:tailEnd/>
              </a:ln>
              <a:effectLst/>
            </p:spPr>
            <p:txBody>
              <a:bodyPr wrap="none" anchor="ctr"/>
              <a:lstStyle>
                <a:lvl1pPr eaLnBrk="0" hangingPunct="0">
                  <a:spcAft>
                    <a:spcPts val="1200"/>
                  </a:spcAft>
                  <a:buClr>
                    <a:schemeClr val="accent1"/>
                  </a:buClr>
                  <a:buFont typeface="Wingdings" pitchFamily="2" charset="2"/>
                  <a:buChar char="n"/>
                  <a:tabLst>
                    <a:tab pos="292100" algn="l"/>
                  </a:tabLst>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tabLst>
                    <a:tab pos="292100" algn="l"/>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292100" algn="l"/>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292100" algn="l"/>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9pPr>
              </a:lstStyle>
              <a:p>
                <a:pPr algn="ctr" defTabSz="914377" fontAlgn="auto">
                  <a:spcBef>
                    <a:spcPct val="10000"/>
                  </a:spcBef>
                  <a:spcAft>
                    <a:spcPct val="10000"/>
                  </a:spcAft>
                  <a:buClr>
                    <a:srgbClr val="00214A"/>
                  </a:buClr>
                  <a:buNone/>
                  <a:tabLst>
                    <a:tab pos="292093" algn="l"/>
                  </a:tabLst>
                </a:pPr>
                <a:r>
                  <a:rPr lang="en-US" altLang="en-US" sz="1400" b="1" kern="0" dirty="0">
                    <a:solidFill>
                      <a:schemeClr val="bg1"/>
                    </a:solidFill>
                    <a:latin typeface="+mj-lt"/>
                    <a:cs typeface="Arial" charset="0"/>
                  </a:rPr>
                  <a:t>H7</a:t>
                </a:r>
              </a:p>
            </p:txBody>
          </p:sp>
          <p:pic>
            <p:nvPicPr>
              <p:cNvPr id="26" name="Picture 25" descr="A green and black sign with text&#10;&#10;Description automatically generated">
                <a:extLst>
                  <a:ext uri="{FF2B5EF4-FFF2-40B4-BE49-F238E27FC236}">
                    <a16:creationId xmlns:a16="http://schemas.microsoft.com/office/drawing/2014/main" id="{7E2FE2E1-32A2-1A62-9A98-1EBCD0D5F9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7122" y="1628783"/>
                <a:ext cx="742823" cy="742823"/>
              </a:xfrm>
              <a:prstGeom prst="rect">
                <a:avLst/>
              </a:prstGeom>
            </p:spPr>
          </p:pic>
          <p:pic>
            <p:nvPicPr>
              <p:cNvPr id="27" name="Picture 26" descr="A green and black sign with text&#10;&#10;Description automatically generated">
                <a:extLst>
                  <a:ext uri="{FF2B5EF4-FFF2-40B4-BE49-F238E27FC236}">
                    <a16:creationId xmlns:a16="http://schemas.microsoft.com/office/drawing/2014/main" id="{121A2E73-4E27-99D9-E683-12E377CA17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24381" y="3619997"/>
                <a:ext cx="592100" cy="592100"/>
              </a:xfrm>
              <a:prstGeom prst="rect">
                <a:avLst/>
              </a:prstGeom>
            </p:spPr>
          </p:pic>
        </p:grpSp>
        <p:pic>
          <p:nvPicPr>
            <p:cNvPr id="34" name="Picture 33" descr="A green and black logo&#10;&#10;Description automatically generated">
              <a:extLst>
                <a:ext uri="{FF2B5EF4-FFF2-40B4-BE49-F238E27FC236}">
                  <a16:creationId xmlns:a16="http://schemas.microsoft.com/office/drawing/2014/main" id="{8A4E9050-25A7-938F-BCB9-81962E0EE63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77206" y="1452610"/>
              <a:ext cx="828401" cy="828401"/>
            </a:xfrm>
            <a:prstGeom prst="rect">
              <a:avLst/>
            </a:prstGeom>
          </p:spPr>
        </p:pic>
        <p:pic>
          <p:nvPicPr>
            <p:cNvPr id="39" name="Picture 38" descr="A green and black logo&#10;&#10;Description automatically generated">
              <a:extLst>
                <a:ext uri="{FF2B5EF4-FFF2-40B4-BE49-F238E27FC236}">
                  <a16:creationId xmlns:a16="http://schemas.microsoft.com/office/drawing/2014/main" id="{EE13803D-C8E5-70A8-65CD-B9939C1155D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79880" y="3979953"/>
              <a:ext cx="631769" cy="631769"/>
            </a:xfrm>
            <a:prstGeom prst="rect">
              <a:avLst/>
            </a:prstGeom>
          </p:spPr>
        </p:pic>
        <p:pic>
          <p:nvPicPr>
            <p:cNvPr id="49" name="Picture 48" descr="A green and black logo&#10;&#10;Description automatically generated with medium confidence">
              <a:extLst>
                <a:ext uri="{FF2B5EF4-FFF2-40B4-BE49-F238E27FC236}">
                  <a16:creationId xmlns:a16="http://schemas.microsoft.com/office/drawing/2014/main" id="{5FDED764-15AE-341F-C2E2-7E8CDB9F0C8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05607" y="5114462"/>
              <a:ext cx="670794" cy="670794"/>
            </a:xfrm>
            <a:prstGeom prst="rect">
              <a:avLst/>
            </a:prstGeom>
          </p:spPr>
        </p:pic>
        <p:pic>
          <p:nvPicPr>
            <p:cNvPr id="50" name="Picture 49" descr="A green and black logo&#10;&#10;Description automatically generated with medium confidence">
              <a:extLst>
                <a:ext uri="{FF2B5EF4-FFF2-40B4-BE49-F238E27FC236}">
                  <a16:creationId xmlns:a16="http://schemas.microsoft.com/office/drawing/2014/main" id="{50AEE5CF-29BC-69F8-D347-E1B53BCEEDA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67701" y="2567955"/>
              <a:ext cx="766107" cy="766107"/>
            </a:xfrm>
            <a:prstGeom prst="rect">
              <a:avLst/>
            </a:prstGeom>
          </p:spPr>
        </p:pic>
        <p:pic>
          <p:nvPicPr>
            <p:cNvPr id="52" name="Picture 51" descr="A green and black logo&#10;&#10;Description automatically generated">
              <a:extLst>
                <a:ext uri="{FF2B5EF4-FFF2-40B4-BE49-F238E27FC236}">
                  <a16:creationId xmlns:a16="http://schemas.microsoft.com/office/drawing/2014/main" id="{4A22BAAC-B161-52A0-B9D3-A0B5AF70DEC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07254" y="3002388"/>
              <a:ext cx="754136" cy="754136"/>
            </a:xfrm>
            <a:prstGeom prst="rect">
              <a:avLst/>
            </a:prstGeom>
          </p:spPr>
        </p:pic>
        <p:pic>
          <p:nvPicPr>
            <p:cNvPr id="56" name="Picture 55" descr="A green and black logo&#10;&#10;Description automatically generated">
              <a:extLst>
                <a:ext uri="{FF2B5EF4-FFF2-40B4-BE49-F238E27FC236}">
                  <a16:creationId xmlns:a16="http://schemas.microsoft.com/office/drawing/2014/main" id="{6A52BE35-FF39-289B-EF0F-BC8B246E303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89037" y="5124434"/>
              <a:ext cx="593517" cy="593517"/>
            </a:xfrm>
            <a:prstGeom prst="rect">
              <a:avLst/>
            </a:prstGeom>
          </p:spPr>
        </p:pic>
        <p:sp>
          <p:nvSpPr>
            <p:cNvPr id="16" name="Oval 15">
              <a:extLst>
                <a:ext uri="{FF2B5EF4-FFF2-40B4-BE49-F238E27FC236}">
                  <a16:creationId xmlns:a16="http://schemas.microsoft.com/office/drawing/2014/main" id="{CA4613F4-7866-C272-217B-07804796E110}"/>
                </a:ext>
              </a:extLst>
            </p:cNvPr>
            <p:cNvSpPr/>
            <p:nvPr/>
          </p:nvSpPr>
          <p:spPr bwMode="auto">
            <a:xfrm>
              <a:off x="3154787" y="3120928"/>
              <a:ext cx="2158816" cy="580557"/>
            </a:xfrm>
            <a:prstGeom prst="ellipse">
              <a:avLst/>
            </a:prstGeom>
            <a:noFill/>
            <a:ln w="9525">
              <a:noFill/>
              <a:miter lim="800000"/>
              <a:headEnd/>
              <a:tailEnd/>
            </a:ln>
          </p:spPr>
          <p:txBody>
            <a:bodyPr wrap="square" lIns="72000" tIns="72000" rIns="72000" bIns="72000" rtlCol="0" anchor="ctr"/>
            <a:lstStyle/>
            <a:p>
              <a:pPr algn="ctr" defTabSz="576000" eaLnBrk="0" hangingPunct="0">
                <a:lnSpc>
                  <a:spcPct val="120000"/>
                </a:lnSpc>
              </a:pPr>
              <a:r>
                <a:rPr lang="en-US" sz="1600" b="1" baseline="0" dirty="0">
                  <a:solidFill>
                    <a:schemeClr val="accent3"/>
                  </a:solidFill>
                  <a:latin typeface="+mn-lt"/>
                  <a:ea typeface="+mn-ea"/>
                  <a:cs typeface="+mn-cs"/>
                </a:rPr>
                <a:t>Shor</a:t>
              </a:r>
              <a:r>
                <a:rPr lang="sl-SI" sz="1600" b="1" baseline="0" dirty="0">
                  <a:solidFill>
                    <a:schemeClr val="accent3"/>
                  </a:solidFill>
                  <a:latin typeface="+mn-lt"/>
                  <a:ea typeface="+mn-ea"/>
                  <a:cs typeface="+mn-cs"/>
                </a:rPr>
                <a:t>t</a:t>
              </a:r>
              <a:r>
                <a:rPr lang="en-US" sz="1600" b="1" baseline="0" dirty="0">
                  <a:solidFill>
                    <a:schemeClr val="accent3"/>
                  </a:solidFill>
                  <a:latin typeface="+mn-lt"/>
                  <a:ea typeface="+mn-ea"/>
                  <a:cs typeface="+mn-cs"/>
                </a:rPr>
                <a:t> circuit rated</a:t>
              </a:r>
            </a:p>
          </p:txBody>
        </p:sp>
      </p:grpSp>
      <p:sp>
        <p:nvSpPr>
          <p:cNvPr id="4" name="Arc 3">
            <a:extLst>
              <a:ext uri="{FF2B5EF4-FFF2-40B4-BE49-F238E27FC236}">
                <a16:creationId xmlns:a16="http://schemas.microsoft.com/office/drawing/2014/main" id="{63AB5BA9-4239-E8D9-11E4-165E47A1538E}"/>
              </a:ext>
            </a:extLst>
          </p:cNvPr>
          <p:cNvSpPr/>
          <p:nvPr/>
        </p:nvSpPr>
        <p:spPr bwMode="auto">
          <a:xfrm rot="10800000">
            <a:off x="3177659" y="-173219"/>
            <a:ext cx="8064896" cy="4608512"/>
          </a:xfrm>
          <a:prstGeom prst="arc">
            <a:avLst>
              <a:gd name="adj1" fmla="val 16198380"/>
              <a:gd name="adj2" fmla="val 19184102"/>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txBody>
          <a:bodyPr vert="horz" wrap="non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5" name="Oval 4">
            <a:extLst>
              <a:ext uri="{FF2B5EF4-FFF2-40B4-BE49-F238E27FC236}">
                <a16:creationId xmlns:a16="http://schemas.microsoft.com/office/drawing/2014/main" id="{B103007F-83F5-757D-0040-E56E8C39F7A6}"/>
              </a:ext>
            </a:extLst>
          </p:cNvPr>
          <p:cNvSpPr/>
          <p:nvPr/>
        </p:nvSpPr>
        <p:spPr bwMode="auto">
          <a:xfrm>
            <a:off x="5825661" y="4248868"/>
            <a:ext cx="144000" cy="143212"/>
          </a:xfrm>
          <a:prstGeom prst="ellipse">
            <a:avLst/>
          </a:prstGeom>
          <a:solidFill>
            <a:srgbClr val="9BBA4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14" name="Rectangle 13">
            <a:extLst>
              <a:ext uri="{FF2B5EF4-FFF2-40B4-BE49-F238E27FC236}">
                <a16:creationId xmlns:a16="http://schemas.microsoft.com/office/drawing/2014/main" id="{94D9F72E-C656-4989-FCCF-37B3165D4BAF}"/>
              </a:ext>
            </a:extLst>
          </p:cNvPr>
          <p:cNvSpPr/>
          <p:nvPr/>
        </p:nvSpPr>
        <p:spPr bwMode="auto">
          <a:xfrm>
            <a:off x="7627489" y="4297621"/>
            <a:ext cx="1035296" cy="252028"/>
          </a:xfrm>
          <a:prstGeom prst="rect">
            <a:avLst/>
          </a:prstGeom>
          <a:solidFill>
            <a:srgbClr val="9BBA43"/>
          </a:solidFill>
          <a:ln w="19050" algn="ctr">
            <a:noFill/>
            <a:miter lim="800000"/>
            <a:headEnd/>
            <a:tailEnd/>
          </a:ln>
          <a:effectLst/>
        </p:spPr>
        <p:txBody>
          <a:bodyPr wrap="none" anchor="ctr"/>
          <a:lstStyle/>
          <a:p>
            <a:pPr algn="ctr" defTabSz="914377" eaLnBrk="0" fontAlgn="auto" hangingPunct="0">
              <a:spcBef>
                <a:spcPct val="10000"/>
              </a:spcBef>
              <a:spcAft>
                <a:spcPct val="10000"/>
              </a:spcAft>
              <a:buClr>
                <a:srgbClr val="00214A"/>
              </a:buClr>
              <a:tabLst>
                <a:tab pos="292093" algn="l"/>
              </a:tabLst>
            </a:pPr>
            <a:r>
              <a:rPr lang="en-US" b="1" kern="0" dirty="0">
                <a:solidFill>
                  <a:schemeClr val="bg1"/>
                </a:solidFill>
                <a:latin typeface="+mj-lt"/>
                <a:ea typeface="Verdana" pitchFamily="34" charset="0"/>
                <a:cs typeface="Arial" charset="0"/>
              </a:rPr>
              <a:t>750V</a:t>
            </a:r>
          </a:p>
        </p:txBody>
      </p:sp>
      <p:sp>
        <p:nvSpPr>
          <p:cNvPr id="17" name="Rectangle 6">
            <a:extLst>
              <a:ext uri="{FF2B5EF4-FFF2-40B4-BE49-F238E27FC236}">
                <a16:creationId xmlns:a16="http://schemas.microsoft.com/office/drawing/2014/main" id="{2A1500DA-0482-43DE-B920-CC6F73D8F316}"/>
              </a:ext>
            </a:extLst>
          </p:cNvPr>
          <p:cNvSpPr>
            <a:spLocks noChangeArrowheads="1"/>
          </p:cNvSpPr>
          <p:nvPr/>
        </p:nvSpPr>
        <p:spPr bwMode="auto">
          <a:xfrm>
            <a:off x="5524349" y="3803950"/>
            <a:ext cx="445312" cy="340740"/>
          </a:xfrm>
          <a:prstGeom prst="roundRect">
            <a:avLst>
              <a:gd name="adj" fmla="val 17588"/>
            </a:avLst>
          </a:prstGeom>
          <a:solidFill>
            <a:srgbClr val="9BBA43"/>
          </a:solidFill>
          <a:ln w="19050" algn="ctr">
            <a:noFill/>
            <a:miter lim="800000"/>
            <a:headEnd/>
            <a:tailEnd/>
          </a:ln>
          <a:effectLst/>
        </p:spPr>
        <p:txBody>
          <a:bodyPr wrap="none" anchor="ctr"/>
          <a:lstStyle>
            <a:lvl1pPr eaLnBrk="0" hangingPunct="0">
              <a:spcAft>
                <a:spcPts val="1200"/>
              </a:spcAft>
              <a:buClr>
                <a:schemeClr val="accent1"/>
              </a:buClr>
              <a:buFont typeface="Wingdings" pitchFamily="2" charset="2"/>
              <a:buChar char="n"/>
              <a:tabLst>
                <a:tab pos="292100" algn="l"/>
              </a:tabLst>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tabLst>
                <a:tab pos="292100" algn="l"/>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292100" algn="l"/>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292100" algn="l"/>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9pPr>
          </a:lstStyle>
          <a:p>
            <a:pPr algn="ctr" defTabSz="914377" fontAlgn="auto">
              <a:spcBef>
                <a:spcPct val="10000"/>
              </a:spcBef>
              <a:spcAft>
                <a:spcPct val="10000"/>
              </a:spcAft>
              <a:buClr>
                <a:srgbClr val="00214A"/>
              </a:buClr>
              <a:buNone/>
              <a:tabLst>
                <a:tab pos="292093" algn="l"/>
              </a:tabLst>
            </a:pPr>
            <a:r>
              <a:rPr lang="en-US" altLang="en-US" sz="1400" b="1" kern="0" dirty="0">
                <a:solidFill>
                  <a:schemeClr val="bg1"/>
                </a:solidFill>
                <a:latin typeface="+mj-lt"/>
                <a:cs typeface="Arial" charset="0"/>
              </a:rPr>
              <a:t>H7</a:t>
            </a:r>
          </a:p>
        </p:txBody>
      </p:sp>
      <p:pic>
        <p:nvPicPr>
          <p:cNvPr id="19" name="Picture 18" descr="A green and black logo&#10;&#10;Description automatically generated with medium confidence">
            <a:extLst>
              <a:ext uri="{FF2B5EF4-FFF2-40B4-BE49-F238E27FC236}">
                <a16:creationId xmlns:a16="http://schemas.microsoft.com/office/drawing/2014/main" id="{D66B8ED3-8915-A829-17EE-D20766D4CB8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2405" y="3835827"/>
            <a:ext cx="566856" cy="566856"/>
          </a:xfrm>
          <a:prstGeom prst="rect">
            <a:avLst/>
          </a:prstGeom>
        </p:spPr>
      </p:pic>
      <p:pic>
        <p:nvPicPr>
          <p:cNvPr id="20" name="Picture 19" descr="A green and black logo&#10;&#10;Description automatically generated">
            <a:extLst>
              <a:ext uri="{FF2B5EF4-FFF2-40B4-BE49-F238E27FC236}">
                <a16:creationId xmlns:a16="http://schemas.microsoft.com/office/drawing/2014/main" id="{E2EEA0EA-7114-1FDA-3D8F-730263D73A6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5835" y="3953962"/>
            <a:ext cx="501553" cy="501553"/>
          </a:xfrm>
          <a:prstGeom prst="rect">
            <a:avLst/>
          </a:prstGeom>
        </p:spPr>
      </p:pic>
    </p:spTree>
    <p:extLst>
      <p:ext uri="{BB962C8B-B14F-4D97-AF65-F5344CB8AC3E}">
        <p14:creationId xmlns:p14="http://schemas.microsoft.com/office/powerpoint/2010/main" val="258085861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1453814-ADEA-23FC-84B4-15831D9DFA7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Folie" r:id="rId5" imgW="344" imgH="344" progId="TCLayout.ActiveDocument.1">
                  <p:embed/>
                </p:oleObj>
              </mc:Choice>
              <mc:Fallback>
                <p:oleObj name="think-cell Folie" r:id="rId5" imgW="344" imgH="344" progId="TCLayout.ActiveDocument.1">
                  <p:embed/>
                  <p:pic>
                    <p:nvPicPr>
                      <p:cNvPr id="6" name="Objekt 5" hidden="1">
                        <a:extLst>
                          <a:ext uri="{FF2B5EF4-FFF2-40B4-BE49-F238E27FC236}">
                            <a16:creationId xmlns:a16="http://schemas.microsoft.com/office/drawing/2014/main" id="{61453814-ADEA-23FC-84B4-15831D9DFA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Rechteck 7">
            <a:extLst>
              <a:ext uri="{FF2B5EF4-FFF2-40B4-BE49-F238E27FC236}">
                <a16:creationId xmlns:a16="http://schemas.microsoft.com/office/drawing/2014/main" id="{FD441D3F-027F-4595-AC5B-1D2F4943F53F}"/>
              </a:ext>
            </a:extLst>
          </p:cNvPr>
          <p:cNvSpPr>
            <a:spLocks/>
          </p:cNvSpPr>
          <p:nvPr/>
        </p:nvSpPr>
        <p:spPr bwMode="auto">
          <a:xfrm>
            <a:off x="335361" y="1268760"/>
            <a:ext cx="5616624" cy="4954587"/>
          </a:xfrm>
          <a:prstGeom prst="rect">
            <a:avLst/>
          </a:prstGeom>
          <a:solidFill>
            <a:schemeClr val="bg1"/>
          </a:solidFill>
          <a:ln w="9525">
            <a:noFill/>
            <a:miter lim="800000"/>
            <a:headEnd/>
            <a:tailEnd/>
          </a:ln>
          <a:effectLst>
            <a:outerShdw blurRad="228600" dist="38100" dir="5400000" algn="t" rotWithShape="0">
              <a:schemeClr val="tx1">
                <a:lumMod val="65000"/>
                <a:lumOff val="35000"/>
                <a:alpha val="28000"/>
              </a:schemeClr>
            </a:outerShdw>
          </a:effectLst>
        </p:spPr>
        <p:txBody>
          <a:bodyPr wrap="square" lIns="180000" tIns="108000" rIns="144000" bIns="72000" rtlCol="0" anchor="t"/>
          <a:lstStyle/>
          <a:p>
            <a:pPr defTabSz="449251" eaLnBrk="0" hangingPunct="0">
              <a:buClr>
                <a:srgbClr val="000000"/>
              </a:buClr>
            </a:pPr>
            <a:r>
              <a:rPr lang="en-US" sz="2400" b="1" kern="0">
                <a:solidFill>
                  <a:srgbClr val="0A8276"/>
                </a:solidFill>
                <a:latin typeface="Arial"/>
                <a:ea typeface="Verdana" pitchFamily="34" charset="0"/>
                <a:cs typeface="Verdana" pitchFamily="34" charset="0"/>
              </a:rPr>
              <a:t>Agenda</a:t>
            </a:r>
            <a:endParaRPr lang="en-US" sz="2400" b="1" kern="0" baseline="30000" dirty="0">
              <a:solidFill>
                <a:srgbClr val="0A8276"/>
              </a:solidFill>
              <a:latin typeface="Arial"/>
              <a:ea typeface="Verdana" pitchFamily="34" charset="0"/>
              <a:cs typeface="Verdana" pitchFamily="34" charset="0"/>
            </a:endParaRPr>
          </a:p>
        </p:txBody>
      </p:sp>
      <p:sp>
        <p:nvSpPr>
          <p:cNvPr id="43" name="Rectangle 5">
            <a:extLst>
              <a:ext uri="{FF2B5EF4-FFF2-40B4-BE49-F238E27FC236}">
                <a16:creationId xmlns:a16="http://schemas.microsoft.com/office/drawing/2014/main" id="{E3D9B6CA-D2D0-4438-97C8-708728E7410B}"/>
              </a:ext>
            </a:extLst>
          </p:cNvPr>
          <p:cNvSpPr/>
          <p:nvPr/>
        </p:nvSpPr>
        <p:spPr bwMode="auto">
          <a:xfrm>
            <a:off x="1509865" y="2421653"/>
            <a:ext cx="4078534" cy="307777"/>
          </a:xfrm>
          <a:prstGeom prst="rect">
            <a:avLst/>
          </a:prstGeom>
          <a:noFill/>
          <a:ln w="9525">
            <a:noFill/>
            <a:miter lim="800000"/>
            <a:headEnd/>
            <a:tailEnd/>
          </a:ln>
        </p:spPr>
        <p:txBody>
          <a:bodyPr wrap="square" lIns="0" tIns="0" rIns="0" bIns="0" rtlCol="0" anchor="ctr">
            <a:spAutoFit/>
          </a:bodyPr>
          <a:lstStyle/>
          <a:p>
            <a:pPr defTabSz="1219170" eaLnBrk="0" hangingPunct="0">
              <a:spcAft>
                <a:spcPts val="800"/>
              </a:spcAft>
            </a:pPr>
            <a:r>
              <a:rPr lang="en-US" sz="2000">
                <a:solidFill>
                  <a:schemeClr val="dk1"/>
                </a:solidFill>
                <a:latin typeface="Arial"/>
                <a:ea typeface="Verdana" pitchFamily="34" charset="0"/>
                <a:cs typeface="Verdana" pitchFamily="34" charset="0"/>
              </a:rPr>
              <a:t>Commercial overview  </a:t>
            </a:r>
            <a:endParaRPr lang="en-US" sz="2000" dirty="0">
              <a:solidFill>
                <a:schemeClr val="dk1"/>
              </a:solidFill>
              <a:latin typeface="Arial"/>
              <a:ea typeface="Verdana" pitchFamily="34" charset="0"/>
              <a:cs typeface="Verdana" pitchFamily="34" charset="0"/>
            </a:endParaRPr>
          </a:p>
        </p:txBody>
      </p:sp>
      <p:sp>
        <p:nvSpPr>
          <p:cNvPr id="44" name="Rectangle 5">
            <a:extLst>
              <a:ext uri="{FF2B5EF4-FFF2-40B4-BE49-F238E27FC236}">
                <a16:creationId xmlns:a16="http://schemas.microsoft.com/office/drawing/2014/main" id="{44C92A42-17E8-4A41-AA6A-8D9D58596E81}"/>
              </a:ext>
            </a:extLst>
          </p:cNvPr>
          <p:cNvSpPr>
            <a:spLocks/>
          </p:cNvSpPr>
          <p:nvPr/>
        </p:nvSpPr>
        <p:spPr bwMode="auto">
          <a:xfrm>
            <a:off x="1509865" y="3433635"/>
            <a:ext cx="4078534" cy="307777"/>
          </a:xfrm>
          <a:prstGeom prst="rect">
            <a:avLst/>
          </a:prstGeom>
          <a:noFill/>
          <a:ln w="9525">
            <a:noFill/>
            <a:miter lim="800000"/>
            <a:headEnd/>
            <a:tailEnd/>
          </a:ln>
        </p:spPr>
        <p:txBody>
          <a:bodyPr wrap="square" lIns="0" tIns="0" rIns="0" bIns="0" rtlCol="0" anchor="ctr">
            <a:spAutoFit/>
          </a:bodyPr>
          <a:lstStyle/>
          <a:p>
            <a:pPr defTabSz="1219170" eaLnBrk="0" hangingPunct="0">
              <a:spcAft>
                <a:spcPts val="800"/>
              </a:spcAft>
            </a:pPr>
            <a:r>
              <a:rPr lang="en-US" sz="2000">
                <a:solidFill>
                  <a:schemeClr val="dk1"/>
                </a:solidFill>
                <a:latin typeface="Arial"/>
                <a:ea typeface="Verdana" pitchFamily="34" charset="0"/>
                <a:cs typeface="Verdana" pitchFamily="34" charset="0"/>
              </a:rPr>
              <a:t>Technology background</a:t>
            </a:r>
            <a:endParaRPr lang="en-US" sz="2000" dirty="0">
              <a:solidFill>
                <a:schemeClr val="dk1"/>
              </a:solidFill>
              <a:latin typeface="Arial"/>
              <a:ea typeface="Verdana" pitchFamily="34" charset="0"/>
              <a:cs typeface="Verdana" pitchFamily="34" charset="0"/>
            </a:endParaRPr>
          </a:p>
        </p:txBody>
      </p:sp>
      <p:sp>
        <p:nvSpPr>
          <p:cNvPr id="45" name="Rectangle 5">
            <a:extLst>
              <a:ext uri="{FF2B5EF4-FFF2-40B4-BE49-F238E27FC236}">
                <a16:creationId xmlns:a16="http://schemas.microsoft.com/office/drawing/2014/main" id="{4009A337-305D-403B-99C4-053D12BC79C5}"/>
              </a:ext>
            </a:extLst>
          </p:cNvPr>
          <p:cNvSpPr>
            <a:spLocks/>
          </p:cNvSpPr>
          <p:nvPr/>
        </p:nvSpPr>
        <p:spPr bwMode="auto">
          <a:xfrm>
            <a:off x="1509865" y="4445616"/>
            <a:ext cx="4078534" cy="307777"/>
          </a:xfrm>
          <a:prstGeom prst="rect">
            <a:avLst/>
          </a:prstGeom>
          <a:noFill/>
          <a:ln w="9525">
            <a:noFill/>
            <a:miter lim="800000"/>
            <a:headEnd/>
            <a:tailEnd/>
          </a:ln>
        </p:spPr>
        <p:txBody>
          <a:bodyPr wrap="square" lIns="0" tIns="0" rIns="0" bIns="0" rtlCol="0" anchor="ctr">
            <a:spAutoFit/>
          </a:bodyPr>
          <a:lstStyle/>
          <a:p>
            <a:pPr defTabSz="1219170" eaLnBrk="0" hangingPunct="0">
              <a:spcAft>
                <a:spcPts val="800"/>
              </a:spcAft>
            </a:pPr>
            <a:r>
              <a:rPr lang="en-US" sz="2000" dirty="0">
                <a:solidFill>
                  <a:schemeClr val="dk1"/>
                </a:solidFill>
                <a:latin typeface="Arial"/>
                <a:ea typeface="Verdana" pitchFamily="34" charset="0"/>
                <a:cs typeface="Verdana" pitchFamily="34" charset="0"/>
              </a:rPr>
              <a:t>5 values of discrete IGBT7 family</a:t>
            </a:r>
          </a:p>
        </p:txBody>
      </p:sp>
      <p:sp>
        <p:nvSpPr>
          <p:cNvPr id="46" name="Rectangle 5">
            <a:extLst>
              <a:ext uri="{FF2B5EF4-FFF2-40B4-BE49-F238E27FC236}">
                <a16:creationId xmlns:a16="http://schemas.microsoft.com/office/drawing/2014/main" id="{10194CB1-9239-41C7-B565-0B3F64AD7091}"/>
              </a:ext>
            </a:extLst>
          </p:cNvPr>
          <p:cNvSpPr>
            <a:spLocks/>
          </p:cNvSpPr>
          <p:nvPr/>
        </p:nvSpPr>
        <p:spPr bwMode="auto">
          <a:xfrm>
            <a:off x="1509865" y="5457597"/>
            <a:ext cx="4078534" cy="307777"/>
          </a:xfrm>
          <a:prstGeom prst="rect">
            <a:avLst/>
          </a:prstGeom>
          <a:noFill/>
          <a:ln w="9525">
            <a:noFill/>
            <a:miter lim="800000"/>
            <a:headEnd/>
            <a:tailEnd/>
          </a:ln>
        </p:spPr>
        <p:txBody>
          <a:bodyPr wrap="square" lIns="0" tIns="0" rIns="0" bIns="0" rtlCol="0" anchor="ctr">
            <a:spAutoFit/>
          </a:bodyPr>
          <a:lstStyle/>
          <a:p>
            <a:pPr defTabSz="1219170" eaLnBrk="0" hangingPunct="0">
              <a:spcAft>
                <a:spcPts val="800"/>
              </a:spcAft>
            </a:pPr>
            <a:r>
              <a:rPr lang="en-US" sz="2000">
                <a:solidFill>
                  <a:schemeClr val="dk1"/>
                </a:solidFill>
                <a:latin typeface="Arial"/>
                <a:ea typeface="Verdana" pitchFamily="34" charset="0"/>
                <a:cs typeface="Verdana" pitchFamily="34" charset="0"/>
              </a:rPr>
              <a:t>Key takeaways and resources</a:t>
            </a:r>
            <a:endParaRPr lang="en-US" sz="2000" dirty="0">
              <a:solidFill>
                <a:schemeClr val="dk1"/>
              </a:solidFill>
              <a:latin typeface="Arial"/>
              <a:ea typeface="Verdana" pitchFamily="34" charset="0"/>
              <a:cs typeface="Verdana" pitchFamily="34" charset="0"/>
            </a:endParaRPr>
          </a:p>
        </p:txBody>
      </p:sp>
      <p:grpSp>
        <p:nvGrpSpPr>
          <p:cNvPr id="47" name="Gruppieren 29">
            <a:extLst>
              <a:ext uri="{FF2B5EF4-FFF2-40B4-BE49-F238E27FC236}">
                <a16:creationId xmlns:a16="http://schemas.microsoft.com/office/drawing/2014/main" id="{503E821E-77CC-4EB3-847C-6B902DDBF11F}"/>
              </a:ext>
            </a:extLst>
          </p:cNvPr>
          <p:cNvGrpSpPr/>
          <p:nvPr/>
        </p:nvGrpSpPr>
        <p:grpSpPr>
          <a:xfrm>
            <a:off x="1509865" y="2997547"/>
            <a:ext cx="3519733" cy="2107948"/>
            <a:chOff x="1522167" y="3022600"/>
            <a:chExt cx="4332533" cy="2107948"/>
          </a:xfrm>
        </p:grpSpPr>
        <p:cxnSp>
          <p:nvCxnSpPr>
            <p:cNvPr id="49" name="Gerader Verbinder 30">
              <a:extLst>
                <a:ext uri="{FF2B5EF4-FFF2-40B4-BE49-F238E27FC236}">
                  <a16:creationId xmlns:a16="http://schemas.microsoft.com/office/drawing/2014/main" id="{42320F10-6822-4F52-9FCC-3B3397D70D6C}"/>
                </a:ext>
              </a:extLst>
            </p:cNvPr>
            <p:cNvCxnSpPr>
              <a:cxnSpLocks/>
            </p:cNvCxnSpPr>
            <p:nvPr/>
          </p:nvCxnSpPr>
          <p:spPr>
            <a:xfrm>
              <a:off x="1522167" y="3022600"/>
              <a:ext cx="4332533" cy="0"/>
            </a:xfrm>
            <a:prstGeom prst="line">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50" name="Gerader Verbinder 31">
              <a:extLst>
                <a:ext uri="{FF2B5EF4-FFF2-40B4-BE49-F238E27FC236}">
                  <a16:creationId xmlns:a16="http://schemas.microsoft.com/office/drawing/2014/main" id="{59320348-539B-4812-B1CD-B62DD192E635}"/>
                </a:ext>
              </a:extLst>
            </p:cNvPr>
            <p:cNvCxnSpPr>
              <a:cxnSpLocks/>
            </p:cNvCxnSpPr>
            <p:nvPr/>
          </p:nvCxnSpPr>
          <p:spPr>
            <a:xfrm>
              <a:off x="1522167" y="4118567"/>
              <a:ext cx="4332533" cy="0"/>
            </a:xfrm>
            <a:prstGeom prst="line">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51" name="Gerader Verbinder 32">
              <a:extLst>
                <a:ext uri="{FF2B5EF4-FFF2-40B4-BE49-F238E27FC236}">
                  <a16:creationId xmlns:a16="http://schemas.microsoft.com/office/drawing/2014/main" id="{E9121E4F-CD0B-47F5-99B4-F7CBFF3FB093}"/>
                </a:ext>
              </a:extLst>
            </p:cNvPr>
            <p:cNvCxnSpPr>
              <a:cxnSpLocks/>
            </p:cNvCxnSpPr>
            <p:nvPr/>
          </p:nvCxnSpPr>
          <p:spPr>
            <a:xfrm>
              <a:off x="1522167" y="5130548"/>
              <a:ext cx="4332533" cy="0"/>
            </a:xfrm>
            <a:prstGeom prst="line">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grpSp>
        <p:nvGrpSpPr>
          <p:cNvPr id="52" name="Group 56">
            <a:extLst>
              <a:ext uri="{FF2B5EF4-FFF2-40B4-BE49-F238E27FC236}">
                <a16:creationId xmlns:a16="http://schemas.microsoft.com/office/drawing/2014/main" id="{BE9BB87E-DBC6-4E08-B8CF-91506D24A27F}"/>
              </a:ext>
            </a:extLst>
          </p:cNvPr>
          <p:cNvGrpSpPr/>
          <p:nvPr/>
        </p:nvGrpSpPr>
        <p:grpSpPr>
          <a:xfrm>
            <a:off x="617876" y="2277219"/>
            <a:ext cx="581978" cy="606743"/>
            <a:chOff x="2533699" y="5554661"/>
            <a:chExt cx="581978" cy="606743"/>
          </a:xfrm>
        </p:grpSpPr>
        <p:pic>
          <p:nvPicPr>
            <p:cNvPr id="56" name="Graphic 41">
              <a:extLst>
                <a:ext uri="{FF2B5EF4-FFF2-40B4-BE49-F238E27FC236}">
                  <a16:creationId xmlns:a16="http://schemas.microsoft.com/office/drawing/2014/main" id="{A8CF68C6-A4DF-4126-813D-3963494574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33699" y="5554661"/>
              <a:ext cx="581978" cy="606743"/>
            </a:xfrm>
            <a:prstGeom prst="rect">
              <a:avLst/>
            </a:prstGeom>
          </p:spPr>
        </p:pic>
        <p:sp>
          <p:nvSpPr>
            <p:cNvPr id="57" name="Textfeld 2">
              <a:extLst>
                <a:ext uri="{FF2B5EF4-FFF2-40B4-BE49-F238E27FC236}">
                  <a16:creationId xmlns:a16="http://schemas.microsoft.com/office/drawing/2014/main" id="{191D4647-1A42-47AA-9DF4-3630D13B57AA}"/>
                </a:ext>
              </a:extLst>
            </p:cNvPr>
            <p:cNvSpPr txBox="1"/>
            <p:nvPr/>
          </p:nvSpPr>
          <p:spPr bwMode="auto">
            <a:xfrm>
              <a:off x="2593181" y="5636419"/>
              <a:ext cx="516822" cy="518400"/>
            </a:xfrm>
            <a:prstGeom prst="rect">
              <a:avLst/>
            </a:prstGeom>
          </p:spPr>
          <p:txBody>
            <a:bodyPr vert="horz" lIns="72000" tIns="72000" rIns="72000" bIns="108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a:buNone/>
              </a:pPr>
              <a:r>
                <a:rPr lang="en-US" sz="2000" b="1" kern="0">
                  <a:solidFill>
                    <a:schemeClr val="bg1"/>
                  </a:solidFill>
                  <a:latin typeface="Arial"/>
                  <a:ea typeface="Verdana" pitchFamily="34" charset="0"/>
                  <a:cs typeface="Verdana" pitchFamily="34" charset="0"/>
                </a:rPr>
                <a:t>1</a:t>
              </a:r>
              <a:endParaRPr lang="en-US" sz="2000" b="1" dirty="0">
                <a:solidFill>
                  <a:schemeClr val="bg1"/>
                </a:solidFill>
              </a:endParaRPr>
            </a:p>
          </p:txBody>
        </p:sp>
      </p:grpSp>
      <p:grpSp>
        <p:nvGrpSpPr>
          <p:cNvPr id="58" name="Group 53">
            <a:extLst>
              <a:ext uri="{FF2B5EF4-FFF2-40B4-BE49-F238E27FC236}">
                <a16:creationId xmlns:a16="http://schemas.microsoft.com/office/drawing/2014/main" id="{F871F78A-8B86-46EB-BB52-AF72E0C00D3F}"/>
              </a:ext>
            </a:extLst>
          </p:cNvPr>
          <p:cNvGrpSpPr/>
          <p:nvPr/>
        </p:nvGrpSpPr>
        <p:grpSpPr>
          <a:xfrm>
            <a:off x="598338" y="3285331"/>
            <a:ext cx="643890" cy="606743"/>
            <a:chOff x="4642600" y="5084759"/>
            <a:chExt cx="643890" cy="606743"/>
          </a:xfrm>
        </p:grpSpPr>
        <p:pic>
          <p:nvPicPr>
            <p:cNvPr id="59" name="Graphic 42">
              <a:extLst>
                <a:ext uri="{FF2B5EF4-FFF2-40B4-BE49-F238E27FC236}">
                  <a16:creationId xmlns:a16="http://schemas.microsoft.com/office/drawing/2014/main" id="{B2023893-FDD4-4FAC-93B7-AC2A21DC400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42600" y="5084759"/>
              <a:ext cx="643890" cy="606743"/>
            </a:xfrm>
            <a:prstGeom prst="rect">
              <a:avLst/>
            </a:prstGeom>
          </p:spPr>
        </p:pic>
        <p:sp>
          <p:nvSpPr>
            <p:cNvPr id="60" name="Textfeld 2">
              <a:extLst>
                <a:ext uri="{FF2B5EF4-FFF2-40B4-BE49-F238E27FC236}">
                  <a16:creationId xmlns:a16="http://schemas.microsoft.com/office/drawing/2014/main" id="{C5530EC1-9818-4705-A036-E7865E7A3089}"/>
                </a:ext>
              </a:extLst>
            </p:cNvPr>
            <p:cNvSpPr txBox="1"/>
            <p:nvPr/>
          </p:nvSpPr>
          <p:spPr bwMode="auto">
            <a:xfrm>
              <a:off x="4706134" y="5167750"/>
              <a:ext cx="516822" cy="518400"/>
            </a:xfrm>
            <a:prstGeom prst="rect">
              <a:avLst/>
            </a:prstGeom>
          </p:spPr>
          <p:txBody>
            <a:bodyPr vert="horz" lIns="72000" tIns="72000" rIns="72000" bIns="108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a:buNone/>
              </a:pPr>
              <a:r>
                <a:rPr lang="en-US" sz="2000" b="1" kern="0">
                  <a:solidFill>
                    <a:schemeClr val="bg1"/>
                  </a:solidFill>
                  <a:latin typeface="Arial"/>
                  <a:ea typeface="Verdana" pitchFamily="34" charset="0"/>
                  <a:cs typeface="Verdana" pitchFamily="34" charset="0"/>
                </a:rPr>
                <a:t>2</a:t>
              </a:r>
              <a:endParaRPr lang="en-US" sz="2000" b="1" dirty="0">
                <a:solidFill>
                  <a:schemeClr val="bg1"/>
                </a:solidFill>
              </a:endParaRPr>
            </a:p>
          </p:txBody>
        </p:sp>
      </p:grpSp>
      <p:grpSp>
        <p:nvGrpSpPr>
          <p:cNvPr id="61" name="Group 55">
            <a:extLst>
              <a:ext uri="{FF2B5EF4-FFF2-40B4-BE49-F238E27FC236}">
                <a16:creationId xmlns:a16="http://schemas.microsoft.com/office/drawing/2014/main" id="{F3EAA712-B6B8-4FA2-A354-22CA4B44114C}"/>
              </a:ext>
            </a:extLst>
          </p:cNvPr>
          <p:cNvGrpSpPr/>
          <p:nvPr/>
        </p:nvGrpSpPr>
        <p:grpSpPr>
          <a:xfrm>
            <a:off x="603207" y="4293443"/>
            <a:ext cx="668655" cy="619125"/>
            <a:chOff x="2704204" y="4956171"/>
            <a:chExt cx="668655" cy="619125"/>
          </a:xfrm>
        </p:grpSpPr>
        <p:pic>
          <p:nvPicPr>
            <p:cNvPr id="62" name="Graphic 43">
              <a:extLst>
                <a:ext uri="{FF2B5EF4-FFF2-40B4-BE49-F238E27FC236}">
                  <a16:creationId xmlns:a16="http://schemas.microsoft.com/office/drawing/2014/main" id="{53030603-5167-41BA-96EF-B2F801C1D3A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04204" y="4956171"/>
              <a:ext cx="668655" cy="619125"/>
            </a:xfrm>
            <a:prstGeom prst="rect">
              <a:avLst/>
            </a:prstGeom>
          </p:spPr>
        </p:pic>
        <p:sp>
          <p:nvSpPr>
            <p:cNvPr id="63" name="Textfeld 2">
              <a:extLst>
                <a:ext uri="{FF2B5EF4-FFF2-40B4-BE49-F238E27FC236}">
                  <a16:creationId xmlns:a16="http://schemas.microsoft.com/office/drawing/2014/main" id="{5B5C667A-1D86-45EC-9AAB-26BC9307BF0F}"/>
                </a:ext>
              </a:extLst>
            </p:cNvPr>
            <p:cNvSpPr txBox="1"/>
            <p:nvPr/>
          </p:nvSpPr>
          <p:spPr bwMode="auto">
            <a:xfrm>
              <a:off x="2769360" y="5034669"/>
              <a:ext cx="516822" cy="518400"/>
            </a:xfrm>
            <a:prstGeom prst="rect">
              <a:avLst/>
            </a:prstGeom>
          </p:spPr>
          <p:txBody>
            <a:bodyPr vert="horz" lIns="72000" tIns="72000" rIns="72000" bIns="108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a:buNone/>
              </a:pPr>
              <a:r>
                <a:rPr lang="en-US" sz="2000" b="1" kern="0">
                  <a:solidFill>
                    <a:schemeClr val="bg1"/>
                  </a:solidFill>
                  <a:latin typeface="Arial"/>
                  <a:ea typeface="Verdana" pitchFamily="34" charset="0"/>
                  <a:cs typeface="Verdana" pitchFamily="34" charset="0"/>
                </a:rPr>
                <a:t>3</a:t>
              </a:r>
              <a:endParaRPr lang="en-US" sz="2000" b="1" dirty="0">
                <a:solidFill>
                  <a:schemeClr val="bg1"/>
                </a:solidFill>
              </a:endParaRPr>
            </a:p>
          </p:txBody>
        </p:sp>
      </p:grpSp>
      <p:grpSp>
        <p:nvGrpSpPr>
          <p:cNvPr id="64" name="Group 52">
            <a:extLst>
              <a:ext uri="{FF2B5EF4-FFF2-40B4-BE49-F238E27FC236}">
                <a16:creationId xmlns:a16="http://schemas.microsoft.com/office/drawing/2014/main" id="{762377E2-2520-4854-A475-2E448C692803}"/>
              </a:ext>
            </a:extLst>
          </p:cNvPr>
          <p:cNvGrpSpPr/>
          <p:nvPr/>
        </p:nvGrpSpPr>
        <p:grpSpPr>
          <a:xfrm>
            <a:off x="615589" y="5157539"/>
            <a:ext cx="656273" cy="681038"/>
            <a:chOff x="1055439" y="5327646"/>
            <a:chExt cx="656273" cy="681038"/>
          </a:xfrm>
        </p:grpSpPr>
        <p:pic>
          <p:nvPicPr>
            <p:cNvPr id="65" name="Graphic 44">
              <a:extLst>
                <a:ext uri="{FF2B5EF4-FFF2-40B4-BE49-F238E27FC236}">
                  <a16:creationId xmlns:a16="http://schemas.microsoft.com/office/drawing/2014/main" id="{CB51025D-250F-4BEA-B510-9ECADFA8656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55439" y="5327646"/>
              <a:ext cx="656273" cy="681038"/>
            </a:xfrm>
            <a:prstGeom prst="rect">
              <a:avLst/>
            </a:prstGeom>
          </p:spPr>
        </p:pic>
        <p:sp>
          <p:nvSpPr>
            <p:cNvPr id="66" name="Textfeld 2">
              <a:extLst>
                <a:ext uri="{FF2B5EF4-FFF2-40B4-BE49-F238E27FC236}">
                  <a16:creationId xmlns:a16="http://schemas.microsoft.com/office/drawing/2014/main" id="{A874AB52-2587-4157-8DBE-6D3D53C98D91}"/>
                </a:ext>
              </a:extLst>
            </p:cNvPr>
            <p:cNvSpPr txBox="1"/>
            <p:nvPr/>
          </p:nvSpPr>
          <p:spPr bwMode="auto">
            <a:xfrm>
              <a:off x="1108213" y="5376070"/>
              <a:ext cx="516822" cy="518400"/>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a:buNone/>
              </a:pPr>
              <a:r>
                <a:rPr lang="en-US" sz="2000" b="1" kern="0">
                  <a:solidFill>
                    <a:schemeClr val="bg1"/>
                  </a:solidFill>
                  <a:latin typeface="Arial"/>
                  <a:ea typeface="Verdana" pitchFamily="34" charset="0"/>
                  <a:cs typeface="Verdana" pitchFamily="34" charset="0"/>
                </a:rPr>
                <a:t>4</a:t>
              </a:r>
              <a:endParaRPr lang="en-US" sz="2000" b="1" dirty="0">
                <a:solidFill>
                  <a:schemeClr val="bg1"/>
                </a:solidFill>
              </a:endParaRPr>
            </a:p>
          </p:txBody>
        </p:sp>
      </p:grpSp>
      <p:pic>
        <p:nvPicPr>
          <p:cNvPr id="31" name="Picture 30">
            <a:extLst>
              <a:ext uri="{FF2B5EF4-FFF2-40B4-BE49-F238E27FC236}">
                <a16:creationId xmlns:a16="http://schemas.microsoft.com/office/drawing/2014/main" id="{CA5123A4-8EF0-4CDA-9591-54C0357C5A8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92144" y="1900459"/>
            <a:ext cx="3564704" cy="3564704"/>
          </a:xfrm>
          <a:prstGeom prst="rect">
            <a:avLst/>
          </a:prstGeom>
        </p:spPr>
      </p:pic>
    </p:spTree>
    <p:extLst>
      <p:ext uri="{BB962C8B-B14F-4D97-AF65-F5344CB8AC3E}">
        <p14:creationId xmlns:p14="http://schemas.microsoft.com/office/powerpoint/2010/main" val="395002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2"/>
          <p:cNvSpPr>
            <a:spLocks noGrp="1"/>
          </p:cNvSpPr>
          <p:nvPr>
            <p:ph type="title"/>
          </p:nvPr>
        </p:nvSpPr>
        <p:spPr/>
        <p:txBody>
          <a:bodyPr/>
          <a:lstStyle/>
          <a:p>
            <a:r>
              <a:rPr lang="en-US" dirty="0"/>
              <a:t>Industrial applications trade-off curves</a:t>
            </a:r>
            <a:br>
              <a:rPr lang="en-US" dirty="0"/>
            </a:br>
            <a:r>
              <a:rPr lang="en-US" dirty="0"/>
              <a:t>Diode flavors for different applications and voltage classes</a:t>
            </a:r>
          </a:p>
        </p:txBody>
      </p:sp>
      <p:sp>
        <p:nvSpPr>
          <p:cNvPr id="12" name="Arc 11"/>
          <p:cNvSpPr/>
          <p:nvPr/>
        </p:nvSpPr>
        <p:spPr bwMode="auto">
          <a:xfrm rot="10974979">
            <a:off x="3895755" y="346503"/>
            <a:ext cx="8064896" cy="4608512"/>
          </a:xfrm>
          <a:prstGeom prst="arc">
            <a:avLst>
              <a:gd name="adj1" fmla="val 16198380"/>
              <a:gd name="adj2" fmla="val 21497131"/>
            </a:avLst>
          </a:prstGeom>
          <a:noFill/>
          <a:ln w="2540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grpSp>
        <p:nvGrpSpPr>
          <p:cNvPr id="2" name="Group 1">
            <a:extLst>
              <a:ext uri="{FF2B5EF4-FFF2-40B4-BE49-F238E27FC236}">
                <a16:creationId xmlns:a16="http://schemas.microsoft.com/office/drawing/2014/main" id="{6ED697D3-D29F-9476-5449-9704F156C524}"/>
              </a:ext>
            </a:extLst>
          </p:cNvPr>
          <p:cNvGrpSpPr/>
          <p:nvPr/>
        </p:nvGrpSpPr>
        <p:grpSpPr>
          <a:xfrm>
            <a:off x="2063552" y="897356"/>
            <a:ext cx="7536715" cy="5339956"/>
            <a:chOff x="2063552" y="897356"/>
            <a:chExt cx="7536715" cy="5339956"/>
          </a:xfrm>
        </p:grpSpPr>
        <p:sp>
          <p:nvSpPr>
            <p:cNvPr id="19" name="Oval 18">
              <a:extLst>
                <a:ext uri="{FF2B5EF4-FFF2-40B4-BE49-F238E27FC236}">
                  <a16:creationId xmlns:a16="http://schemas.microsoft.com/office/drawing/2014/main" id="{E9E5A9C4-61FE-B1DA-9F65-77D942A91E27}"/>
                </a:ext>
              </a:extLst>
            </p:cNvPr>
            <p:cNvSpPr/>
            <p:nvPr/>
          </p:nvSpPr>
          <p:spPr bwMode="auto">
            <a:xfrm rot="2322180">
              <a:off x="6381775" y="1933983"/>
              <a:ext cx="2894694" cy="3846534"/>
            </a:xfrm>
            <a:prstGeom prst="ellipse">
              <a:avLst/>
            </a:prstGeom>
            <a:solidFill>
              <a:srgbClr val="9BBA43">
                <a:alpha val="31000"/>
              </a:srgbClr>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0" name="Oval 19">
              <a:extLst>
                <a:ext uri="{FF2B5EF4-FFF2-40B4-BE49-F238E27FC236}">
                  <a16:creationId xmlns:a16="http://schemas.microsoft.com/office/drawing/2014/main" id="{41D85EC3-1D55-FE85-453D-87CE6B234BEE}"/>
                </a:ext>
              </a:extLst>
            </p:cNvPr>
            <p:cNvSpPr/>
            <p:nvPr/>
          </p:nvSpPr>
          <p:spPr bwMode="auto">
            <a:xfrm rot="2322180">
              <a:off x="3373608" y="897356"/>
              <a:ext cx="2894694" cy="3846534"/>
            </a:xfrm>
            <a:prstGeom prst="ellipse">
              <a:avLst/>
            </a:prstGeom>
            <a:solidFill>
              <a:srgbClr val="6CB4AD">
                <a:alpha val="31000"/>
              </a:srgbClr>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cxnSp>
          <p:nvCxnSpPr>
            <p:cNvPr id="6" name="Straight Arrow Connector 5"/>
            <p:cNvCxnSpPr/>
            <p:nvPr/>
          </p:nvCxnSpPr>
          <p:spPr bwMode="auto">
            <a:xfrm flipV="1">
              <a:off x="2614502" y="1426429"/>
              <a:ext cx="0" cy="4320480"/>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7" name="Straight Arrow Connector 6"/>
            <p:cNvCxnSpPr/>
            <p:nvPr/>
          </p:nvCxnSpPr>
          <p:spPr bwMode="auto">
            <a:xfrm>
              <a:off x="2614502" y="5746909"/>
              <a:ext cx="6767856" cy="11101"/>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sp>
          <p:nvSpPr>
            <p:cNvPr id="9" name="TextBox 8"/>
            <p:cNvSpPr txBox="1"/>
            <p:nvPr/>
          </p:nvSpPr>
          <p:spPr>
            <a:xfrm>
              <a:off x="7727138" y="5775647"/>
              <a:ext cx="1873129" cy="461665"/>
            </a:xfrm>
            <a:prstGeom prst="rect">
              <a:avLst/>
            </a:prstGeom>
            <a:noFill/>
            <a:effectLst/>
          </p:spPr>
          <p:txBody>
            <a:bodyPr wrap="square" rtlCol="0">
              <a:spAutoFit/>
            </a:bodyPr>
            <a:lstStyle/>
            <a:p>
              <a:pPr algn="ctr" defTabSz="914377">
                <a:buClr>
                  <a:srgbClr val="000000"/>
                </a:buClr>
                <a:defRPr/>
              </a:pPr>
              <a:r>
                <a:rPr lang="en-US" sz="1200">
                  <a:solidFill>
                    <a:schemeClr val="dk1"/>
                  </a:solidFill>
                  <a:latin typeface="+mj-lt"/>
                  <a:cs typeface="Arial" charset="0"/>
                </a:rPr>
                <a:t>Conduction Losses</a:t>
              </a:r>
            </a:p>
            <a:p>
              <a:pPr algn="ctr" defTabSz="914377">
                <a:buClr>
                  <a:srgbClr val="000000"/>
                </a:buClr>
                <a:defRPr/>
              </a:pPr>
              <a:r>
                <a:rPr lang="en-US" sz="1200">
                  <a:solidFill>
                    <a:schemeClr val="dk1"/>
                  </a:solidFill>
                  <a:latin typeface="+mj-lt"/>
                  <a:cs typeface="Arial" charset="0"/>
                </a:rPr>
                <a:t>[V</a:t>
              </a:r>
              <a:r>
                <a:rPr lang="en-US" sz="1200" baseline="-25000">
                  <a:solidFill>
                    <a:schemeClr val="dk1"/>
                  </a:solidFill>
                  <a:latin typeface="+mj-lt"/>
                  <a:cs typeface="Arial" charset="0"/>
                </a:rPr>
                <a:t>F</a:t>
              </a:r>
              <a:r>
                <a:rPr lang="en-US" sz="1200">
                  <a:solidFill>
                    <a:schemeClr val="dk1"/>
                  </a:solidFill>
                  <a:latin typeface="+mj-lt"/>
                  <a:cs typeface="Arial" charset="0"/>
                </a:rPr>
                <a:t>]</a:t>
              </a:r>
              <a:endParaRPr lang="en-US" sz="1200" dirty="0">
                <a:solidFill>
                  <a:schemeClr val="dk1"/>
                </a:solidFill>
                <a:latin typeface="+mj-lt"/>
                <a:cs typeface="Arial" charset="0"/>
              </a:endParaRPr>
            </a:p>
          </p:txBody>
        </p:sp>
        <p:sp>
          <p:nvSpPr>
            <p:cNvPr id="10" name="TextBox 9"/>
            <p:cNvSpPr txBox="1"/>
            <p:nvPr/>
          </p:nvSpPr>
          <p:spPr>
            <a:xfrm rot="16200000">
              <a:off x="1635390" y="1814895"/>
              <a:ext cx="1317990" cy="461665"/>
            </a:xfrm>
            <a:prstGeom prst="rect">
              <a:avLst/>
            </a:prstGeom>
            <a:noFill/>
            <a:effectLst/>
          </p:spPr>
          <p:txBody>
            <a:bodyPr wrap="none" rtlCol="0">
              <a:spAutoFit/>
            </a:bodyPr>
            <a:lstStyle/>
            <a:p>
              <a:pPr algn="ctr" defTabSz="914377">
                <a:buClr>
                  <a:srgbClr val="000000"/>
                </a:buClr>
                <a:defRPr/>
              </a:pPr>
              <a:r>
                <a:rPr lang="en-US" sz="1200">
                  <a:solidFill>
                    <a:schemeClr val="dk1"/>
                  </a:solidFill>
                  <a:latin typeface="+mj-lt"/>
                  <a:cs typeface="Arial" charset="0"/>
                </a:rPr>
                <a:t>Switching losses</a:t>
              </a:r>
            </a:p>
            <a:p>
              <a:pPr algn="ctr" defTabSz="914377">
                <a:buClr>
                  <a:srgbClr val="000000"/>
                </a:buClr>
                <a:defRPr/>
              </a:pPr>
              <a:r>
                <a:rPr lang="en-US" sz="1200">
                  <a:solidFill>
                    <a:schemeClr val="dk1"/>
                  </a:solidFill>
                  <a:latin typeface="+mj-lt"/>
                  <a:cs typeface="Arial" charset="0"/>
                </a:rPr>
                <a:t>[Q</a:t>
              </a:r>
              <a:r>
                <a:rPr lang="en-US" sz="1200" baseline="-25000">
                  <a:solidFill>
                    <a:schemeClr val="dk1"/>
                  </a:solidFill>
                  <a:latin typeface="+mj-lt"/>
                  <a:cs typeface="Arial" charset="0"/>
                </a:rPr>
                <a:t>rr</a:t>
              </a:r>
              <a:r>
                <a:rPr lang="en-US" sz="1200">
                  <a:solidFill>
                    <a:schemeClr val="dk1"/>
                  </a:solidFill>
                  <a:latin typeface="+mj-lt"/>
                  <a:cs typeface="Arial" charset="0"/>
                </a:rPr>
                <a:t>]</a:t>
              </a:r>
              <a:endParaRPr lang="en-US" sz="1200" dirty="0">
                <a:solidFill>
                  <a:schemeClr val="dk1"/>
                </a:solidFill>
                <a:latin typeface="+mj-lt"/>
                <a:cs typeface="Arial" charset="0"/>
              </a:endParaRPr>
            </a:p>
          </p:txBody>
        </p:sp>
        <p:sp>
          <p:nvSpPr>
            <p:cNvPr id="15" name="Oval 14"/>
            <p:cNvSpPr/>
            <p:nvPr/>
          </p:nvSpPr>
          <p:spPr bwMode="auto">
            <a:xfrm>
              <a:off x="2542417" y="5651040"/>
              <a:ext cx="144016" cy="167940"/>
            </a:xfrm>
            <a:prstGeom prst="ellipse">
              <a:avLst/>
            </a:prstGeom>
            <a:solidFill>
              <a:srgbClr val="812161"/>
            </a:solidFill>
            <a:ln w="9525" cap="flat" cmpd="sng" algn="ctr">
              <a:solidFill>
                <a:srgbClr val="BCB0B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37" name="TextBox 36"/>
            <p:cNvSpPr txBox="1"/>
            <p:nvPr/>
          </p:nvSpPr>
          <p:spPr>
            <a:xfrm>
              <a:off x="2695416" y="5906260"/>
              <a:ext cx="2511369" cy="276999"/>
            </a:xfrm>
            <a:prstGeom prst="rect">
              <a:avLst/>
            </a:prstGeom>
            <a:noFill/>
            <a:effectLst/>
          </p:spPr>
          <p:txBody>
            <a:bodyPr wrap="square" rtlCol="0">
              <a:spAutoFit/>
            </a:bodyPr>
            <a:lstStyle>
              <a:defPPr>
                <a:defRPr lang="en-US"/>
              </a:defPPr>
              <a:lvl1pPr algn="ctr">
                <a:buClr>
                  <a:schemeClr val="tx1"/>
                </a:buClr>
                <a:defRPr sz="1200" b="1" i="1">
                  <a:solidFill>
                    <a:schemeClr val="tx2"/>
                  </a:solidFill>
                  <a:latin typeface="Verdana"/>
                  <a:cs typeface="Arial" charset="0"/>
                </a:defRPr>
              </a:lvl1pPr>
            </a:lstStyle>
            <a:p>
              <a:pPr defTabSz="914377">
                <a:buClr>
                  <a:srgbClr val="000000"/>
                </a:buClr>
                <a:defRPr/>
              </a:pPr>
              <a:r>
                <a:rPr lang="en-US">
                  <a:solidFill>
                    <a:schemeClr val="dk1"/>
                  </a:solidFill>
                  <a:latin typeface="+mj-lt"/>
                </a:rPr>
                <a:t>&lt;= Low switching 20 kHz</a:t>
              </a:r>
              <a:endParaRPr lang="en-US" dirty="0">
                <a:solidFill>
                  <a:schemeClr val="dk1"/>
                </a:solidFill>
                <a:latin typeface="+mj-lt"/>
              </a:endParaRPr>
            </a:p>
          </p:txBody>
        </p:sp>
        <p:sp>
          <p:nvSpPr>
            <p:cNvPr id="38" name="TextBox 37"/>
            <p:cNvSpPr txBox="1"/>
            <p:nvPr/>
          </p:nvSpPr>
          <p:spPr>
            <a:xfrm>
              <a:off x="5012701" y="5904665"/>
              <a:ext cx="3456376" cy="276999"/>
            </a:xfrm>
            <a:prstGeom prst="rect">
              <a:avLst/>
            </a:prstGeom>
            <a:noFill/>
            <a:effectLst/>
          </p:spPr>
          <p:txBody>
            <a:bodyPr wrap="square" rtlCol="0">
              <a:spAutoFit/>
            </a:bodyPr>
            <a:lstStyle/>
            <a:p>
              <a:pPr algn="ctr" defTabSz="914377">
                <a:buClr>
                  <a:srgbClr val="000000"/>
                </a:buClr>
                <a:defRPr/>
              </a:pPr>
              <a:r>
                <a:rPr lang="en-US" sz="1200" b="1" i="1">
                  <a:solidFill>
                    <a:schemeClr val="dk1"/>
                  </a:solidFill>
                  <a:latin typeface="+mj-lt"/>
                  <a:cs typeface="Arial" charset="0"/>
                </a:rPr>
                <a:t>Fast switching up to 20-100 kHz =&gt;</a:t>
              </a:r>
              <a:endParaRPr lang="en-US" sz="1200" b="1" i="1" dirty="0">
                <a:solidFill>
                  <a:schemeClr val="dk1"/>
                </a:solidFill>
                <a:latin typeface="+mj-lt"/>
                <a:cs typeface="Arial" charset="0"/>
              </a:endParaRPr>
            </a:p>
          </p:txBody>
        </p:sp>
        <p:sp>
          <p:nvSpPr>
            <p:cNvPr id="30" name="Oval 29"/>
            <p:cNvSpPr/>
            <p:nvPr/>
          </p:nvSpPr>
          <p:spPr bwMode="auto">
            <a:xfrm>
              <a:off x="3962658" y="3549942"/>
              <a:ext cx="144000" cy="143212"/>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77">
                <a:buClr>
                  <a:srgbClr val="000000"/>
                </a:buClr>
                <a:defRPr/>
              </a:pPr>
              <a:endParaRPr lang="en-US" sz="2000" dirty="0">
                <a:solidFill>
                  <a:srgbClr val="00214A"/>
                </a:solidFill>
                <a:latin typeface="+mj-lt"/>
                <a:cs typeface="Arial" charset="0"/>
              </a:endParaRPr>
            </a:p>
          </p:txBody>
        </p:sp>
        <p:sp>
          <p:nvSpPr>
            <p:cNvPr id="24" name="Rectangle 6"/>
            <p:cNvSpPr>
              <a:spLocks noChangeArrowheads="1"/>
            </p:cNvSpPr>
            <p:nvPr/>
          </p:nvSpPr>
          <p:spPr bwMode="auto">
            <a:xfrm>
              <a:off x="3962658" y="2729558"/>
              <a:ext cx="592100" cy="504056"/>
            </a:xfrm>
            <a:prstGeom prst="roundRect">
              <a:avLst>
                <a:gd name="adj" fmla="val 17588"/>
              </a:avLst>
            </a:prstGeom>
            <a:solidFill>
              <a:schemeClr val="accent2"/>
            </a:solidFill>
            <a:ln w="19050" algn="ctr">
              <a:noFill/>
              <a:miter lim="800000"/>
              <a:headEnd/>
              <a:tailEnd/>
            </a:ln>
            <a:effectLst/>
          </p:spPr>
          <p:txBody>
            <a:bodyPr wrap="none" anchor="ctr"/>
            <a:lstStyle>
              <a:lvl1pPr eaLnBrk="0" hangingPunct="0">
                <a:spcAft>
                  <a:spcPts val="1200"/>
                </a:spcAft>
                <a:buClr>
                  <a:schemeClr val="accent1"/>
                </a:buClr>
                <a:buFont typeface="Wingdings" pitchFamily="2" charset="2"/>
                <a:buChar char="n"/>
                <a:tabLst>
                  <a:tab pos="292100" algn="l"/>
                </a:tabLst>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tabLst>
                  <a:tab pos="292100" algn="l"/>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292100" algn="l"/>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292100" algn="l"/>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9pPr>
            </a:lstStyle>
            <a:p>
              <a:pPr algn="ctr" defTabSz="914377" fontAlgn="auto">
                <a:spcBef>
                  <a:spcPct val="10000"/>
                </a:spcBef>
                <a:spcAft>
                  <a:spcPct val="10000"/>
                </a:spcAft>
                <a:buClr>
                  <a:srgbClr val="00214A"/>
                </a:buClr>
                <a:buNone/>
                <a:tabLst>
                  <a:tab pos="292093" algn="l"/>
                </a:tabLst>
                <a:defRPr/>
              </a:pPr>
              <a:r>
                <a:rPr lang="en-US" altLang="en-US" sz="1400" b="1" kern="0">
                  <a:solidFill>
                    <a:schemeClr val="bg1"/>
                  </a:solidFill>
                  <a:latin typeface="+mj-lt"/>
                  <a:cs typeface="Arial" charset="0"/>
                </a:rPr>
                <a:t>EC</a:t>
              </a:r>
              <a:r>
                <a:rPr lang="en-US" altLang="en-US" sz="1400" b="1" kern="0" baseline="-25000">
                  <a:solidFill>
                    <a:schemeClr val="bg1"/>
                  </a:solidFill>
                  <a:latin typeface="+mj-lt"/>
                  <a:cs typeface="Arial" charset="0"/>
                </a:rPr>
                <a:t>S7</a:t>
              </a:r>
              <a:endParaRPr lang="en-US" altLang="en-US" sz="1400" b="1" kern="0" baseline="-25000" dirty="0">
                <a:solidFill>
                  <a:schemeClr val="bg1"/>
                </a:solidFill>
                <a:latin typeface="+mj-lt"/>
                <a:cs typeface="Arial" charset="0"/>
              </a:endParaRPr>
            </a:p>
          </p:txBody>
        </p:sp>
        <p:grpSp>
          <p:nvGrpSpPr>
            <p:cNvPr id="32" name="Group 31"/>
            <p:cNvGrpSpPr/>
            <p:nvPr/>
          </p:nvGrpSpPr>
          <p:grpSpPr>
            <a:xfrm>
              <a:off x="6374923" y="4222523"/>
              <a:ext cx="832346" cy="661451"/>
              <a:chOff x="5508104" y="3309493"/>
              <a:chExt cx="832345" cy="661451"/>
            </a:xfrm>
          </p:grpSpPr>
          <p:sp>
            <p:nvSpPr>
              <p:cNvPr id="31" name="Oval 30"/>
              <p:cNvSpPr/>
              <p:nvPr/>
            </p:nvSpPr>
            <p:spPr bwMode="auto">
              <a:xfrm>
                <a:off x="5508104" y="3827732"/>
                <a:ext cx="144000" cy="143212"/>
              </a:xfrm>
              <a:prstGeom prst="ellipse">
                <a:avLst/>
              </a:prstGeom>
              <a:solidFill>
                <a:schemeClr val="accent2"/>
              </a:solidFill>
              <a:ln w="19050" algn="ctr">
                <a:noFill/>
                <a:miter lim="800000"/>
                <a:headEnd/>
                <a:tailEnd/>
              </a:ln>
              <a:effectLst/>
            </p:spPr>
            <p:txBody>
              <a:bodyPr wrap="none" anchor="ctr"/>
              <a:lstStyle/>
              <a:p>
                <a:pPr algn="ctr" defTabSz="914377" eaLnBrk="0" fontAlgn="auto" hangingPunct="0">
                  <a:spcBef>
                    <a:spcPct val="10000"/>
                  </a:spcBef>
                  <a:spcAft>
                    <a:spcPct val="10000"/>
                  </a:spcAft>
                  <a:buClr>
                    <a:srgbClr val="00214A"/>
                  </a:buClr>
                  <a:tabLst>
                    <a:tab pos="292093" algn="l"/>
                  </a:tabLst>
                </a:pPr>
                <a:endParaRPr lang="en-US" b="1" kern="0" dirty="0">
                  <a:solidFill>
                    <a:schemeClr val="bg1"/>
                  </a:solidFill>
                  <a:latin typeface="+mj-lt"/>
                  <a:ea typeface="Verdana" pitchFamily="34" charset="0"/>
                  <a:cs typeface="Arial" charset="0"/>
                </a:endParaRPr>
              </a:p>
            </p:txBody>
          </p:sp>
          <p:sp>
            <p:nvSpPr>
              <p:cNvPr id="29" name="Rectangle 6"/>
              <p:cNvSpPr>
                <a:spLocks noChangeArrowheads="1"/>
              </p:cNvSpPr>
              <p:nvPr/>
            </p:nvSpPr>
            <p:spPr bwMode="auto">
              <a:xfrm>
                <a:off x="5762060" y="3309493"/>
                <a:ext cx="578389" cy="504056"/>
              </a:xfrm>
              <a:prstGeom prst="roundRect">
                <a:avLst>
                  <a:gd name="adj" fmla="val 17588"/>
                </a:avLst>
              </a:prstGeom>
              <a:solidFill>
                <a:schemeClr val="accent2"/>
              </a:solidFill>
              <a:ln w="19050" algn="ctr">
                <a:noFill/>
                <a:miter lim="800000"/>
                <a:headEnd/>
                <a:tailEnd/>
              </a:ln>
              <a:effectLst/>
            </p:spPr>
            <p:txBody>
              <a:bodyPr wrap="none" anchor="ctr"/>
              <a:lstStyle>
                <a:lvl1pPr eaLnBrk="0" hangingPunct="0">
                  <a:spcAft>
                    <a:spcPts val="1200"/>
                  </a:spcAft>
                  <a:buClr>
                    <a:schemeClr val="accent1"/>
                  </a:buClr>
                  <a:buFont typeface="Wingdings" pitchFamily="2" charset="2"/>
                  <a:buChar char="n"/>
                  <a:tabLst>
                    <a:tab pos="292100" algn="l"/>
                  </a:tabLst>
                  <a:defRPr sz="2000">
                    <a:solidFill>
                      <a:schemeClr val="tx1"/>
                    </a:solidFill>
                    <a:latin typeface="Verdana" pitchFamily="34" charset="0"/>
                    <a:ea typeface="Verdana" pitchFamily="34" charset="0"/>
                    <a:cs typeface="Verdana" pitchFamily="34" charset="0"/>
                  </a:defRPr>
                </a:lvl1pPr>
                <a:lvl2pPr marL="742950" indent="-285750" eaLnBrk="0" hangingPunct="0">
                  <a:spcAft>
                    <a:spcPts val="900"/>
                  </a:spcAft>
                  <a:buClr>
                    <a:schemeClr val="accent1"/>
                  </a:buClr>
                  <a:buSzPct val="80000"/>
                  <a:buFont typeface="Wingdings" pitchFamily="2" charset="2"/>
                  <a:buChar char="o"/>
                  <a:tabLst>
                    <a:tab pos="292100" algn="l"/>
                  </a:tabLst>
                  <a:defRPr sz="2000">
                    <a:solidFill>
                      <a:schemeClr val="tx1"/>
                    </a:solidFill>
                    <a:latin typeface="Verdana" pitchFamily="34" charset="0"/>
                    <a:ea typeface="Verdana" pitchFamily="34" charset="0"/>
                    <a:cs typeface="Verdana" pitchFamily="34" charset="0"/>
                  </a:defRPr>
                </a:lvl2pPr>
                <a:lvl3pPr marL="1143000" indent="-228600" eaLnBrk="0" hangingPunct="0">
                  <a:spcAft>
                    <a:spcPts val="600"/>
                  </a:spcAft>
                  <a:buClr>
                    <a:schemeClr val="accent1"/>
                  </a:buClr>
                  <a:buSzPct val="100000"/>
                  <a:buFont typeface="Verdana" pitchFamily="34" charset="0"/>
                  <a:buChar char="―"/>
                  <a:tabLst>
                    <a:tab pos="292100" algn="l"/>
                  </a:tabLst>
                  <a:defRPr>
                    <a:solidFill>
                      <a:schemeClr val="tx1"/>
                    </a:solidFill>
                    <a:latin typeface="Verdana" pitchFamily="34" charset="0"/>
                    <a:ea typeface="Verdana" pitchFamily="34" charset="0"/>
                    <a:cs typeface="Verdana" pitchFamily="34" charset="0"/>
                  </a:defRPr>
                </a:lvl3pPr>
                <a:lvl4pPr marL="1600200" indent="-228600" eaLnBrk="0" hangingPunct="0">
                  <a:spcAft>
                    <a:spcPts val="300"/>
                  </a:spcAft>
                  <a:buClr>
                    <a:schemeClr val="accent1"/>
                  </a:buClr>
                  <a:buFont typeface="Verdana" pitchFamily="34" charset="0"/>
                  <a:buChar char="―"/>
                  <a:tabLst>
                    <a:tab pos="292100" algn="l"/>
                  </a:tabLst>
                  <a:defRPr sz="1600">
                    <a:solidFill>
                      <a:schemeClr val="tx1"/>
                    </a:solidFill>
                    <a:latin typeface="Verdana" pitchFamily="34" charset="0"/>
                    <a:ea typeface="Verdana" pitchFamily="34" charset="0"/>
                    <a:cs typeface="Verdana" pitchFamily="34" charset="0"/>
                  </a:defRPr>
                </a:lvl4pPr>
                <a:lvl5pPr marL="2057400" indent="-228600" eaLnBrk="0" hangingPunct="0">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0"/>
                  </a:spcBef>
                  <a:spcAft>
                    <a:spcPts val="300"/>
                  </a:spcAft>
                  <a:buClr>
                    <a:schemeClr val="accent1"/>
                  </a:buClr>
                  <a:buFont typeface="Verdana" pitchFamily="34" charset="0"/>
                  <a:buChar char="―"/>
                  <a:tabLst>
                    <a:tab pos="292100" algn="l"/>
                  </a:tabLst>
                  <a:defRPr sz="1400">
                    <a:solidFill>
                      <a:schemeClr val="tx1"/>
                    </a:solidFill>
                    <a:latin typeface="Verdana" pitchFamily="34" charset="0"/>
                    <a:ea typeface="Verdana" pitchFamily="34" charset="0"/>
                    <a:cs typeface="Verdana" pitchFamily="34" charset="0"/>
                  </a:defRPr>
                </a:lvl9pPr>
              </a:lstStyle>
              <a:p>
                <a:pPr algn="ctr" defTabSz="914377" fontAlgn="auto">
                  <a:spcBef>
                    <a:spcPct val="10000"/>
                  </a:spcBef>
                  <a:spcAft>
                    <a:spcPct val="10000"/>
                  </a:spcAft>
                  <a:buClr>
                    <a:srgbClr val="00214A"/>
                  </a:buClr>
                  <a:buNone/>
                  <a:tabLst>
                    <a:tab pos="292093" algn="l"/>
                  </a:tabLst>
                </a:pPr>
                <a:r>
                  <a:rPr lang="en-US" altLang="en-US" sz="1400" b="1" kern="0">
                    <a:solidFill>
                      <a:schemeClr val="bg1"/>
                    </a:solidFill>
                    <a:latin typeface="+mj-lt"/>
                    <a:cs typeface="Arial" charset="0"/>
                  </a:rPr>
                  <a:t>EC</a:t>
                </a:r>
                <a:r>
                  <a:rPr lang="en-US" altLang="en-US" sz="1400" b="1" kern="0" baseline="-25000">
                    <a:solidFill>
                      <a:schemeClr val="bg1"/>
                    </a:solidFill>
                    <a:latin typeface="+mj-lt"/>
                    <a:cs typeface="Arial" charset="0"/>
                  </a:rPr>
                  <a:t>H7</a:t>
                </a:r>
                <a:endParaRPr lang="en-US" altLang="en-US" sz="1400" b="1" kern="0" baseline="-25000" dirty="0">
                  <a:solidFill>
                    <a:schemeClr val="bg1"/>
                  </a:solidFill>
                  <a:latin typeface="+mj-lt"/>
                  <a:cs typeface="Arial" charset="0"/>
                </a:endParaRPr>
              </a:p>
            </p:txBody>
          </p:sp>
        </p:grpSp>
        <p:sp>
          <p:nvSpPr>
            <p:cNvPr id="8" name="Rectangle 7">
              <a:extLst>
                <a:ext uri="{FF2B5EF4-FFF2-40B4-BE49-F238E27FC236}">
                  <a16:creationId xmlns:a16="http://schemas.microsoft.com/office/drawing/2014/main" id="{BDAD90D3-BE65-2D04-F3B2-ABEF39F6706F}"/>
                </a:ext>
              </a:extLst>
            </p:cNvPr>
            <p:cNvSpPr/>
            <p:nvPr/>
          </p:nvSpPr>
          <p:spPr bwMode="auto">
            <a:xfrm>
              <a:off x="7364302" y="4829150"/>
              <a:ext cx="1035296" cy="252028"/>
            </a:xfrm>
            <a:prstGeom prst="rect">
              <a:avLst/>
            </a:prstGeom>
            <a:solidFill>
              <a:schemeClr val="accent2"/>
            </a:solidFill>
            <a:ln w="19050" algn="ctr">
              <a:noFill/>
              <a:miter lim="800000"/>
              <a:headEnd/>
              <a:tailEnd/>
            </a:ln>
            <a:effectLst/>
          </p:spPr>
          <p:txBody>
            <a:bodyPr wrap="none" anchor="ctr"/>
            <a:lstStyle/>
            <a:p>
              <a:pPr algn="ctr" defTabSz="914377" eaLnBrk="0" fontAlgn="auto" hangingPunct="0">
                <a:spcBef>
                  <a:spcPct val="10000"/>
                </a:spcBef>
                <a:spcAft>
                  <a:spcPct val="10000"/>
                </a:spcAft>
                <a:buClr>
                  <a:srgbClr val="00214A"/>
                </a:buClr>
                <a:tabLst>
                  <a:tab pos="292093" algn="l"/>
                </a:tabLst>
              </a:pPr>
              <a:r>
                <a:rPr lang="en-US" b="1" kern="0">
                  <a:solidFill>
                    <a:schemeClr val="bg1"/>
                  </a:solidFill>
                  <a:latin typeface="+mj-lt"/>
                  <a:ea typeface="Verdana" pitchFamily="34" charset="0"/>
                  <a:cs typeface="Arial" charset="0"/>
                </a:rPr>
                <a:t>1200V</a:t>
              </a:r>
              <a:endParaRPr lang="en-US" b="1" kern="0" dirty="0">
                <a:solidFill>
                  <a:schemeClr val="bg1"/>
                </a:solidFill>
                <a:latin typeface="+mj-lt"/>
                <a:ea typeface="Verdana" pitchFamily="34" charset="0"/>
                <a:cs typeface="Arial" charset="0"/>
              </a:endParaRPr>
            </a:p>
          </p:txBody>
        </p:sp>
        <p:pic>
          <p:nvPicPr>
            <p:cNvPr id="26" name="Picture 25" descr="A green and black sign with text&#10;&#10;Description automatically generated">
              <a:extLst>
                <a:ext uri="{FF2B5EF4-FFF2-40B4-BE49-F238E27FC236}">
                  <a16:creationId xmlns:a16="http://schemas.microsoft.com/office/drawing/2014/main" id="{7E2FE2E1-32A2-1A62-9A98-1EBCD0D5F9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6818" y="2729558"/>
              <a:ext cx="742823" cy="742823"/>
            </a:xfrm>
            <a:prstGeom prst="rect">
              <a:avLst/>
            </a:prstGeom>
          </p:spPr>
        </p:pic>
        <p:pic>
          <p:nvPicPr>
            <p:cNvPr id="34" name="Picture 33" descr="A green and black logo&#10;&#10;Description automatically generated">
              <a:extLst>
                <a:ext uri="{FF2B5EF4-FFF2-40B4-BE49-F238E27FC236}">
                  <a16:creationId xmlns:a16="http://schemas.microsoft.com/office/drawing/2014/main" id="{8A4E9050-25A7-938F-BCB9-81962E0EE6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8120" y="2358851"/>
              <a:ext cx="828401" cy="828401"/>
            </a:xfrm>
            <a:prstGeom prst="rect">
              <a:avLst/>
            </a:prstGeom>
          </p:spPr>
        </p:pic>
        <p:pic>
          <p:nvPicPr>
            <p:cNvPr id="50" name="Picture 49" descr="A green and black logo&#10;&#10;Description automatically generated with medium confidence">
              <a:extLst>
                <a:ext uri="{FF2B5EF4-FFF2-40B4-BE49-F238E27FC236}">
                  <a16:creationId xmlns:a16="http://schemas.microsoft.com/office/drawing/2014/main" id="{50AEE5CF-29BC-69F8-D347-E1B53BCEED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8615" y="3474196"/>
              <a:ext cx="766107" cy="766107"/>
            </a:xfrm>
            <a:prstGeom prst="rect">
              <a:avLst/>
            </a:prstGeom>
          </p:spPr>
        </p:pic>
        <p:pic>
          <p:nvPicPr>
            <p:cNvPr id="52" name="Picture 51" descr="A green and black logo&#10;&#10;Description automatically generated">
              <a:extLst>
                <a:ext uri="{FF2B5EF4-FFF2-40B4-BE49-F238E27FC236}">
                  <a16:creationId xmlns:a16="http://schemas.microsoft.com/office/drawing/2014/main" id="{4A22BAAC-B161-52A0-B9D3-A0B5AF70DE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8168" y="3908629"/>
              <a:ext cx="754136" cy="754136"/>
            </a:xfrm>
            <a:prstGeom prst="rect">
              <a:avLst/>
            </a:prstGeom>
          </p:spPr>
        </p:pic>
        <p:sp>
          <p:nvSpPr>
            <p:cNvPr id="21" name="TextBox 20">
              <a:extLst>
                <a:ext uri="{FF2B5EF4-FFF2-40B4-BE49-F238E27FC236}">
                  <a16:creationId xmlns:a16="http://schemas.microsoft.com/office/drawing/2014/main" id="{793BE794-C7A7-5400-A0D8-45885954A660}"/>
                </a:ext>
              </a:extLst>
            </p:cNvPr>
            <p:cNvSpPr txBox="1"/>
            <p:nvPr/>
          </p:nvSpPr>
          <p:spPr bwMode="auto">
            <a:xfrm>
              <a:off x="4573491" y="1498437"/>
              <a:ext cx="1400109"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kern="0" baseline="0" dirty="0">
                  <a:latin typeface="+mn-lt"/>
                  <a:ea typeface="+mn-ea"/>
                  <a:cs typeface="+mn-cs"/>
                </a:rPr>
                <a:t>Soft diode</a:t>
              </a:r>
            </a:p>
          </p:txBody>
        </p:sp>
        <p:sp>
          <p:nvSpPr>
            <p:cNvPr id="22" name="TextBox 21">
              <a:extLst>
                <a:ext uri="{FF2B5EF4-FFF2-40B4-BE49-F238E27FC236}">
                  <a16:creationId xmlns:a16="http://schemas.microsoft.com/office/drawing/2014/main" id="{6D675B77-44A1-3039-C352-E245C60CF54C}"/>
                </a:ext>
              </a:extLst>
            </p:cNvPr>
            <p:cNvSpPr txBox="1"/>
            <p:nvPr/>
          </p:nvSpPr>
          <p:spPr bwMode="auto">
            <a:xfrm>
              <a:off x="7578358" y="2580139"/>
              <a:ext cx="1400109"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kern="0" baseline="0" dirty="0">
                  <a:latin typeface="+mn-lt"/>
                  <a:ea typeface="+mn-ea"/>
                  <a:cs typeface="+mn-cs"/>
                </a:rPr>
                <a:t>Snappy diode</a:t>
              </a:r>
            </a:p>
          </p:txBody>
        </p:sp>
      </p:grpSp>
    </p:spTree>
    <p:extLst>
      <p:ext uri="{BB962C8B-B14F-4D97-AF65-F5344CB8AC3E}">
        <p14:creationId xmlns:p14="http://schemas.microsoft.com/office/powerpoint/2010/main" val="1981586925"/>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F5483-95C5-4520-B613-C8D7D0C093EB}"/>
              </a:ext>
            </a:extLst>
          </p:cNvPr>
          <p:cNvSpPr>
            <a:spLocks noGrp="1"/>
          </p:cNvSpPr>
          <p:nvPr>
            <p:ph type="title"/>
          </p:nvPr>
        </p:nvSpPr>
        <p:spPr/>
        <p:txBody>
          <a:bodyPr/>
          <a:lstStyle/>
          <a:p>
            <a:r>
              <a:rPr lang="en-US" dirty="0"/>
              <a:t>Infineon´s TRENCHSTOP™ IGBT7</a:t>
            </a:r>
            <a:br>
              <a:rPr lang="en-US" dirty="0"/>
            </a:br>
            <a:r>
              <a:rPr lang="en-US" dirty="0"/>
              <a:t>What is new </a:t>
            </a:r>
          </a:p>
        </p:txBody>
      </p:sp>
      <p:grpSp>
        <p:nvGrpSpPr>
          <p:cNvPr id="101" name="Group 100">
            <a:extLst>
              <a:ext uri="{FF2B5EF4-FFF2-40B4-BE49-F238E27FC236}">
                <a16:creationId xmlns:a16="http://schemas.microsoft.com/office/drawing/2014/main" id="{244D213F-A7C8-4791-A032-E27CDF2689EA}"/>
              </a:ext>
            </a:extLst>
          </p:cNvPr>
          <p:cNvGrpSpPr/>
          <p:nvPr/>
        </p:nvGrpSpPr>
        <p:grpSpPr>
          <a:xfrm>
            <a:off x="6120231" y="4169830"/>
            <a:ext cx="5760642" cy="2133600"/>
            <a:chOff x="335360" y="2873212"/>
            <a:chExt cx="5760642" cy="2133600"/>
          </a:xfrm>
        </p:grpSpPr>
        <p:graphicFrame>
          <p:nvGraphicFramePr>
            <p:cNvPr id="26" name="09 Banded Columns - Ocean">
              <a:extLst>
                <a:ext uri="{FF2B5EF4-FFF2-40B4-BE49-F238E27FC236}">
                  <a16:creationId xmlns:a16="http://schemas.microsoft.com/office/drawing/2014/main" id="{2DD802C0-6056-4CDF-AC3A-CB13C36F92F3}"/>
                </a:ext>
              </a:extLst>
            </p:cNvPr>
            <p:cNvGraphicFramePr>
              <a:graphicFrameLocks/>
            </p:cNvGraphicFramePr>
            <p:nvPr>
              <p:custDataLst>
                <p:tags r:id="rId3"/>
              </p:custDataLst>
            </p:nvPr>
          </p:nvGraphicFramePr>
          <p:xfrm>
            <a:off x="335360" y="2873212"/>
            <a:ext cx="5760642" cy="2133600"/>
          </p:xfrm>
          <a:graphic>
            <a:graphicData uri="http://schemas.openxmlformats.org/drawingml/2006/table">
              <a:tbl>
                <a:tblPr firstRow="1" bandCol="1">
                  <a:tableStyleId>{F5AB1C69-6EDB-4FF4-983F-18BD219EF322}</a:tableStyleId>
                </a:tblPr>
                <a:tblGrid>
                  <a:gridCol w="2592288">
                    <a:extLst>
                      <a:ext uri="{9D8B030D-6E8A-4147-A177-3AD203B41FA5}">
                        <a16:colId xmlns:a16="http://schemas.microsoft.com/office/drawing/2014/main" val="2394148586"/>
                      </a:ext>
                    </a:extLst>
                  </a:gridCol>
                  <a:gridCol w="1152129">
                    <a:extLst>
                      <a:ext uri="{9D8B030D-6E8A-4147-A177-3AD203B41FA5}">
                        <a16:colId xmlns:a16="http://schemas.microsoft.com/office/drawing/2014/main" val="2499413797"/>
                      </a:ext>
                    </a:extLst>
                  </a:gridCol>
                  <a:gridCol w="1008112">
                    <a:extLst>
                      <a:ext uri="{9D8B030D-6E8A-4147-A177-3AD203B41FA5}">
                        <a16:colId xmlns:a16="http://schemas.microsoft.com/office/drawing/2014/main" val="20003"/>
                      </a:ext>
                    </a:extLst>
                  </a:gridCol>
                  <a:gridCol w="1008113">
                    <a:extLst>
                      <a:ext uri="{9D8B030D-6E8A-4147-A177-3AD203B41FA5}">
                        <a16:colId xmlns:a16="http://schemas.microsoft.com/office/drawing/2014/main" val="2287856257"/>
                      </a:ext>
                    </a:extLst>
                  </a:gridCol>
                </a:tblGrid>
                <a:tr h="0">
                  <a:tc>
                    <a:txBody>
                      <a:bodyPr/>
                      <a:lstStyle/>
                      <a:p>
                        <a:pPr algn="ctr"/>
                        <a:r>
                          <a:rPr lang="en-US"/>
                          <a:t>Dynamic performance</a:t>
                        </a:r>
                        <a:endParaRPr lang="en-US" dirty="0"/>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baseline="0"/>
                          <a:t>C</a:t>
                        </a:r>
                        <a:r>
                          <a:rPr lang="en-US" baseline="-25000"/>
                          <a:t>GE</a:t>
                        </a:r>
                        <a:endParaRPr lang="en-US" baseline="-25000" dirty="0"/>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baseline="0"/>
                          <a:t>C</a:t>
                        </a:r>
                        <a:r>
                          <a:rPr lang="en-US" baseline="-25000"/>
                          <a:t>CE</a:t>
                        </a:r>
                        <a:endParaRPr lang="en-US" baseline="-25000" dirty="0"/>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baseline="0"/>
                          <a:t>C</a:t>
                        </a:r>
                        <a:r>
                          <a:rPr lang="en-US" baseline="-25000"/>
                          <a:t>CG</a:t>
                        </a:r>
                        <a:endParaRPr lang="en-US" baseline="-25000" dirty="0"/>
                      </a:p>
                    </a:txBody>
                    <a:tcPr/>
                  </a:tc>
                  <a:extLst>
                    <a:ext uri="{0D108BD9-81ED-4DB2-BD59-A6C34878D82A}">
                      <a16:rowId xmlns:a16="http://schemas.microsoft.com/office/drawing/2014/main" val="195515411"/>
                    </a:ext>
                  </a:extLst>
                </a:tr>
                <a:tr h="0">
                  <a:tc>
                    <a:txBody>
                      <a:bodyPr/>
                      <a:lstStyle/>
                      <a:p>
                        <a:pPr algn="ctr"/>
                        <a:r>
                          <a:rPr lang="en-US" sz="1400"/>
                          <a:t>Active gates</a:t>
                        </a:r>
                        <a:endParaRPr lang="en-US" sz="1400" dirty="0"/>
                      </a:p>
                    </a:txBody>
                    <a:tcPr/>
                  </a:tc>
                  <a:tc>
                    <a:txBody>
                      <a:bodyPr/>
                      <a:lstStyle/>
                      <a:p>
                        <a:pPr algn="ctr"/>
                        <a:endParaRPr lang="en-US" dirty="0"/>
                      </a:p>
                    </a:txBody>
                    <a:tcPr/>
                  </a:tc>
                  <a:tc>
                    <a:txBody>
                      <a:bodyPr/>
                      <a:lstStyle/>
                      <a:p>
                        <a:pPr marL="0" algn="ctr" defTabSz="1219170" rtl="0" eaLnBrk="1" latinLnBrk="0" hangingPunct="1"/>
                        <a:endParaRPr lang="en-US" sz="1800" kern="1200" baseline="-25000" dirty="0">
                          <a:solidFill>
                            <a:schemeClr val="dk1"/>
                          </a:solidFill>
                          <a:latin typeface="+mn-lt"/>
                          <a:ea typeface="+mn-ea"/>
                          <a:cs typeface="+mn-cs"/>
                        </a:endParaRPr>
                      </a:p>
                    </a:txBody>
                    <a:tcPr/>
                  </a:tc>
                  <a:tc>
                    <a:txBody>
                      <a:bodyPr/>
                      <a:lstStyle/>
                      <a:p>
                        <a:pPr algn="ctr"/>
                        <a:endParaRPr lang="en-US" dirty="0"/>
                      </a:p>
                    </a:txBody>
                    <a:tcPr/>
                  </a:tc>
                  <a:extLst>
                    <a:ext uri="{0D108BD9-81ED-4DB2-BD59-A6C34878D82A}">
                      <a16:rowId xmlns:a16="http://schemas.microsoft.com/office/drawing/2014/main" val="1584197684"/>
                    </a:ext>
                  </a:extLst>
                </a:tr>
                <a:tr h="0">
                  <a:tc>
                    <a:txBody>
                      <a:bodyPr/>
                      <a:lstStyle/>
                      <a:p>
                        <a:pPr algn="ctr"/>
                        <a:r>
                          <a:rPr lang="en-US" sz="1400"/>
                          <a:t>Dummy gates</a:t>
                        </a:r>
                        <a:endParaRPr lang="en-US" sz="1400" dirty="0"/>
                      </a:p>
                    </a:txBody>
                    <a:tcPr/>
                  </a:tc>
                  <a:tc>
                    <a:txBody>
                      <a:bodyPr/>
                      <a:lstStyle/>
                      <a:p>
                        <a:pPr algn="ctr"/>
                        <a:endParaRPr lang="en-US" dirty="0"/>
                      </a:p>
                    </a:txBody>
                    <a:tcPr/>
                  </a:tc>
                  <a:tc>
                    <a:txBody>
                      <a:bodyPr/>
                      <a:lstStyle/>
                      <a:p>
                        <a:pPr marL="0" algn="ctr" defTabSz="1219170" rtl="0" eaLnBrk="1" latinLnBrk="0" hangingPunct="1"/>
                        <a:endParaRPr lang="en-US" sz="1800" kern="1200" baseline="-25000" dirty="0">
                          <a:solidFill>
                            <a:schemeClr val="dk1"/>
                          </a:solidFill>
                          <a:latin typeface="+mn-lt"/>
                          <a:ea typeface="+mn-ea"/>
                          <a:cs typeface="+mn-cs"/>
                        </a:endParaRPr>
                      </a:p>
                    </a:txBody>
                    <a:tcPr/>
                  </a:tc>
                  <a:tc>
                    <a:txBody>
                      <a:bodyPr/>
                      <a:lstStyle/>
                      <a:p>
                        <a:pPr algn="ctr"/>
                        <a:endParaRPr lang="en-US" dirty="0"/>
                      </a:p>
                    </a:txBody>
                    <a:tcPr/>
                  </a:tc>
                  <a:extLst>
                    <a:ext uri="{0D108BD9-81ED-4DB2-BD59-A6C34878D82A}">
                      <a16:rowId xmlns:a16="http://schemas.microsoft.com/office/drawing/2014/main" val="3578255493"/>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a:t>Emitter</a:t>
                        </a:r>
                        <a:endParaRPr lang="en-US" sz="1400" dirty="0"/>
                      </a:p>
                    </a:txBody>
                    <a:tcPr/>
                  </a:tc>
                  <a:tc>
                    <a:txBody>
                      <a:bodyPr/>
                      <a:lstStyle/>
                      <a:p>
                        <a:pPr algn="ctr"/>
                        <a:endParaRPr lang="en-US" dirty="0"/>
                      </a:p>
                    </a:txBody>
                    <a:tcPr/>
                  </a:tc>
                  <a:tc>
                    <a:txBody>
                      <a:bodyPr/>
                      <a:lstStyle/>
                      <a:p>
                        <a:pPr marL="0" algn="ctr" defTabSz="1219170" rtl="0" eaLnBrk="1" latinLnBrk="0" hangingPunct="1"/>
                        <a:endParaRPr lang="en-US" sz="1800" kern="1200" baseline="-25000" dirty="0">
                          <a:solidFill>
                            <a:schemeClr val="dk1"/>
                          </a:solidFill>
                          <a:latin typeface="+mn-lt"/>
                          <a:ea typeface="+mn-ea"/>
                          <a:cs typeface="+mn-cs"/>
                        </a:endParaRPr>
                      </a:p>
                    </a:txBody>
                    <a:tcPr/>
                  </a:tc>
                  <a:tc>
                    <a:txBody>
                      <a:bodyPr/>
                      <a:lstStyle/>
                      <a:p>
                        <a:pPr algn="ctr"/>
                        <a:endParaRPr lang="en-US" dirty="0"/>
                      </a:p>
                    </a:txBody>
                    <a:tcPr/>
                  </a:tc>
                  <a:extLst>
                    <a:ext uri="{0D108BD9-81ED-4DB2-BD59-A6C34878D82A}">
                      <a16:rowId xmlns:a16="http://schemas.microsoft.com/office/drawing/2014/main" val="3061083376"/>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dirty="0"/>
                          <a:t>Gates/</a:t>
                        </a:r>
                        <a:r>
                          <a:rPr lang="en-US" sz="1400"/>
                          <a:t>Emitter ratio</a:t>
                        </a:r>
                        <a:endParaRPr lang="en-US" sz="1400" dirty="0"/>
                      </a:p>
                    </a:txBody>
                    <a:tcPr/>
                  </a:tc>
                  <a:tc>
                    <a:txBody>
                      <a:bodyPr/>
                      <a:lstStyle/>
                      <a:p>
                        <a:pPr algn="ctr"/>
                        <a:endParaRPr lang="en-US" dirty="0"/>
                      </a:p>
                    </a:txBody>
                    <a:tcPr/>
                  </a:tc>
                  <a:tc>
                    <a:txBody>
                      <a:bodyPr/>
                      <a:lstStyle/>
                      <a:p>
                        <a:pPr marL="0" algn="ctr" defTabSz="1219170" rtl="0" eaLnBrk="1" latinLnBrk="0" hangingPunct="1"/>
                        <a:endParaRPr lang="en-US" sz="1800" kern="1200" baseline="-25000" dirty="0">
                          <a:solidFill>
                            <a:schemeClr val="dk1"/>
                          </a:solidFill>
                          <a:latin typeface="+mn-lt"/>
                          <a:ea typeface="+mn-ea"/>
                          <a:cs typeface="+mn-cs"/>
                        </a:endParaRPr>
                      </a:p>
                    </a:txBody>
                    <a:tcPr/>
                  </a:tc>
                  <a:tc>
                    <a:txBody>
                      <a:bodyPr/>
                      <a:lstStyle/>
                      <a:p>
                        <a:pPr algn="ctr"/>
                        <a:endParaRPr lang="en-US" dirty="0"/>
                      </a:p>
                    </a:txBody>
                    <a:tcPr/>
                  </a:tc>
                  <a:extLst>
                    <a:ext uri="{0D108BD9-81ED-4DB2-BD59-A6C34878D82A}">
                      <a16:rowId xmlns:a16="http://schemas.microsoft.com/office/drawing/2014/main" val="2268371124"/>
                    </a:ext>
                  </a:extLst>
                </a:tr>
                <a:tr h="0">
                  <a:tc gridSpan="4">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dirty="0"/>
                          <a:t>Main Influence        Secondary influence</a:t>
                        </a:r>
                      </a:p>
                    </a:txBody>
                    <a:tcPr/>
                  </a:tc>
                  <a:tc hMerge="1">
                    <a:txBody>
                      <a:bodyPr/>
                      <a:lstStyle/>
                      <a:p>
                        <a:pPr algn="ctr"/>
                        <a:endParaRPr lang="de-AT" dirty="0"/>
                      </a:p>
                    </a:txBody>
                    <a:tcPr/>
                  </a:tc>
                  <a:tc hMerge="1">
                    <a:txBody>
                      <a:bodyPr/>
                      <a:lstStyle/>
                      <a:p>
                        <a:pPr marL="0" algn="ctr" defTabSz="1219170" rtl="0" eaLnBrk="1" latinLnBrk="0" hangingPunct="1"/>
                        <a:endParaRPr lang="de-AT" sz="1800" kern="1200" baseline="-25000" dirty="0">
                          <a:solidFill>
                            <a:schemeClr val="dk1"/>
                          </a:solidFill>
                          <a:latin typeface="+mn-lt"/>
                          <a:ea typeface="+mn-ea"/>
                          <a:cs typeface="+mn-cs"/>
                        </a:endParaRPr>
                      </a:p>
                    </a:txBody>
                    <a:tcPr/>
                  </a:tc>
                  <a:tc hMerge="1">
                    <a:txBody>
                      <a:bodyPr/>
                      <a:lstStyle/>
                      <a:p>
                        <a:pPr algn="ctr"/>
                        <a:endParaRPr lang="de-AT" dirty="0"/>
                      </a:p>
                    </a:txBody>
                    <a:tcPr/>
                  </a:tc>
                  <a:extLst>
                    <a:ext uri="{0D108BD9-81ED-4DB2-BD59-A6C34878D82A}">
                      <a16:rowId xmlns:a16="http://schemas.microsoft.com/office/drawing/2014/main" val="1050722463"/>
                    </a:ext>
                  </a:extLst>
                </a:tr>
              </a:tbl>
            </a:graphicData>
          </a:graphic>
        </p:graphicFrame>
        <p:grpSp>
          <p:nvGrpSpPr>
            <p:cNvPr id="54" name="Group 53">
              <a:extLst>
                <a:ext uri="{FF2B5EF4-FFF2-40B4-BE49-F238E27FC236}">
                  <a16:creationId xmlns:a16="http://schemas.microsoft.com/office/drawing/2014/main" id="{13567F69-F6DD-4E00-BFE2-C1CE4D85436D}"/>
                </a:ext>
              </a:extLst>
            </p:cNvPr>
            <p:cNvGrpSpPr>
              <a:grpSpLocks noChangeAspect="1"/>
            </p:cNvGrpSpPr>
            <p:nvPr>
              <p:custDataLst>
                <p:tags r:id="rId4"/>
              </p:custDataLst>
            </p:nvPr>
          </p:nvGrpSpPr>
          <p:grpSpPr>
            <a:xfrm>
              <a:off x="3413401" y="3347661"/>
              <a:ext cx="169493" cy="169493"/>
              <a:chOff x="11566799" y="1268414"/>
              <a:chExt cx="288000" cy="288000"/>
            </a:xfrm>
            <a:solidFill>
              <a:srgbClr val="AB377A"/>
            </a:solidFill>
          </p:grpSpPr>
          <p:sp>
            <p:nvSpPr>
              <p:cNvPr id="55" name="Harvey Ball">
                <a:extLst>
                  <a:ext uri="{FF2B5EF4-FFF2-40B4-BE49-F238E27FC236}">
                    <a16:creationId xmlns:a16="http://schemas.microsoft.com/office/drawing/2014/main" id="{80E00228-CE4D-448F-A242-242EEED010D0}"/>
                  </a:ext>
                </a:extLst>
              </p:cNvPr>
              <p:cNvSpPr>
                <a:spLocks noChangeAspect="1" noChangeArrowheads="1"/>
              </p:cNvSpPr>
              <p:nvPr>
                <p:custDataLst>
                  <p:tags r:id="rId40"/>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56" name="Harvey Ball">
                <a:extLst>
                  <a:ext uri="{FF2B5EF4-FFF2-40B4-BE49-F238E27FC236}">
                    <a16:creationId xmlns:a16="http://schemas.microsoft.com/office/drawing/2014/main" id="{4F739F73-123F-4311-9FA3-22E8E8A8AB0C}"/>
                  </a:ext>
                </a:extLst>
              </p:cNvPr>
              <p:cNvSpPr>
                <a:spLocks noChangeAspect="1"/>
              </p:cNvSpPr>
              <p:nvPr>
                <p:custDataLst>
                  <p:tags r:id="rId41"/>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57" name="Group 56">
              <a:extLst>
                <a:ext uri="{FF2B5EF4-FFF2-40B4-BE49-F238E27FC236}">
                  <a16:creationId xmlns:a16="http://schemas.microsoft.com/office/drawing/2014/main" id="{FE67B7D1-A31E-48CA-BC72-CB5448301DFE}"/>
                </a:ext>
              </a:extLst>
            </p:cNvPr>
            <p:cNvGrpSpPr>
              <a:grpSpLocks noChangeAspect="1"/>
            </p:cNvGrpSpPr>
            <p:nvPr>
              <p:custDataLst>
                <p:tags r:id="rId5"/>
              </p:custDataLst>
            </p:nvPr>
          </p:nvGrpSpPr>
          <p:grpSpPr>
            <a:xfrm>
              <a:off x="3413401" y="3718009"/>
              <a:ext cx="169493" cy="169493"/>
              <a:chOff x="11566799" y="1268414"/>
              <a:chExt cx="288000" cy="288000"/>
            </a:xfrm>
            <a:solidFill>
              <a:srgbClr val="AB377A"/>
            </a:solidFill>
          </p:grpSpPr>
          <p:sp>
            <p:nvSpPr>
              <p:cNvPr id="58" name="Harvey Ball">
                <a:extLst>
                  <a:ext uri="{FF2B5EF4-FFF2-40B4-BE49-F238E27FC236}">
                    <a16:creationId xmlns:a16="http://schemas.microsoft.com/office/drawing/2014/main" id="{8E556117-AD2D-4825-A5CA-1815D33FF2F6}"/>
                  </a:ext>
                </a:extLst>
              </p:cNvPr>
              <p:cNvSpPr>
                <a:spLocks noChangeAspect="1" noChangeArrowheads="1"/>
              </p:cNvSpPr>
              <p:nvPr>
                <p:custDataLst>
                  <p:tags r:id="rId38"/>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59" name="Harvey Ball">
                <a:extLst>
                  <a:ext uri="{FF2B5EF4-FFF2-40B4-BE49-F238E27FC236}">
                    <a16:creationId xmlns:a16="http://schemas.microsoft.com/office/drawing/2014/main" id="{14EC4C6D-DF06-40E6-AED8-AB2CE8774690}"/>
                  </a:ext>
                </a:extLst>
              </p:cNvPr>
              <p:cNvSpPr>
                <a:spLocks noChangeAspect="1"/>
              </p:cNvSpPr>
              <p:nvPr>
                <p:custDataLst>
                  <p:tags r:id="rId39"/>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60" name="Group 59">
              <a:extLst>
                <a:ext uri="{FF2B5EF4-FFF2-40B4-BE49-F238E27FC236}">
                  <a16:creationId xmlns:a16="http://schemas.microsoft.com/office/drawing/2014/main" id="{94A6B899-1F29-4272-A2B0-52504C89B13E}"/>
                </a:ext>
              </a:extLst>
            </p:cNvPr>
            <p:cNvGrpSpPr>
              <a:grpSpLocks noChangeAspect="1"/>
            </p:cNvGrpSpPr>
            <p:nvPr>
              <p:custDataLst>
                <p:tags r:id="rId6"/>
              </p:custDataLst>
            </p:nvPr>
          </p:nvGrpSpPr>
          <p:grpSpPr>
            <a:xfrm>
              <a:off x="4502299" y="4077561"/>
              <a:ext cx="169493" cy="169493"/>
              <a:chOff x="11566799" y="1268414"/>
              <a:chExt cx="288000" cy="288000"/>
            </a:xfrm>
            <a:solidFill>
              <a:srgbClr val="AB377A"/>
            </a:solidFill>
          </p:grpSpPr>
          <p:sp>
            <p:nvSpPr>
              <p:cNvPr id="61" name="Harvey Ball">
                <a:extLst>
                  <a:ext uri="{FF2B5EF4-FFF2-40B4-BE49-F238E27FC236}">
                    <a16:creationId xmlns:a16="http://schemas.microsoft.com/office/drawing/2014/main" id="{251F9AB0-A3A1-4518-A2E7-42ED0422A0D7}"/>
                  </a:ext>
                </a:extLst>
              </p:cNvPr>
              <p:cNvSpPr>
                <a:spLocks noChangeAspect="1" noChangeArrowheads="1"/>
              </p:cNvSpPr>
              <p:nvPr>
                <p:custDataLst>
                  <p:tags r:id="rId36"/>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62" name="Harvey Ball">
                <a:extLst>
                  <a:ext uri="{FF2B5EF4-FFF2-40B4-BE49-F238E27FC236}">
                    <a16:creationId xmlns:a16="http://schemas.microsoft.com/office/drawing/2014/main" id="{0C9BF23C-9A16-425F-9237-B8AA825CEE27}"/>
                  </a:ext>
                </a:extLst>
              </p:cNvPr>
              <p:cNvSpPr>
                <a:spLocks noChangeAspect="1"/>
              </p:cNvSpPr>
              <p:nvPr>
                <p:custDataLst>
                  <p:tags r:id="rId37"/>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63" name="Group 62">
              <a:extLst>
                <a:ext uri="{FF2B5EF4-FFF2-40B4-BE49-F238E27FC236}">
                  <a16:creationId xmlns:a16="http://schemas.microsoft.com/office/drawing/2014/main" id="{7FBB69A4-D9A7-4D7A-A479-7B2389BC9010}"/>
                </a:ext>
              </a:extLst>
            </p:cNvPr>
            <p:cNvGrpSpPr>
              <a:grpSpLocks noChangeAspect="1"/>
            </p:cNvGrpSpPr>
            <p:nvPr>
              <p:custDataLst>
                <p:tags r:id="rId7"/>
              </p:custDataLst>
            </p:nvPr>
          </p:nvGrpSpPr>
          <p:grpSpPr>
            <a:xfrm>
              <a:off x="5489700" y="4454773"/>
              <a:ext cx="169493" cy="169493"/>
              <a:chOff x="11566799" y="1268414"/>
              <a:chExt cx="288000" cy="288000"/>
            </a:xfrm>
            <a:solidFill>
              <a:srgbClr val="AB377A"/>
            </a:solidFill>
          </p:grpSpPr>
          <p:sp>
            <p:nvSpPr>
              <p:cNvPr id="64" name="Harvey Ball">
                <a:extLst>
                  <a:ext uri="{FF2B5EF4-FFF2-40B4-BE49-F238E27FC236}">
                    <a16:creationId xmlns:a16="http://schemas.microsoft.com/office/drawing/2014/main" id="{7CA0DD14-13AF-48DB-BB3A-70412912202C}"/>
                  </a:ext>
                </a:extLst>
              </p:cNvPr>
              <p:cNvSpPr>
                <a:spLocks noChangeAspect="1" noChangeArrowheads="1"/>
              </p:cNvSpPr>
              <p:nvPr>
                <p:custDataLst>
                  <p:tags r:id="rId34"/>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65" name="Harvey Ball">
                <a:extLst>
                  <a:ext uri="{FF2B5EF4-FFF2-40B4-BE49-F238E27FC236}">
                    <a16:creationId xmlns:a16="http://schemas.microsoft.com/office/drawing/2014/main" id="{553F8512-9313-4FE5-A0D1-112E883A7E01}"/>
                  </a:ext>
                </a:extLst>
              </p:cNvPr>
              <p:cNvSpPr>
                <a:spLocks noChangeAspect="1"/>
              </p:cNvSpPr>
              <p:nvPr>
                <p:custDataLst>
                  <p:tags r:id="rId35"/>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66" name="Group 65">
              <a:extLst>
                <a:ext uri="{FF2B5EF4-FFF2-40B4-BE49-F238E27FC236}">
                  <a16:creationId xmlns:a16="http://schemas.microsoft.com/office/drawing/2014/main" id="{6AB168AE-090D-4FF4-A2B9-B41E61CB47CB}"/>
                </a:ext>
              </a:extLst>
            </p:cNvPr>
            <p:cNvGrpSpPr>
              <a:grpSpLocks noChangeAspect="1"/>
            </p:cNvGrpSpPr>
            <p:nvPr>
              <p:custDataLst>
                <p:tags r:id="rId8"/>
              </p:custDataLst>
            </p:nvPr>
          </p:nvGrpSpPr>
          <p:grpSpPr>
            <a:xfrm>
              <a:off x="4502299" y="3356429"/>
              <a:ext cx="169493" cy="169493"/>
              <a:chOff x="11566799" y="1268414"/>
              <a:chExt cx="288000" cy="288000"/>
            </a:xfrm>
            <a:solidFill>
              <a:schemeClr val="bg1">
                <a:lumMod val="75000"/>
              </a:schemeClr>
            </a:solidFill>
          </p:grpSpPr>
          <p:sp>
            <p:nvSpPr>
              <p:cNvPr id="67" name="Harvey Ball">
                <a:extLst>
                  <a:ext uri="{FF2B5EF4-FFF2-40B4-BE49-F238E27FC236}">
                    <a16:creationId xmlns:a16="http://schemas.microsoft.com/office/drawing/2014/main" id="{D5B7F7B7-776C-4B09-B94D-A8509AAB1968}"/>
                  </a:ext>
                </a:extLst>
              </p:cNvPr>
              <p:cNvSpPr>
                <a:spLocks noChangeAspect="1" noChangeArrowheads="1"/>
              </p:cNvSpPr>
              <p:nvPr>
                <p:custDataLst>
                  <p:tags r:id="rId32"/>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68" name="Harvey Ball">
                <a:extLst>
                  <a:ext uri="{FF2B5EF4-FFF2-40B4-BE49-F238E27FC236}">
                    <a16:creationId xmlns:a16="http://schemas.microsoft.com/office/drawing/2014/main" id="{2C86E010-839F-46BE-90B1-7DE5DB38F04B}"/>
                  </a:ext>
                </a:extLst>
              </p:cNvPr>
              <p:cNvSpPr>
                <a:spLocks noChangeAspect="1"/>
              </p:cNvSpPr>
              <p:nvPr>
                <p:custDataLst>
                  <p:tags r:id="rId33"/>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69" name="Group 68">
              <a:extLst>
                <a:ext uri="{FF2B5EF4-FFF2-40B4-BE49-F238E27FC236}">
                  <a16:creationId xmlns:a16="http://schemas.microsoft.com/office/drawing/2014/main" id="{BC6D6228-3A75-43B2-8307-C421006AA750}"/>
                </a:ext>
              </a:extLst>
            </p:cNvPr>
            <p:cNvGrpSpPr>
              <a:grpSpLocks noChangeAspect="1"/>
            </p:cNvGrpSpPr>
            <p:nvPr>
              <p:custDataLst>
                <p:tags r:id="rId9"/>
              </p:custDataLst>
            </p:nvPr>
          </p:nvGrpSpPr>
          <p:grpSpPr>
            <a:xfrm>
              <a:off x="4502299" y="3718009"/>
              <a:ext cx="169493" cy="169493"/>
              <a:chOff x="11566799" y="1268414"/>
              <a:chExt cx="288000" cy="288000"/>
            </a:xfrm>
            <a:solidFill>
              <a:schemeClr val="bg1">
                <a:lumMod val="75000"/>
              </a:schemeClr>
            </a:solidFill>
          </p:grpSpPr>
          <p:sp>
            <p:nvSpPr>
              <p:cNvPr id="70" name="Harvey Ball">
                <a:extLst>
                  <a:ext uri="{FF2B5EF4-FFF2-40B4-BE49-F238E27FC236}">
                    <a16:creationId xmlns:a16="http://schemas.microsoft.com/office/drawing/2014/main" id="{982CF771-9BE6-426E-8444-57E7D5CAB3D3}"/>
                  </a:ext>
                </a:extLst>
              </p:cNvPr>
              <p:cNvSpPr>
                <a:spLocks noChangeAspect="1" noChangeArrowheads="1"/>
              </p:cNvSpPr>
              <p:nvPr>
                <p:custDataLst>
                  <p:tags r:id="rId30"/>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71" name="Harvey Ball">
                <a:extLst>
                  <a:ext uri="{FF2B5EF4-FFF2-40B4-BE49-F238E27FC236}">
                    <a16:creationId xmlns:a16="http://schemas.microsoft.com/office/drawing/2014/main" id="{E49D0E40-5F31-4070-AF0F-B7D12FE2FBEF}"/>
                  </a:ext>
                </a:extLst>
              </p:cNvPr>
              <p:cNvSpPr>
                <a:spLocks noChangeAspect="1"/>
              </p:cNvSpPr>
              <p:nvPr>
                <p:custDataLst>
                  <p:tags r:id="rId31"/>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72" name="Group 71">
              <a:extLst>
                <a:ext uri="{FF2B5EF4-FFF2-40B4-BE49-F238E27FC236}">
                  <a16:creationId xmlns:a16="http://schemas.microsoft.com/office/drawing/2014/main" id="{FE3C1A1C-C22C-4CA8-B1C0-3608E7357660}"/>
                </a:ext>
              </a:extLst>
            </p:cNvPr>
            <p:cNvGrpSpPr>
              <a:grpSpLocks noChangeAspect="1"/>
            </p:cNvGrpSpPr>
            <p:nvPr>
              <p:custDataLst>
                <p:tags r:id="rId10"/>
              </p:custDataLst>
            </p:nvPr>
          </p:nvGrpSpPr>
          <p:grpSpPr>
            <a:xfrm>
              <a:off x="3412568" y="4088357"/>
              <a:ext cx="169493" cy="169493"/>
              <a:chOff x="11566799" y="1268414"/>
              <a:chExt cx="288000" cy="288000"/>
            </a:xfrm>
            <a:solidFill>
              <a:schemeClr val="bg1">
                <a:lumMod val="75000"/>
              </a:schemeClr>
            </a:solidFill>
          </p:grpSpPr>
          <p:sp>
            <p:nvSpPr>
              <p:cNvPr id="73" name="Harvey Ball">
                <a:extLst>
                  <a:ext uri="{FF2B5EF4-FFF2-40B4-BE49-F238E27FC236}">
                    <a16:creationId xmlns:a16="http://schemas.microsoft.com/office/drawing/2014/main" id="{50D42724-3031-429A-A30C-ADFB5A3CF4F6}"/>
                  </a:ext>
                </a:extLst>
              </p:cNvPr>
              <p:cNvSpPr>
                <a:spLocks noChangeAspect="1" noChangeArrowheads="1"/>
              </p:cNvSpPr>
              <p:nvPr>
                <p:custDataLst>
                  <p:tags r:id="rId28"/>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74" name="Harvey Ball">
                <a:extLst>
                  <a:ext uri="{FF2B5EF4-FFF2-40B4-BE49-F238E27FC236}">
                    <a16:creationId xmlns:a16="http://schemas.microsoft.com/office/drawing/2014/main" id="{5CEED36E-16B9-452E-AC55-686C7D4492A7}"/>
                  </a:ext>
                </a:extLst>
              </p:cNvPr>
              <p:cNvSpPr>
                <a:spLocks noChangeAspect="1"/>
              </p:cNvSpPr>
              <p:nvPr>
                <p:custDataLst>
                  <p:tags r:id="rId29"/>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78" name="Group 77">
              <a:extLst>
                <a:ext uri="{FF2B5EF4-FFF2-40B4-BE49-F238E27FC236}">
                  <a16:creationId xmlns:a16="http://schemas.microsoft.com/office/drawing/2014/main" id="{15B5BA28-1499-4561-B5FF-28EB2538C878}"/>
                </a:ext>
              </a:extLst>
            </p:cNvPr>
            <p:cNvGrpSpPr>
              <a:grpSpLocks noChangeAspect="1"/>
            </p:cNvGrpSpPr>
            <p:nvPr>
              <p:custDataLst>
                <p:tags r:id="rId11"/>
              </p:custDataLst>
            </p:nvPr>
          </p:nvGrpSpPr>
          <p:grpSpPr>
            <a:xfrm>
              <a:off x="5506694" y="3347661"/>
              <a:ext cx="169493" cy="169493"/>
              <a:chOff x="11566799" y="1268414"/>
              <a:chExt cx="288000" cy="288000"/>
            </a:xfrm>
            <a:solidFill>
              <a:schemeClr val="bg1">
                <a:lumMod val="75000"/>
              </a:schemeClr>
            </a:solidFill>
          </p:grpSpPr>
          <p:sp>
            <p:nvSpPr>
              <p:cNvPr id="79" name="Harvey Ball">
                <a:extLst>
                  <a:ext uri="{FF2B5EF4-FFF2-40B4-BE49-F238E27FC236}">
                    <a16:creationId xmlns:a16="http://schemas.microsoft.com/office/drawing/2014/main" id="{0661297B-0ECB-4D93-B57A-3862EF7F01E8}"/>
                  </a:ext>
                </a:extLst>
              </p:cNvPr>
              <p:cNvSpPr>
                <a:spLocks noChangeAspect="1" noChangeArrowheads="1"/>
              </p:cNvSpPr>
              <p:nvPr>
                <p:custDataLst>
                  <p:tags r:id="rId26"/>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80" name="Harvey Ball">
                <a:extLst>
                  <a:ext uri="{FF2B5EF4-FFF2-40B4-BE49-F238E27FC236}">
                    <a16:creationId xmlns:a16="http://schemas.microsoft.com/office/drawing/2014/main" id="{F8AED196-5989-4CDD-9D2D-BF21D20105C5}"/>
                  </a:ext>
                </a:extLst>
              </p:cNvPr>
              <p:cNvSpPr>
                <a:spLocks noChangeAspect="1"/>
              </p:cNvSpPr>
              <p:nvPr>
                <p:custDataLst>
                  <p:tags r:id="rId27"/>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81" name="Group 80">
              <a:extLst>
                <a:ext uri="{FF2B5EF4-FFF2-40B4-BE49-F238E27FC236}">
                  <a16:creationId xmlns:a16="http://schemas.microsoft.com/office/drawing/2014/main" id="{F5B289B9-6BC0-4E02-B02E-42107153A49F}"/>
                </a:ext>
              </a:extLst>
            </p:cNvPr>
            <p:cNvGrpSpPr>
              <a:grpSpLocks noChangeAspect="1"/>
            </p:cNvGrpSpPr>
            <p:nvPr>
              <p:custDataLst>
                <p:tags r:id="rId12"/>
              </p:custDataLst>
            </p:nvPr>
          </p:nvGrpSpPr>
          <p:grpSpPr>
            <a:xfrm>
              <a:off x="5489700" y="3718009"/>
              <a:ext cx="169493" cy="169493"/>
              <a:chOff x="11566799" y="1268414"/>
              <a:chExt cx="288000" cy="288000"/>
            </a:xfrm>
            <a:solidFill>
              <a:schemeClr val="bg1">
                <a:lumMod val="75000"/>
              </a:schemeClr>
            </a:solidFill>
          </p:grpSpPr>
          <p:sp>
            <p:nvSpPr>
              <p:cNvPr id="82" name="Harvey Ball">
                <a:extLst>
                  <a:ext uri="{FF2B5EF4-FFF2-40B4-BE49-F238E27FC236}">
                    <a16:creationId xmlns:a16="http://schemas.microsoft.com/office/drawing/2014/main" id="{31CE5D82-617B-456E-879D-057782AD5ECA}"/>
                  </a:ext>
                </a:extLst>
              </p:cNvPr>
              <p:cNvSpPr>
                <a:spLocks noChangeAspect="1" noChangeArrowheads="1"/>
              </p:cNvSpPr>
              <p:nvPr>
                <p:custDataLst>
                  <p:tags r:id="rId24"/>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83" name="Harvey Ball">
                <a:extLst>
                  <a:ext uri="{FF2B5EF4-FFF2-40B4-BE49-F238E27FC236}">
                    <a16:creationId xmlns:a16="http://schemas.microsoft.com/office/drawing/2014/main" id="{F589852D-4AD9-4F8D-816D-3C006BF8D536}"/>
                  </a:ext>
                </a:extLst>
              </p:cNvPr>
              <p:cNvSpPr>
                <a:spLocks noChangeAspect="1"/>
              </p:cNvSpPr>
              <p:nvPr>
                <p:custDataLst>
                  <p:tags r:id="rId25"/>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84" name="Group 83">
              <a:extLst>
                <a:ext uri="{FF2B5EF4-FFF2-40B4-BE49-F238E27FC236}">
                  <a16:creationId xmlns:a16="http://schemas.microsoft.com/office/drawing/2014/main" id="{4F6093D9-5687-4101-B140-741E6EFA2558}"/>
                </a:ext>
              </a:extLst>
            </p:cNvPr>
            <p:cNvGrpSpPr>
              <a:grpSpLocks noChangeAspect="1"/>
            </p:cNvGrpSpPr>
            <p:nvPr>
              <p:custDataLst>
                <p:tags r:id="rId13"/>
              </p:custDataLst>
            </p:nvPr>
          </p:nvGrpSpPr>
          <p:grpSpPr>
            <a:xfrm>
              <a:off x="5489699" y="4084425"/>
              <a:ext cx="169493" cy="169493"/>
              <a:chOff x="11566799" y="1268414"/>
              <a:chExt cx="288000" cy="288000"/>
            </a:xfrm>
            <a:solidFill>
              <a:schemeClr val="bg1">
                <a:lumMod val="75000"/>
              </a:schemeClr>
            </a:solidFill>
          </p:grpSpPr>
          <p:sp>
            <p:nvSpPr>
              <p:cNvPr id="85" name="Harvey Ball">
                <a:extLst>
                  <a:ext uri="{FF2B5EF4-FFF2-40B4-BE49-F238E27FC236}">
                    <a16:creationId xmlns:a16="http://schemas.microsoft.com/office/drawing/2014/main" id="{DF759E29-445E-4B3E-B54F-81E007467D89}"/>
                  </a:ext>
                </a:extLst>
              </p:cNvPr>
              <p:cNvSpPr>
                <a:spLocks noChangeAspect="1" noChangeArrowheads="1"/>
              </p:cNvSpPr>
              <p:nvPr>
                <p:custDataLst>
                  <p:tags r:id="rId22"/>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86" name="Harvey Ball">
                <a:extLst>
                  <a:ext uri="{FF2B5EF4-FFF2-40B4-BE49-F238E27FC236}">
                    <a16:creationId xmlns:a16="http://schemas.microsoft.com/office/drawing/2014/main" id="{ACD1C778-9AEC-4C00-BEEB-AEDCA221D874}"/>
                  </a:ext>
                </a:extLst>
              </p:cNvPr>
              <p:cNvSpPr>
                <a:spLocks noChangeAspect="1"/>
              </p:cNvSpPr>
              <p:nvPr>
                <p:custDataLst>
                  <p:tags r:id="rId23"/>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87" name="Group 86">
              <a:extLst>
                <a:ext uri="{FF2B5EF4-FFF2-40B4-BE49-F238E27FC236}">
                  <a16:creationId xmlns:a16="http://schemas.microsoft.com/office/drawing/2014/main" id="{24A4670C-BA1B-4AB0-916A-AE0A0FD95F70}"/>
                </a:ext>
              </a:extLst>
            </p:cNvPr>
            <p:cNvGrpSpPr>
              <a:grpSpLocks noChangeAspect="1"/>
            </p:cNvGrpSpPr>
            <p:nvPr>
              <p:custDataLst>
                <p:tags r:id="rId14"/>
              </p:custDataLst>
            </p:nvPr>
          </p:nvGrpSpPr>
          <p:grpSpPr>
            <a:xfrm>
              <a:off x="3412567" y="4454772"/>
              <a:ext cx="169493" cy="169493"/>
              <a:chOff x="11566799" y="1268414"/>
              <a:chExt cx="288000" cy="288000"/>
            </a:xfrm>
            <a:solidFill>
              <a:schemeClr val="bg1">
                <a:lumMod val="75000"/>
              </a:schemeClr>
            </a:solidFill>
          </p:grpSpPr>
          <p:sp>
            <p:nvSpPr>
              <p:cNvPr id="88" name="Harvey Ball">
                <a:extLst>
                  <a:ext uri="{FF2B5EF4-FFF2-40B4-BE49-F238E27FC236}">
                    <a16:creationId xmlns:a16="http://schemas.microsoft.com/office/drawing/2014/main" id="{D0E4BCAA-B0B1-444A-B37D-6B1B33720D7C}"/>
                  </a:ext>
                </a:extLst>
              </p:cNvPr>
              <p:cNvSpPr>
                <a:spLocks noChangeAspect="1" noChangeArrowheads="1"/>
              </p:cNvSpPr>
              <p:nvPr>
                <p:custDataLst>
                  <p:tags r:id="rId20"/>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89" name="Harvey Ball">
                <a:extLst>
                  <a:ext uri="{FF2B5EF4-FFF2-40B4-BE49-F238E27FC236}">
                    <a16:creationId xmlns:a16="http://schemas.microsoft.com/office/drawing/2014/main" id="{1C11C81D-6C35-45FB-A7D4-B3A87C11270E}"/>
                  </a:ext>
                </a:extLst>
              </p:cNvPr>
              <p:cNvSpPr>
                <a:spLocks noChangeAspect="1"/>
              </p:cNvSpPr>
              <p:nvPr>
                <p:custDataLst>
                  <p:tags r:id="rId21"/>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grpSp>
          <p:nvGrpSpPr>
            <p:cNvPr id="90" name="Group 89">
              <a:extLst>
                <a:ext uri="{FF2B5EF4-FFF2-40B4-BE49-F238E27FC236}">
                  <a16:creationId xmlns:a16="http://schemas.microsoft.com/office/drawing/2014/main" id="{1E89CCEE-71D0-4679-8305-0D99B890B9E1}"/>
                </a:ext>
              </a:extLst>
            </p:cNvPr>
            <p:cNvGrpSpPr>
              <a:grpSpLocks noChangeAspect="1"/>
            </p:cNvGrpSpPr>
            <p:nvPr>
              <p:custDataLst>
                <p:tags r:id="rId15"/>
              </p:custDataLst>
            </p:nvPr>
          </p:nvGrpSpPr>
          <p:grpSpPr>
            <a:xfrm>
              <a:off x="4502299" y="4458489"/>
              <a:ext cx="169493" cy="169493"/>
              <a:chOff x="11566799" y="1268414"/>
              <a:chExt cx="288000" cy="288000"/>
            </a:xfrm>
            <a:solidFill>
              <a:schemeClr val="bg1">
                <a:lumMod val="75000"/>
              </a:schemeClr>
            </a:solidFill>
          </p:grpSpPr>
          <p:sp>
            <p:nvSpPr>
              <p:cNvPr id="91" name="Harvey Ball">
                <a:extLst>
                  <a:ext uri="{FF2B5EF4-FFF2-40B4-BE49-F238E27FC236}">
                    <a16:creationId xmlns:a16="http://schemas.microsoft.com/office/drawing/2014/main" id="{41C7CE83-134E-4253-9624-CBB662F2CB6D}"/>
                  </a:ext>
                </a:extLst>
              </p:cNvPr>
              <p:cNvSpPr>
                <a:spLocks noChangeAspect="1" noChangeArrowheads="1"/>
              </p:cNvSpPr>
              <p:nvPr>
                <p:custDataLst>
                  <p:tags r:id="rId18"/>
                </p:custDataLst>
              </p:nvPr>
            </p:nvSpPr>
            <p:spPr bwMode="auto">
              <a:xfrm>
                <a:off x="11566799" y="1268414"/>
                <a:ext cx="288000" cy="288000"/>
              </a:xfrm>
              <a:prstGeom prst="ellipse">
                <a:avLst/>
              </a:prstGeom>
              <a:grpFill/>
              <a:ln w="254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92" name="Harvey Ball">
                <a:extLst>
                  <a:ext uri="{FF2B5EF4-FFF2-40B4-BE49-F238E27FC236}">
                    <a16:creationId xmlns:a16="http://schemas.microsoft.com/office/drawing/2014/main" id="{7C215FE1-ADDB-47ED-B12F-342BD668835B}"/>
                  </a:ext>
                </a:extLst>
              </p:cNvPr>
              <p:cNvSpPr>
                <a:spLocks noChangeAspect="1"/>
              </p:cNvSpPr>
              <p:nvPr>
                <p:custDataLst>
                  <p:tags r:id="rId19"/>
                </p:custDataLst>
              </p:nvPr>
            </p:nvSpPr>
            <p:spPr bwMode="auto">
              <a:xfrm>
                <a:off x="11566799" y="1268414"/>
                <a:ext cx="288000" cy="288000"/>
              </a:xfrm>
              <a:prstGeom prst="pie">
                <a:avLst>
                  <a:gd name="adj1" fmla="val 16200000"/>
                  <a:gd name="adj2" fmla="val 16200000"/>
                </a:avLst>
              </a:prstGeom>
              <a:grpFill/>
              <a:ln w="12700" cap="flat" cmpd="sng" algn="ctr">
                <a:noFill/>
                <a:prstDash val="solid"/>
                <a:round/>
                <a:headEnd type="none" w="med" len="med"/>
                <a:tailEnd type="none" w="med" len="med"/>
              </a:ln>
              <a:effectLst/>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sp>
          <p:nvSpPr>
            <p:cNvPr id="94" name="Harvey Ball">
              <a:extLst>
                <a:ext uri="{FF2B5EF4-FFF2-40B4-BE49-F238E27FC236}">
                  <a16:creationId xmlns:a16="http://schemas.microsoft.com/office/drawing/2014/main" id="{05E77876-B324-4320-8F45-B4BAC4FC9142}"/>
                </a:ext>
              </a:extLst>
            </p:cNvPr>
            <p:cNvSpPr>
              <a:spLocks noChangeAspect="1" noChangeArrowheads="1"/>
            </p:cNvSpPr>
            <p:nvPr>
              <p:custDataLst>
                <p:tags r:id="rId16"/>
              </p:custDataLst>
            </p:nvPr>
          </p:nvSpPr>
          <p:spPr bwMode="auto">
            <a:xfrm>
              <a:off x="2899655" y="4765311"/>
              <a:ext cx="169493" cy="169493"/>
            </a:xfrm>
            <a:prstGeom prst="ellipse">
              <a:avLst/>
            </a:prstGeom>
            <a:solidFill>
              <a:srgbClr val="AB377A"/>
            </a:solidFill>
            <a:ln w="127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sp>
          <p:nvSpPr>
            <p:cNvPr id="97" name="Harvey Ball">
              <a:extLst>
                <a:ext uri="{FF2B5EF4-FFF2-40B4-BE49-F238E27FC236}">
                  <a16:creationId xmlns:a16="http://schemas.microsoft.com/office/drawing/2014/main" id="{4838ECED-7ADC-4152-9678-CC6D1BEE43C7}"/>
                </a:ext>
              </a:extLst>
            </p:cNvPr>
            <p:cNvSpPr>
              <a:spLocks noChangeAspect="1" noChangeArrowheads="1"/>
            </p:cNvSpPr>
            <p:nvPr>
              <p:custDataLst>
                <p:tags r:id="rId17"/>
              </p:custDataLst>
            </p:nvPr>
          </p:nvSpPr>
          <p:spPr bwMode="auto">
            <a:xfrm>
              <a:off x="4855720" y="4771474"/>
              <a:ext cx="169491" cy="169493"/>
            </a:xfrm>
            <a:prstGeom prst="ellipse">
              <a:avLst/>
            </a:prstGeom>
            <a:solidFill>
              <a:schemeClr val="bg1">
                <a:lumMod val="75000"/>
              </a:schemeClr>
            </a:solidFill>
            <a:ln w="12700" algn="ctr">
              <a:solidFill>
                <a:schemeClr val="accent3"/>
              </a:solidFill>
              <a:round/>
              <a:headEnd/>
              <a:tailEnd/>
            </a:ln>
          </p:spPr>
          <p:txBody>
            <a:bodyPr anchor="ctr"/>
            <a:lstStyle/>
            <a:p>
              <a:pPr marL="0" marR="0" lvl="0" indent="0" algn="ctr" defTabSz="914400" rtl="0" eaLnBrk="1" fontAlgn="base" latinLnBrk="0" hangingPunct="1">
                <a:lnSpc>
                  <a:spcPct val="100000"/>
                </a:lnSpc>
                <a:spcBef>
                  <a:spcPct val="50000"/>
                </a:spcBef>
                <a:spcAft>
                  <a:spcPct val="0"/>
                </a:spcAft>
                <a:buClr>
                  <a:srgbClr val="928285"/>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Arial" pitchFamily="34" charset="0"/>
                <a:cs typeface="Arial"/>
              </a:endParaRPr>
            </a:p>
          </p:txBody>
        </p:sp>
      </p:grpSp>
      <p:pic>
        <p:nvPicPr>
          <p:cNvPr id="107" name="Picture 106">
            <a:extLst>
              <a:ext uri="{FF2B5EF4-FFF2-40B4-BE49-F238E27FC236}">
                <a16:creationId xmlns:a16="http://schemas.microsoft.com/office/drawing/2014/main" id="{38EBE318-DCDC-43AC-B7FA-0A7D151FE25C}"/>
              </a:ext>
            </a:extLst>
          </p:cNvPr>
          <p:cNvPicPr>
            <a:picLocks noChangeAspect="1"/>
          </p:cNvPicPr>
          <p:nvPr/>
        </p:nvPicPr>
        <p:blipFill>
          <a:blip r:embed="rId44">
            <a:clrChange>
              <a:clrFrom>
                <a:srgbClr val="FFFFFF"/>
              </a:clrFrom>
              <a:clrTo>
                <a:srgbClr val="FFFFFF">
                  <a:alpha val="0"/>
                </a:srgbClr>
              </a:clrTo>
            </a:clrChange>
          </a:blip>
          <a:stretch>
            <a:fillRect/>
          </a:stretch>
        </p:blipFill>
        <p:spPr>
          <a:xfrm>
            <a:off x="6592365" y="1268413"/>
            <a:ext cx="3680099" cy="2520949"/>
          </a:xfrm>
          <a:prstGeom prst="rect">
            <a:avLst/>
          </a:prstGeom>
        </p:spPr>
      </p:pic>
      <p:sp>
        <p:nvSpPr>
          <p:cNvPr id="108" name="TextBox 107">
            <a:extLst>
              <a:ext uri="{FF2B5EF4-FFF2-40B4-BE49-F238E27FC236}">
                <a16:creationId xmlns:a16="http://schemas.microsoft.com/office/drawing/2014/main" id="{934522D5-DB2A-4F27-9DC2-C95A08595CC6}"/>
              </a:ext>
            </a:extLst>
          </p:cNvPr>
          <p:cNvSpPr txBox="1"/>
          <p:nvPr/>
        </p:nvSpPr>
        <p:spPr bwMode="auto">
          <a:xfrm>
            <a:off x="6361325" y="1360136"/>
            <a:ext cx="1080120" cy="243922"/>
          </a:xfrm>
          <a:prstGeom prst="rect">
            <a:avLst/>
          </a:prstGeom>
          <a:noFill/>
          <a:ln w="9525">
            <a:noFill/>
            <a:miter lim="800000"/>
            <a:headEnd/>
            <a:tailEnd/>
          </a:ln>
          <a:effectLst/>
        </p:spPr>
        <p:txBody>
          <a:bodyPr wrap="square" lIns="0" tIns="0" rIns="0" bIns="0" rtlCol="0" anchor="ctr" anchorCtr="0">
            <a:noAutofit/>
          </a:bodyPr>
          <a:lstStyle/>
          <a:p>
            <a:pPr marL="0" marR="0" lvl="0" indent="0" algn="l" defTabSz="576000" rtl="0" eaLnBrk="0" fontAlgn="auto" latinLnBrk="0" hangingPunct="0">
              <a:lnSpc>
                <a:spcPct val="100000"/>
              </a:lnSpc>
              <a:spcBef>
                <a:spcPts val="0"/>
              </a:spcBef>
              <a:spcAft>
                <a:spcPts val="0"/>
              </a:spcAft>
              <a:buClr>
                <a:srgbClr val="E30034"/>
              </a:buClr>
              <a:buSzTx/>
              <a:buFontTx/>
              <a:buNone/>
              <a:tabLst/>
              <a:defRPr/>
            </a:pPr>
            <a:r>
              <a:rPr kumimoji="0" lang="en-US" sz="1400" b="0" i="0" u="none" strike="noStrike" kern="0" cap="none" spc="0" normalizeH="0" baseline="0" noProof="0">
                <a:ln>
                  <a:noFill/>
                </a:ln>
                <a:solidFill>
                  <a:schemeClr val="dk1"/>
                </a:solidFill>
                <a:effectLst/>
                <a:uLnTx/>
                <a:uFillTx/>
                <a:latin typeface="Arial"/>
                <a:ea typeface="+mn-ea"/>
                <a:cs typeface="Arial"/>
              </a:rPr>
              <a:t>Dummy gate</a:t>
            </a:r>
            <a:endParaRPr kumimoji="0" lang="en-US" sz="1400" b="0" i="0" u="none" strike="noStrike" kern="0" cap="none" spc="0" normalizeH="0" baseline="0" noProof="0" dirty="0">
              <a:ln>
                <a:noFill/>
              </a:ln>
              <a:solidFill>
                <a:schemeClr val="dk1"/>
              </a:solidFill>
              <a:effectLst/>
              <a:uLnTx/>
              <a:uFillTx/>
              <a:latin typeface="Arial"/>
              <a:ea typeface="+mn-ea"/>
              <a:cs typeface="Arial"/>
            </a:endParaRPr>
          </a:p>
        </p:txBody>
      </p:sp>
      <p:sp>
        <p:nvSpPr>
          <p:cNvPr id="109" name="TextBox 108">
            <a:extLst>
              <a:ext uri="{FF2B5EF4-FFF2-40B4-BE49-F238E27FC236}">
                <a16:creationId xmlns:a16="http://schemas.microsoft.com/office/drawing/2014/main" id="{10E34106-7236-451F-8F04-AD377D49FEA7}"/>
              </a:ext>
            </a:extLst>
          </p:cNvPr>
          <p:cNvSpPr txBox="1"/>
          <p:nvPr/>
        </p:nvSpPr>
        <p:spPr bwMode="auto">
          <a:xfrm>
            <a:off x="6255953" y="2494153"/>
            <a:ext cx="1324674" cy="243922"/>
          </a:xfrm>
          <a:prstGeom prst="rect">
            <a:avLst/>
          </a:prstGeom>
          <a:noFill/>
          <a:ln w="9525">
            <a:noFill/>
            <a:miter lim="800000"/>
            <a:headEnd/>
            <a:tailEnd/>
          </a:ln>
          <a:effectLst/>
        </p:spPr>
        <p:txBody>
          <a:bodyPr wrap="square" lIns="0" tIns="0" rIns="0" bIns="0" rtlCol="0" anchor="ctr" anchorCtr="0">
            <a:noAutofit/>
          </a:bodyPr>
          <a:lstStyle/>
          <a:p>
            <a:pPr marL="0" marR="0" lvl="0" indent="0" algn="l" defTabSz="576000" rtl="0" eaLnBrk="0" fontAlgn="auto" latinLnBrk="0" hangingPunct="0">
              <a:lnSpc>
                <a:spcPct val="100000"/>
              </a:lnSpc>
              <a:spcBef>
                <a:spcPts val="0"/>
              </a:spcBef>
              <a:spcAft>
                <a:spcPts val="0"/>
              </a:spcAft>
              <a:buClr>
                <a:srgbClr val="E30034"/>
              </a:buClr>
              <a:buSzTx/>
              <a:buFontTx/>
              <a:buNone/>
              <a:tabLst/>
              <a:defRPr/>
            </a:pPr>
            <a:r>
              <a:rPr kumimoji="0" lang="en-US" sz="1400" b="0" i="0" u="none" strike="noStrike" kern="0" cap="none" spc="0" normalizeH="0" baseline="0" noProof="0" dirty="0">
                <a:ln>
                  <a:noFill/>
                </a:ln>
                <a:solidFill>
                  <a:schemeClr val="dk1"/>
                </a:solidFill>
                <a:effectLst/>
                <a:uLnTx/>
                <a:uFillTx/>
                <a:latin typeface="Arial"/>
                <a:cs typeface="Arial"/>
              </a:rPr>
              <a:t>Emitter trenches</a:t>
            </a:r>
          </a:p>
        </p:txBody>
      </p:sp>
      <p:sp>
        <p:nvSpPr>
          <p:cNvPr id="7" name="06 Text 16pt with bullet">
            <a:extLst>
              <a:ext uri="{FF2B5EF4-FFF2-40B4-BE49-F238E27FC236}">
                <a16:creationId xmlns:a16="http://schemas.microsoft.com/office/drawing/2014/main" id="{7BF362A1-2212-41B2-497E-A16569FDFBF4}"/>
              </a:ext>
            </a:extLst>
          </p:cNvPr>
          <p:cNvSpPr txBox="1"/>
          <p:nvPr>
            <p:custDataLst>
              <p:tags r:id="rId1"/>
            </p:custDataLst>
          </p:nvPr>
        </p:nvSpPr>
        <p:spPr bwMode="auto">
          <a:xfrm>
            <a:off x="1088406" y="4822540"/>
            <a:ext cx="5133386" cy="873755"/>
          </a:xfrm>
          <a:prstGeom prst="rect">
            <a:avLst/>
          </a:prstGeom>
          <a:noFill/>
          <a:ln w="9525">
            <a:noFill/>
            <a:miter lim="800000"/>
            <a:headEnd/>
            <a:tailEnd/>
          </a:ln>
          <a:effectLst/>
        </p:spPr>
        <p:txBody>
          <a:bodyPr wrap="square" lIns="0" tIns="0" rIns="0" bIns="0" rtlCol="0" anchor="t" anchorCtr="0">
            <a:noAutofit/>
          </a:bodyPr>
          <a:lstStyle/>
          <a:p>
            <a:pPr marR="0" algn="l" defTabSz="576000" eaLnBrk="0" fontAlgn="auto" latinLnBrk="0" hangingPunct="0">
              <a:spcBef>
                <a:spcPts val="0"/>
              </a:spcBef>
              <a:spcAft>
                <a:spcPts val="0"/>
              </a:spcAft>
              <a:buClr>
                <a:schemeClr val="accent1"/>
              </a:buClr>
              <a:buSzTx/>
              <a:tabLst/>
            </a:pPr>
            <a:r>
              <a:rPr lang="en-US" sz="1800" kern="0" baseline="0" dirty="0">
                <a:latin typeface="+mn-lt"/>
                <a:ea typeface="+mn-ea"/>
                <a:cs typeface="+mn-cs"/>
              </a:rPr>
              <a:t>What is </a:t>
            </a:r>
            <a:r>
              <a:rPr lang="en-US" sz="1800" b="1" kern="0" baseline="0" dirty="0">
                <a:latin typeface="+mn-lt"/>
                <a:ea typeface="+mn-ea"/>
                <a:cs typeface="+mn-cs"/>
              </a:rPr>
              <a:t>the Micro-Pattern-Trench (MPT)?</a:t>
            </a:r>
          </a:p>
          <a:p>
            <a:pPr marL="895335" lvl="1" indent="-285750" defTabSz="576000" eaLnBrk="0" fontAlgn="auto" hangingPunct="0">
              <a:spcBef>
                <a:spcPts val="0"/>
              </a:spcBef>
              <a:spcAft>
                <a:spcPts val="0"/>
              </a:spcAft>
              <a:buClr>
                <a:schemeClr val="accent1"/>
              </a:buClr>
              <a:buFont typeface="Arial" panose="020B0604020202020204" pitchFamily="34" charset="0"/>
              <a:buChar char="‒"/>
            </a:pPr>
            <a:r>
              <a:rPr lang="en-US" sz="1800" kern="0" baseline="0" dirty="0">
                <a:latin typeface="+mn-lt"/>
                <a:ea typeface="+mn-ea"/>
                <a:cs typeface="+mn-cs"/>
              </a:rPr>
              <a:t>Trench potentials designed for optimal capacitance behavior</a:t>
            </a:r>
          </a:p>
        </p:txBody>
      </p:sp>
      <p:sp>
        <p:nvSpPr>
          <p:cNvPr id="8" name="06 Text 16pt with bullet">
            <a:extLst>
              <a:ext uri="{FF2B5EF4-FFF2-40B4-BE49-F238E27FC236}">
                <a16:creationId xmlns:a16="http://schemas.microsoft.com/office/drawing/2014/main" id="{41AF0CC9-5D34-0A20-2AA5-E8F5AB7CC900}"/>
              </a:ext>
            </a:extLst>
          </p:cNvPr>
          <p:cNvSpPr txBox="1"/>
          <p:nvPr>
            <p:custDataLst>
              <p:tags r:id="rId2"/>
            </p:custDataLst>
          </p:nvPr>
        </p:nvSpPr>
        <p:spPr bwMode="auto">
          <a:xfrm>
            <a:off x="386550" y="1332305"/>
            <a:ext cx="5733682" cy="2672759"/>
          </a:xfrm>
          <a:prstGeom prst="rect">
            <a:avLst/>
          </a:prstGeom>
          <a:noFill/>
          <a:ln w="9525">
            <a:noFill/>
            <a:miter lim="800000"/>
            <a:headEnd/>
            <a:tailEnd/>
          </a:ln>
          <a:effectLst/>
        </p:spPr>
        <p:txBody>
          <a:bodyPr wrap="square" lIns="0" tIns="0" rIns="0" bIns="0" rtlCol="0" anchor="t" anchorCtr="0">
            <a:noAutofit/>
          </a:bodyPr>
          <a:lstStyle/>
          <a:p>
            <a:pPr marR="0" algn="l" defTabSz="576000" eaLnBrk="0" fontAlgn="auto" latinLnBrk="0" hangingPunct="0">
              <a:spcBef>
                <a:spcPts val="0"/>
              </a:spcBef>
              <a:spcAft>
                <a:spcPts val="0"/>
              </a:spcAft>
              <a:buClr>
                <a:schemeClr val="accent1"/>
              </a:buClr>
              <a:buSzTx/>
              <a:tabLst/>
            </a:pPr>
            <a:r>
              <a:rPr lang="en-US" sz="1800" kern="0" baseline="0" dirty="0">
                <a:latin typeface="+mn-lt"/>
                <a:ea typeface="+mn-ea"/>
                <a:cs typeface="+mn-cs"/>
              </a:rPr>
              <a:t>Channel width engineering:</a:t>
            </a:r>
          </a:p>
          <a:p>
            <a:pPr marL="285750" indent="-285750" defTabSz="576000" eaLnBrk="0" fontAlgn="auto" hangingPunct="0">
              <a:spcBef>
                <a:spcPts val="0"/>
              </a:spcBef>
              <a:spcAft>
                <a:spcPts val="0"/>
              </a:spcAft>
              <a:buClr>
                <a:schemeClr val="accent1"/>
              </a:buClr>
              <a:buFont typeface="Arial" panose="020B0604020202020204" pitchFamily="34" charset="0"/>
              <a:buChar char="‒"/>
            </a:pPr>
            <a:r>
              <a:rPr lang="en-US" sz="1800" kern="0" baseline="0" dirty="0">
                <a:latin typeface="+mn-lt"/>
                <a:ea typeface="+mn-ea"/>
                <a:cs typeface="+mn-cs"/>
              </a:rPr>
              <a:t>S7 balance </a:t>
            </a:r>
            <a:r>
              <a:rPr lang="en-US" sz="1800" b="1" kern="0" baseline="0" dirty="0">
                <a:latin typeface="+mn-lt"/>
                <a:ea typeface="+mn-ea"/>
                <a:cs typeface="+mn-cs"/>
              </a:rPr>
              <a:t>short circuit</a:t>
            </a:r>
            <a:r>
              <a:rPr lang="en-US" sz="1800" kern="0" baseline="0" dirty="0">
                <a:latin typeface="+mn-lt"/>
                <a:ea typeface="+mn-ea"/>
                <a:cs typeface="+mn-cs"/>
              </a:rPr>
              <a:t> and </a:t>
            </a:r>
            <a:r>
              <a:rPr lang="en-US" sz="1800" b="1" kern="0" baseline="0" dirty="0">
                <a:latin typeface="+mn-lt"/>
                <a:ea typeface="+mn-ea"/>
                <a:cs typeface="+mn-cs"/>
              </a:rPr>
              <a:t>pulse-current requirements</a:t>
            </a:r>
          </a:p>
          <a:p>
            <a:pPr marL="285750" indent="-285750" defTabSz="576000" eaLnBrk="0" fontAlgn="auto" hangingPunct="0">
              <a:spcBef>
                <a:spcPts val="0"/>
              </a:spcBef>
              <a:spcAft>
                <a:spcPts val="0"/>
              </a:spcAft>
              <a:buClr>
                <a:schemeClr val="accent1"/>
              </a:buClr>
              <a:buFont typeface="Arial" panose="020B0604020202020204" pitchFamily="34" charset="0"/>
              <a:buChar char="‒"/>
            </a:pPr>
            <a:r>
              <a:rPr lang="en-US" sz="1800" kern="0" baseline="0" dirty="0">
                <a:latin typeface="+mn-lt"/>
                <a:ea typeface="+mn-ea"/>
                <a:cs typeface="+mn-cs"/>
              </a:rPr>
              <a:t>H7 the </a:t>
            </a:r>
            <a:r>
              <a:rPr lang="en-US" sz="1800" b="1" kern="0" baseline="0" dirty="0">
                <a:latin typeface="+mn-lt"/>
                <a:ea typeface="+mn-ea"/>
                <a:cs typeface="+mn-cs"/>
              </a:rPr>
              <a:t>steepest transfer characteristics </a:t>
            </a:r>
          </a:p>
          <a:p>
            <a:pPr defTabSz="576000" eaLnBrk="0" fontAlgn="auto" hangingPunct="0">
              <a:spcBef>
                <a:spcPts val="0"/>
              </a:spcBef>
              <a:spcAft>
                <a:spcPts val="0"/>
              </a:spcAft>
              <a:buClr>
                <a:schemeClr val="accent1"/>
              </a:buClr>
            </a:pPr>
            <a:endParaRPr lang="en-US" sz="1800" kern="0" baseline="0" dirty="0">
              <a:latin typeface="+mn-lt"/>
              <a:ea typeface="+mn-ea"/>
              <a:cs typeface="+mn-cs"/>
            </a:endParaRPr>
          </a:p>
          <a:p>
            <a:pPr defTabSz="576000" eaLnBrk="0" fontAlgn="auto" hangingPunct="0">
              <a:spcBef>
                <a:spcPts val="0"/>
              </a:spcBef>
              <a:spcAft>
                <a:spcPts val="0"/>
              </a:spcAft>
              <a:buClr>
                <a:schemeClr val="accent1"/>
              </a:buClr>
            </a:pPr>
            <a:r>
              <a:rPr lang="en-US" sz="1800" kern="0" baseline="0" dirty="0">
                <a:latin typeface="+mn-lt"/>
                <a:ea typeface="+mn-ea"/>
                <a:cs typeface="+mn-cs"/>
              </a:rPr>
              <a:t>Channel distribution optimized for improved carrier confinement balancing:</a:t>
            </a:r>
          </a:p>
          <a:p>
            <a:pPr marL="285750" indent="-285750" defTabSz="576000" eaLnBrk="0" fontAlgn="auto" hangingPunct="0">
              <a:spcBef>
                <a:spcPts val="0"/>
              </a:spcBef>
              <a:spcAft>
                <a:spcPts val="0"/>
              </a:spcAft>
              <a:buClr>
                <a:schemeClr val="accent1"/>
              </a:buClr>
              <a:buFont typeface="Arial" panose="020B0604020202020204" pitchFamily="34" charset="0"/>
              <a:buChar char="‒"/>
            </a:pPr>
            <a:r>
              <a:rPr lang="en-US" sz="1800" b="1" kern="0" dirty="0">
                <a:latin typeface="+mn-lt"/>
              </a:rPr>
              <a:t>	</a:t>
            </a:r>
            <a:r>
              <a:rPr lang="en-US" sz="1800" b="1" kern="0" baseline="0" dirty="0">
                <a:latin typeface="+mn-lt"/>
                <a:ea typeface="+mn-ea"/>
                <a:cs typeface="+mn-cs"/>
              </a:rPr>
              <a:t>V</a:t>
            </a:r>
            <a:r>
              <a:rPr lang="en-US" sz="1800" b="1" kern="0" baseline="-25000" dirty="0">
                <a:latin typeface="+mn-lt"/>
                <a:ea typeface="+mn-ea"/>
                <a:cs typeface="+mn-cs"/>
              </a:rPr>
              <a:t>CE(sat)</a:t>
            </a:r>
            <a:r>
              <a:rPr lang="en-US" sz="1800" b="1" kern="0" baseline="0" dirty="0">
                <a:latin typeface="+mn-lt"/>
                <a:ea typeface="+mn-ea"/>
                <a:cs typeface="+mn-cs"/>
              </a:rPr>
              <a:t> (</a:t>
            </a:r>
            <a:r>
              <a:rPr lang="en-US" sz="1800" b="1" kern="0" dirty="0">
                <a:latin typeface="+mn-lt"/>
              </a:rPr>
              <a:t>m</a:t>
            </a:r>
            <a:r>
              <a:rPr lang="en-US" sz="1800" b="1" kern="0" baseline="0" dirty="0">
                <a:latin typeface="+mn-lt"/>
                <a:ea typeface="+mn-ea"/>
                <a:cs typeface="+mn-cs"/>
              </a:rPr>
              <a:t>ain focus of S7)</a:t>
            </a:r>
          </a:p>
          <a:p>
            <a:pPr marL="285750" indent="-285750" defTabSz="576000" eaLnBrk="0" fontAlgn="auto" hangingPunct="0">
              <a:spcBef>
                <a:spcPts val="0"/>
              </a:spcBef>
              <a:spcAft>
                <a:spcPts val="0"/>
              </a:spcAft>
              <a:buClr>
                <a:schemeClr val="accent1"/>
              </a:buClr>
              <a:buFont typeface="Arial" panose="020B0604020202020204" pitchFamily="34" charset="0"/>
              <a:buChar char="‒"/>
            </a:pPr>
            <a:r>
              <a:rPr lang="en-US" sz="1800" b="1" kern="0" dirty="0">
                <a:latin typeface="+mn-lt"/>
              </a:rPr>
              <a:t>	</a:t>
            </a:r>
            <a:r>
              <a:rPr lang="en-US" sz="1800" b="1" kern="0" baseline="0" dirty="0">
                <a:latin typeface="+mn-lt"/>
                <a:ea typeface="+mn-ea"/>
                <a:cs typeface="+mn-cs"/>
              </a:rPr>
              <a:t>E</a:t>
            </a:r>
            <a:r>
              <a:rPr lang="en-US" sz="1800" b="1" kern="0" baseline="-25000" dirty="0">
                <a:latin typeface="+mn-lt"/>
                <a:ea typeface="+mn-ea"/>
                <a:cs typeface="+mn-cs"/>
              </a:rPr>
              <a:t>off</a:t>
            </a:r>
            <a:r>
              <a:rPr lang="en-US" sz="1800" b="1" kern="0" baseline="0" dirty="0">
                <a:latin typeface="+mn-lt"/>
                <a:ea typeface="+mn-ea"/>
                <a:cs typeface="+mn-cs"/>
              </a:rPr>
              <a:t> (main focus of H7)</a:t>
            </a:r>
          </a:p>
        </p:txBody>
      </p:sp>
      <p:pic>
        <p:nvPicPr>
          <p:cNvPr id="9" name="Picture 8" descr="A question mark in a circle&#10;&#10;Description automatically generated">
            <a:extLst>
              <a:ext uri="{FF2B5EF4-FFF2-40B4-BE49-F238E27FC236}">
                <a16:creationId xmlns:a16="http://schemas.microsoft.com/office/drawing/2014/main" id="{DA7D3D2D-C5BE-3B7E-3442-929D84C12FAE}"/>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326236" y="4885460"/>
            <a:ext cx="585188" cy="585188"/>
          </a:xfrm>
          <a:prstGeom prst="rect">
            <a:avLst/>
          </a:prstGeom>
        </p:spPr>
      </p:pic>
      <p:pic>
        <p:nvPicPr>
          <p:cNvPr id="52" name="Picture 51">
            <a:extLst>
              <a:ext uri="{FF2B5EF4-FFF2-40B4-BE49-F238E27FC236}">
                <a16:creationId xmlns:a16="http://schemas.microsoft.com/office/drawing/2014/main" id="{666AC4D3-E930-4266-ACFF-460BF6BFC17D}"/>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10553814" y="1695996"/>
            <a:ext cx="1108006" cy="1108006"/>
          </a:xfrm>
          <a:prstGeom prst="rect">
            <a:avLst/>
          </a:prstGeom>
        </p:spPr>
      </p:pic>
    </p:spTree>
    <p:extLst>
      <p:ext uri="{BB962C8B-B14F-4D97-AF65-F5344CB8AC3E}">
        <p14:creationId xmlns:p14="http://schemas.microsoft.com/office/powerpoint/2010/main" val="36887671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1149D8CC-3A7F-87D2-CCE1-1B2A8A1A7586}"/>
              </a:ext>
            </a:extLst>
          </p:cNvPr>
          <p:cNvSpPr/>
          <p:nvPr/>
        </p:nvSpPr>
        <p:spPr bwMode="auto">
          <a:xfrm>
            <a:off x="4439815" y="5258373"/>
            <a:ext cx="1280081" cy="1080120"/>
          </a:xfrm>
          <a:prstGeom prst="rect">
            <a:avLst/>
          </a:prstGeom>
          <a:solidFill>
            <a:srgbClr val="B8DEDA">
              <a:alpha val="50000"/>
            </a:srgbClr>
          </a:solidFill>
          <a:ln w="9525">
            <a:noFill/>
            <a:miter lim="800000"/>
            <a:headEnd/>
            <a:tailEnd/>
          </a:ln>
        </p:spPr>
        <p:txBody>
          <a:bodyPr wrap="square" lIns="72000" tIns="72000" rIns="72000" bIns="72000" rtlCol="0" anchor="b"/>
          <a:lstStyle/>
          <a:p>
            <a:pPr algn="ctr" eaLnBrk="0" hangingPunct="0"/>
            <a:r>
              <a:rPr lang="en-US" sz="1600" dirty="0">
                <a:latin typeface="+mn-lt"/>
              </a:rPr>
              <a:t>Larger</a:t>
            </a:r>
            <a:endParaRPr lang="en-US" sz="1600" baseline="0" dirty="0">
              <a:latin typeface="+mn-lt"/>
              <a:ea typeface="+mn-ea"/>
              <a:cs typeface="+mn-cs"/>
            </a:endParaRPr>
          </a:p>
        </p:txBody>
      </p:sp>
      <p:sp>
        <p:nvSpPr>
          <p:cNvPr id="28" name="Rectangle 27">
            <a:extLst>
              <a:ext uri="{FF2B5EF4-FFF2-40B4-BE49-F238E27FC236}">
                <a16:creationId xmlns:a16="http://schemas.microsoft.com/office/drawing/2014/main" id="{8437A3A0-FE12-F465-036F-169A8DC3CA4A}"/>
              </a:ext>
            </a:extLst>
          </p:cNvPr>
          <p:cNvSpPr/>
          <p:nvPr/>
        </p:nvSpPr>
        <p:spPr bwMode="auto">
          <a:xfrm>
            <a:off x="4643990" y="3471661"/>
            <a:ext cx="805638" cy="1080120"/>
          </a:xfrm>
          <a:prstGeom prst="rect">
            <a:avLst/>
          </a:prstGeom>
          <a:solidFill>
            <a:srgbClr val="B8DEDA">
              <a:alpha val="50000"/>
            </a:srgbClr>
          </a:solidFill>
          <a:ln w="9525">
            <a:noFill/>
            <a:miter lim="800000"/>
            <a:headEnd/>
            <a:tailEnd/>
          </a:ln>
        </p:spPr>
        <p:txBody>
          <a:bodyPr wrap="square" lIns="72000" tIns="72000" rIns="72000" bIns="72000" rtlCol="0" anchor="b"/>
          <a:lstStyle/>
          <a:p>
            <a:pPr algn="ctr" eaLnBrk="0" hangingPunct="0"/>
            <a:r>
              <a:rPr lang="en-US" baseline="0" dirty="0">
                <a:latin typeface="+mn-lt"/>
                <a:ea typeface="+mn-ea"/>
                <a:cs typeface="+mn-cs"/>
              </a:rPr>
              <a:t>Thinner</a:t>
            </a:r>
          </a:p>
        </p:txBody>
      </p:sp>
      <p:sp>
        <p:nvSpPr>
          <p:cNvPr id="2" name="Title 1">
            <a:extLst>
              <a:ext uri="{FF2B5EF4-FFF2-40B4-BE49-F238E27FC236}">
                <a16:creationId xmlns:a16="http://schemas.microsoft.com/office/drawing/2014/main" id="{C37F5483-95C5-4520-B613-C8D7D0C093EB}"/>
              </a:ext>
            </a:extLst>
          </p:cNvPr>
          <p:cNvSpPr>
            <a:spLocks noGrp="1"/>
          </p:cNvSpPr>
          <p:nvPr>
            <p:ph type="title"/>
          </p:nvPr>
        </p:nvSpPr>
        <p:spPr/>
        <p:txBody>
          <a:bodyPr/>
          <a:lstStyle/>
          <a:p>
            <a:r>
              <a:rPr lang="en-US" dirty="0"/>
              <a:t>Infineon´s TRENCHSTOP™ channel width engineering</a:t>
            </a:r>
          </a:p>
        </p:txBody>
      </p:sp>
      <p:sp>
        <p:nvSpPr>
          <p:cNvPr id="6" name="Rectangle 5">
            <a:extLst>
              <a:ext uri="{FF2B5EF4-FFF2-40B4-BE49-F238E27FC236}">
                <a16:creationId xmlns:a16="http://schemas.microsoft.com/office/drawing/2014/main" id="{8B9A6B77-07AB-CC2D-18C1-E320D6FC1207}"/>
              </a:ext>
            </a:extLst>
          </p:cNvPr>
          <p:cNvSpPr/>
          <p:nvPr/>
        </p:nvSpPr>
        <p:spPr bwMode="auto">
          <a:xfrm>
            <a:off x="3551686" y="1615817"/>
            <a:ext cx="648072" cy="1080120"/>
          </a:xfrm>
          <a:prstGeom prst="rect">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7" name="Rectangle 6">
            <a:extLst>
              <a:ext uri="{FF2B5EF4-FFF2-40B4-BE49-F238E27FC236}">
                <a16:creationId xmlns:a16="http://schemas.microsoft.com/office/drawing/2014/main" id="{A1490802-072D-E24D-BC2D-215447D832CC}"/>
              </a:ext>
            </a:extLst>
          </p:cNvPr>
          <p:cNvSpPr/>
          <p:nvPr/>
        </p:nvSpPr>
        <p:spPr bwMode="auto">
          <a:xfrm>
            <a:off x="5611376" y="1615817"/>
            <a:ext cx="648072" cy="1080120"/>
          </a:xfrm>
          <a:prstGeom prst="rect">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cxnSp>
        <p:nvCxnSpPr>
          <p:cNvPr id="9" name="Straight Arrow Connector 8">
            <a:extLst>
              <a:ext uri="{FF2B5EF4-FFF2-40B4-BE49-F238E27FC236}">
                <a16:creationId xmlns:a16="http://schemas.microsoft.com/office/drawing/2014/main" id="{116FFC46-7349-E152-F6F8-501493891E09}"/>
              </a:ext>
            </a:extLst>
          </p:cNvPr>
          <p:cNvCxnSpPr>
            <a:cxnSpLocks/>
            <a:stCxn id="6" idx="3"/>
            <a:endCxn id="7" idx="1"/>
          </p:cNvCxnSpPr>
          <p:nvPr/>
        </p:nvCxnSpPr>
        <p:spPr>
          <a:xfrm>
            <a:off x="4199758" y="2155877"/>
            <a:ext cx="1411618"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4FE1729-16A8-2B1A-0108-76134C40A715}"/>
              </a:ext>
            </a:extLst>
          </p:cNvPr>
          <p:cNvSpPr txBox="1"/>
          <p:nvPr/>
        </p:nvSpPr>
        <p:spPr bwMode="auto">
          <a:xfrm>
            <a:off x="4341678" y="1671477"/>
            <a:ext cx="1228328" cy="504056"/>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Channel width</a:t>
            </a:r>
          </a:p>
        </p:txBody>
      </p:sp>
      <p:sp>
        <p:nvSpPr>
          <p:cNvPr id="14" name="Rectangle 13">
            <a:extLst>
              <a:ext uri="{FF2B5EF4-FFF2-40B4-BE49-F238E27FC236}">
                <a16:creationId xmlns:a16="http://schemas.microsoft.com/office/drawing/2014/main" id="{F3867616-FC68-D3C0-3FBE-296832A26BD1}"/>
              </a:ext>
            </a:extLst>
          </p:cNvPr>
          <p:cNvSpPr/>
          <p:nvPr/>
        </p:nvSpPr>
        <p:spPr bwMode="auto">
          <a:xfrm>
            <a:off x="3995726" y="3471662"/>
            <a:ext cx="648072" cy="1080120"/>
          </a:xfrm>
          <a:prstGeom prst="rect">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15" name="Rectangle 14">
            <a:extLst>
              <a:ext uri="{FF2B5EF4-FFF2-40B4-BE49-F238E27FC236}">
                <a16:creationId xmlns:a16="http://schemas.microsoft.com/office/drawing/2014/main" id="{A3AD363E-DDF6-FCFD-B6E9-3447166F5104}"/>
              </a:ext>
            </a:extLst>
          </p:cNvPr>
          <p:cNvSpPr/>
          <p:nvPr/>
        </p:nvSpPr>
        <p:spPr bwMode="auto">
          <a:xfrm>
            <a:off x="5449628" y="3471662"/>
            <a:ext cx="648072" cy="1080120"/>
          </a:xfrm>
          <a:prstGeom prst="rect">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cxnSp>
        <p:nvCxnSpPr>
          <p:cNvPr id="16" name="Straight Arrow Connector 15">
            <a:extLst>
              <a:ext uri="{FF2B5EF4-FFF2-40B4-BE49-F238E27FC236}">
                <a16:creationId xmlns:a16="http://schemas.microsoft.com/office/drawing/2014/main" id="{AA19EFDD-E858-33D2-F64A-3AC0D5DFB05B}"/>
              </a:ext>
            </a:extLst>
          </p:cNvPr>
          <p:cNvCxnSpPr>
            <a:cxnSpLocks/>
            <a:stCxn id="14" idx="3"/>
          </p:cNvCxnSpPr>
          <p:nvPr/>
        </p:nvCxnSpPr>
        <p:spPr>
          <a:xfrm>
            <a:off x="4643798" y="4011722"/>
            <a:ext cx="805830"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04C6AD9-DED1-B48E-9B48-2C825F4E6B83}"/>
              </a:ext>
            </a:extLst>
          </p:cNvPr>
          <p:cNvSpPr txBox="1"/>
          <p:nvPr/>
        </p:nvSpPr>
        <p:spPr bwMode="auto">
          <a:xfrm>
            <a:off x="4939680" y="3572732"/>
            <a:ext cx="1228328" cy="504056"/>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S7</a:t>
            </a:r>
          </a:p>
        </p:txBody>
      </p:sp>
      <p:sp>
        <p:nvSpPr>
          <p:cNvPr id="19" name="Rectangle 18">
            <a:extLst>
              <a:ext uri="{FF2B5EF4-FFF2-40B4-BE49-F238E27FC236}">
                <a16:creationId xmlns:a16="http://schemas.microsoft.com/office/drawing/2014/main" id="{9359192B-BFBE-9860-4A02-C20DB064BBBC}"/>
              </a:ext>
            </a:extLst>
          </p:cNvPr>
          <p:cNvSpPr/>
          <p:nvPr/>
        </p:nvSpPr>
        <p:spPr bwMode="auto">
          <a:xfrm>
            <a:off x="3791744" y="5258373"/>
            <a:ext cx="648072" cy="1080120"/>
          </a:xfrm>
          <a:prstGeom prst="rect">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20" name="Rectangle 19">
            <a:extLst>
              <a:ext uri="{FF2B5EF4-FFF2-40B4-BE49-F238E27FC236}">
                <a16:creationId xmlns:a16="http://schemas.microsoft.com/office/drawing/2014/main" id="{686EA110-4E1F-C102-2772-AC22E1FF2E26}"/>
              </a:ext>
            </a:extLst>
          </p:cNvPr>
          <p:cNvSpPr/>
          <p:nvPr/>
        </p:nvSpPr>
        <p:spPr bwMode="auto">
          <a:xfrm>
            <a:off x="5713465" y="5258373"/>
            <a:ext cx="648072" cy="1080120"/>
          </a:xfrm>
          <a:prstGeom prst="rect">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cxnSp>
        <p:nvCxnSpPr>
          <p:cNvPr id="21" name="Straight Arrow Connector 20">
            <a:extLst>
              <a:ext uri="{FF2B5EF4-FFF2-40B4-BE49-F238E27FC236}">
                <a16:creationId xmlns:a16="http://schemas.microsoft.com/office/drawing/2014/main" id="{567E9A96-8D2D-B06C-A991-38B62996920E}"/>
              </a:ext>
            </a:extLst>
          </p:cNvPr>
          <p:cNvCxnSpPr>
            <a:cxnSpLocks/>
            <a:stCxn id="19" idx="3"/>
            <a:endCxn id="20" idx="1"/>
          </p:cNvCxnSpPr>
          <p:nvPr/>
        </p:nvCxnSpPr>
        <p:spPr>
          <a:xfrm>
            <a:off x="4439816" y="5798433"/>
            <a:ext cx="1273649"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C1E2C53-AA50-B0A3-10BC-852B1BBD49FF}"/>
              </a:ext>
            </a:extLst>
          </p:cNvPr>
          <p:cNvSpPr txBox="1"/>
          <p:nvPr/>
        </p:nvSpPr>
        <p:spPr bwMode="auto">
          <a:xfrm>
            <a:off x="4976958" y="5294377"/>
            <a:ext cx="1228328" cy="504056"/>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H7</a:t>
            </a:r>
          </a:p>
        </p:txBody>
      </p:sp>
      <p:sp>
        <p:nvSpPr>
          <p:cNvPr id="24" name="TextBox 23">
            <a:extLst>
              <a:ext uri="{FF2B5EF4-FFF2-40B4-BE49-F238E27FC236}">
                <a16:creationId xmlns:a16="http://schemas.microsoft.com/office/drawing/2014/main" id="{A11FBF9A-24B9-D904-9623-40BD756CE22B}"/>
              </a:ext>
            </a:extLst>
          </p:cNvPr>
          <p:cNvSpPr txBox="1"/>
          <p:nvPr/>
        </p:nvSpPr>
        <p:spPr bwMode="auto">
          <a:xfrm>
            <a:off x="334963" y="3572732"/>
            <a:ext cx="3609633" cy="758656"/>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b="1" kern="0" dirty="0">
                <a:latin typeface="+mn-lt"/>
              </a:rPr>
              <a:t>Saturation current needed </a:t>
            </a:r>
          </a:p>
          <a:p>
            <a:pPr marR="0" algn="l" defTabSz="576000" eaLnBrk="0" fontAlgn="auto" latinLnBrk="0" hangingPunct="0">
              <a:spcBef>
                <a:spcPts val="0"/>
              </a:spcBef>
              <a:spcAft>
                <a:spcPts val="0"/>
              </a:spcAft>
              <a:buClr>
                <a:schemeClr val="accent1"/>
              </a:buClr>
              <a:buSzTx/>
              <a:tabLst/>
            </a:pPr>
            <a:r>
              <a:rPr lang="en-US" kern="0" dirty="0">
                <a:latin typeface="+mn-lt"/>
                <a:sym typeface="Wingdings" panose="05000000000000000000" pitchFamily="2" charset="2"/>
              </a:rPr>
              <a:t>	 Smoother transfer characteristics</a:t>
            </a:r>
            <a:endParaRPr lang="en-US" kern="0" dirty="0">
              <a:latin typeface="+mn-lt"/>
            </a:endParaRPr>
          </a:p>
          <a:p>
            <a:pPr marR="0" algn="l"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sym typeface="Wingdings" panose="05000000000000000000" pitchFamily="2" charset="2"/>
              </a:rPr>
              <a:t>	 Short circuit</a:t>
            </a:r>
            <a:r>
              <a:rPr lang="en-US" kern="0" dirty="0">
                <a:latin typeface="+mn-lt"/>
                <a:sym typeface="Wingdings" panose="05000000000000000000" pitchFamily="2" charset="2"/>
              </a:rPr>
              <a:t> withstand time</a:t>
            </a:r>
            <a:endParaRPr lang="en-US" sz="1400" kern="0" baseline="0" dirty="0">
              <a:latin typeface="+mn-lt"/>
              <a:ea typeface="+mn-ea"/>
              <a:cs typeface="+mn-cs"/>
            </a:endParaRPr>
          </a:p>
        </p:txBody>
      </p:sp>
      <p:sp>
        <p:nvSpPr>
          <p:cNvPr id="25" name="TextBox 24">
            <a:extLst>
              <a:ext uri="{FF2B5EF4-FFF2-40B4-BE49-F238E27FC236}">
                <a16:creationId xmlns:a16="http://schemas.microsoft.com/office/drawing/2014/main" id="{A1081322-C96F-51B6-DA82-7FBD1544D328}"/>
              </a:ext>
            </a:extLst>
          </p:cNvPr>
          <p:cNvSpPr txBox="1"/>
          <p:nvPr/>
        </p:nvSpPr>
        <p:spPr bwMode="auto">
          <a:xfrm>
            <a:off x="345310" y="5365591"/>
            <a:ext cx="3599286" cy="900095"/>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b="1" kern="0" dirty="0">
                <a:latin typeface="+mn-lt"/>
              </a:rPr>
              <a:t>No saturation current needed </a:t>
            </a:r>
          </a:p>
          <a:p>
            <a:pPr marR="0" algn="l" defTabSz="576000" eaLnBrk="0" fontAlgn="auto" latinLnBrk="0" hangingPunct="0">
              <a:spcBef>
                <a:spcPts val="0"/>
              </a:spcBef>
              <a:spcAft>
                <a:spcPts val="0"/>
              </a:spcAft>
              <a:buClr>
                <a:schemeClr val="accent1"/>
              </a:buClr>
              <a:buSzTx/>
              <a:tabLst/>
            </a:pPr>
            <a:r>
              <a:rPr lang="en-US" kern="0" dirty="0">
                <a:latin typeface="+mn-lt"/>
                <a:sym typeface="Wingdings" panose="05000000000000000000" pitchFamily="2" charset="2"/>
              </a:rPr>
              <a:t>	 Steeper transfer characteristic</a:t>
            </a:r>
            <a:endParaRPr lang="en-US" kern="0" dirty="0">
              <a:latin typeface="+mn-lt"/>
            </a:endParaRPr>
          </a:p>
          <a:p>
            <a:pPr marR="0" algn="l" defTabSz="576000" eaLnBrk="0" fontAlgn="auto" latinLnBrk="0" hangingPunct="0">
              <a:spcBef>
                <a:spcPts val="0"/>
              </a:spcBef>
              <a:spcAft>
                <a:spcPts val="0"/>
              </a:spcAft>
              <a:buClr>
                <a:schemeClr val="accent1"/>
              </a:buClr>
              <a:buSzTx/>
              <a:tabLst/>
            </a:pPr>
            <a:r>
              <a:rPr lang="en-US" kern="0" dirty="0">
                <a:latin typeface="+mn-lt"/>
                <a:sym typeface="Wingdings" panose="05000000000000000000" pitchFamily="2" charset="2"/>
              </a:rPr>
              <a:t>	</a:t>
            </a:r>
            <a:r>
              <a:rPr lang="en-US" sz="1400" kern="0" baseline="0" dirty="0">
                <a:latin typeface="+mn-lt"/>
                <a:ea typeface="+mn-ea"/>
                <a:cs typeface="+mn-cs"/>
                <a:sym typeface="Wingdings" panose="05000000000000000000" pitchFamily="2" charset="2"/>
              </a:rPr>
              <a:t> No Short circuit</a:t>
            </a:r>
            <a:r>
              <a:rPr lang="en-US" kern="0" dirty="0">
                <a:latin typeface="+mn-lt"/>
                <a:sym typeface="Wingdings" panose="05000000000000000000" pitchFamily="2" charset="2"/>
              </a:rPr>
              <a:t> withstand time</a:t>
            </a:r>
            <a:endParaRPr lang="en-US" sz="1400" kern="0" baseline="0" dirty="0">
              <a:latin typeface="+mn-lt"/>
              <a:ea typeface="+mn-ea"/>
              <a:cs typeface="+mn-cs"/>
            </a:endParaRPr>
          </a:p>
        </p:txBody>
      </p:sp>
      <p:pic>
        <p:nvPicPr>
          <p:cNvPr id="8" name="Picture 7">
            <a:extLst>
              <a:ext uri="{FF2B5EF4-FFF2-40B4-BE49-F238E27FC236}">
                <a16:creationId xmlns:a16="http://schemas.microsoft.com/office/drawing/2014/main" id="{EEDB73FD-5C4E-B147-C388-7C119D6BC9E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78325" y="1314694"/>
            <a:ext cx="2370640" cy="1623941"/>
          </a:xfrm>
          <a:prstGeom prst="rect">
            <a:avLst/>
          </a:prstGeom>
        </p:spPr>
      </p:pic>
      <p:sp>
        <p:nvSpPr>
          <p:cNvPr id="26" name="Rectangle 25">
            <a:extLst>
              <a:ext uri="{FF2B5EF4-FFF2-40B4-BE49-F238E27FC236}">
                <a16:creationId xmlns:a16="http://schemas.microsoft.com/office/drawing/2014/main" id="{46E48CF1-2239-C621-80C9-754DE85795B1}"/>
              </a:ext>
            </a:extLst>
          </p:cNvPr>
          <p:cNvSpPr/>
          <p:nvPr/>
        </p:nvSpPr>
        <p:spPr bwMode="auto">
          <a:xfrm>
            <a:off x="1329823" y="1751598"/>
            <a:ext cx="661721" cy="527573"/>
          </a:xfrm>
          <a:prstGeom prst="rect">
            <a:avLst/>
          </a:prstGeom>
          <a:noFill/>
          <a:ln w="38100">
            <a:solidFill>
              <a:schemeClr val="tx1">
                <a:lumMod val="95000"/>
                <a:lumOff val="5000"/>
              </a:schemeClr>
            </a:solid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grpSp>
        <p:nvGrpSpPr>
          <p:cNvPr id="12" name="Group 11">
            <a:extLst>
              <a:ext uri="{FF2B5EF4-FFF2-40B4-BE49-F238E27FC236}">
                <a16:creationId xmlns:a16="http://schemas.microsoft.com/office/drawing/2014/main" id="{321C2A28-1F98-B0EA-7FF1-FA1A4FFC19A9}"/>
              </a:ext>
            </a:extLst>
          </p:cNvPr>
          <p:cNvGrpSpPr>
            <a:grpSpLocks noChangeAspect="1"/>
          </p:cNvGrpSpPr>
          <p:nvPr/>
        </p:nvGrpSpPr>
        <p:grpSpPr>
          <a:xfrm>
            <a:off x="6521078" y="2175533"/>
            <a:ext cx="5239432" cy="3378741"/>
            <a:chOff x="296701" y="2420888"/>
            <a:chExt cx="5199673" cy="3389163"/>
          </a:xfrm>
        </p:grpSpPr>
        <p:pic>
          <p:nvPicPr>
            <p:cNvPr id="13" name="Picture 12">
              <a:extLst>
                <a:ext uri="{FF2B5EF4-FFF2-40B4-BE49-F238E27FC236}">
                  <a16:creationId xmlns:a16="http://schemas.microsoft.com/office/drawing/2014/main" id="{8127A6A8-F88B-4FDC-8270-8891544EC11D}"/>
                </a:ext>
              </a:extLst>
            </p:cNvPr>
            <p:cNvPicPr>
              <a:picLocks noChangeAspect="1"/>
            </p:cNvPicPr>
            <p:nvPr/>
          </p:nvPicPr>
          <p:blipFill>
            <a:blip r:embed="rId4"/>
            <a:stretch>
              <a:fillRect/>
            </a:stretch>
          </p:blipFill>
          <p:spPr>
            <a:xfrm>
              <a:off x="296701" y="2420888"/>
              <a:ext cx="5199673" cy="3389163"/>
            </a:xfrm>
            <a:prstGeom prst="rect">
              <a:avLst/>
            </a:prstGeom>
            <a:ln w="19050">
              <a:solidFill>
                <a:schemeClr val="tx1"/>
              </a:solidFill>
            </a:ln>
          </p:spPr>
        </p:pic>
        <p:sp>
          <p:nvSpPr>
            <p:cNvPr id="18" name="AutoShape 77">
              <a:extLst>
                <a:ext uri="{FF2B5EF4-FFF2-40B4-BE49-F238E27FC236}">
                  <a16:creationId xmlns:a16="http://schemas.microsoft.com/office/drawing/2014/main" id="{E420A742-9892-888E-4688-1EA6B239E2AB}"/>
                </a:ext>
              </a:extLst>
            </p:cNvPr>
            <p:cNvSpPr>
              <a:spLocks noChangeArrowheads="1"/>
            </p:cNvSpPr>
            <p:nvPr/>
          </p:nvSpPr>
          <p:spPr bwMode="auto">
            <a:xfrm>
              <a:off x="1520672" y="3122458"/>
              <a:ext cx="2988332" cy="540060"/>
            </a:xfrm>
            <a:prstGeom prst="roundRect">
              <a:avLst>
                <a:gd name="adj" fmla="val 16667"/>
              </a:avLst>
            </a:prstGeom>
            <a:noFill/>
            <a:ln>
              <a:noFill/>
              <a:headEnd/>
              <a:tailEnd/>
            </a:ln>
          </p:spPr>
          <p:style>
            <a:lnRef idx="2">
              <a:schemeClr val="accent3"/>
            </a:lnRef>
            <a:fillRef idx="1">
              <a:schemeClr val="lt1"/>
            </a:fillRef>
            <a:effectRef idx="0">
              <a:schemeClr val="accent3"/>
            </a:effectRef>
            <a:fontRef idx="minor">
              <a:schemeClr val="dk1"/>
            </a:fontRef>
          </p:style>
          <p:txBody>
            <a:bodyPr lIns="45720" rIns="45720" anchor="ctr"/>
            <a:lstStyle/>
            <a:p>
              <a:pPr marL="0" lvl="1">
                <a:spcAft>
                  <a:spcPts val="600"/>
                </a:spcAft>
              </a:pPr>
              <a:r>
                <a:rPr lang="en-US" sz="1000" b="1" kern="0" dirty="0">
                  <a:latin typeface="Arial" panose="020B0604020202020204" pitchFamily="34" charset="0"/>
                  <a:cs typeface="Arial" panose="020B0604020202020204" pitchFamily="34" charset="0"/>
                </a:rPr>
                <a:t>SCSOA rated IGBT has higher V</a:t>
              </a:r>
              <a:r>
                <a:rPr lang="en-US" sz="1000" b="1" kern="0" baseline="-25000" dirty="0">
                  <a:latin typeface="Arial" panose="020B0604020202020204" pitchFamily="34" charset="0"/>
                  <a:cs typeface="Arial" panose="020B0604020202020204" pitchFamily="34" charset="0"/>
                </a:rPr>
                <a:t>CE(sat)</a:t>
              </a:r>
              <a:r>
                <a:rPr lang="en-US" sz="1000" b="1" kern="0" dirty="0">
                  <a:latin typeface="Arial" panose="020B0604020202020204" pitchFamily="34" charset="0"/>
                  <a:cs typeface="Arial" panose="020B0604020202020204" pitchFamily="34" charset="0"/>
                </a:rPr>
                <a:t> and E</a:t>
              </a:r>
              <a:r>
                <a:rPr lang="en-US" sz="1000" b="1" kern="0" baseline="-25000" dirty="0">
                  <a:latin typeface="Arial" panose="020B0604020202020204" pitchFamily="34" charset="0"/>
                  <a:cs typeface="Arial" panose="020B0604020202020204" pitchFamily="34" charset="0"/>
                </a:rPr>
                <a:t>ts</a:t>
              </a:r>
              <a:r>
                <a:rPr lang="en-US" sz="1000" b="1" kern="0" dirty="0">
                  <a:latin typeface="Arial" panose="020B0604020202020204" pitchFamily="34" charset="0"/>
                  <a:cs typeface="Arial" panose="020B0604020202020204" pitchFamily="34" charset="0"/>
                </a:rPr>
                <a:t> than equivalent part with no SCSOA rating</a:t>
              </a:r>
            </a:p>
          </p:txBody>
        </p:sp>
      </p:grpSp>
    </p:spTree>
    <p:extLst>
      <p:ext uri="{BB962C8B-B14F-4D97-AF65-F5344CB8AC3E}">
        <p14:creationId xmlns:p14="http://schemas.microsoft.com/office/powerpoint/2010/main" val="2224833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5ADF5E-B136-4FCD-A617-F5C0FD0B9969}"/>
              </a:ext>
            </a:extLst>
          </p:cNvPr>
          <p:cNvPicPr>
            <a:picLocks noChangeAspect="1"/>
          </p:cNvPicPr>
          <p:nvPr/>
        </p:nvPicPr>
        <p:blipFill rotWithShape="1">
          <a:blip r:embed="rId5">
            <a:extLst>
              <a:ext uri="{28A0092B-C50C-407E-A947-70E740481C1C}">
                <a14:useLocalDpi xmlns:a14="http://schemas.microsoft.com/office/drawing/2010/main" val="0"/>
              </a:ext>
            </a:extLst>
          </a:blip>
          <a:srcRect l="82" t="46" r="27232" b="-46"/>
          <a:stretch/>
        </p:blipFill>
        <p:spPr>
          <a:xfrm>
            <a:off x="4799458" y="3175"/>
            <a:ext cx="7417222" cy="6854827"/>
          </a:xfrm>
          <a:prstGeom prst="rect">
            <a:avLst/>
          </a:prstGeom>
        </p:spPr>
      </p:pic>
      <p:graphicFrame>
        <p:nvGraphicFramePr>
          <p:cNvPr id="4" name="think-cell data - do not delete" hidden="1">
            <a:extLst>
              <a:ext uri="{FF2B5EF4-FFF2-40B4-BE49-F238E27FC236}">
                <a16:creationId xmlns:a16="http://schemas.microsoft.com/office/drawing/2014/main" id="{9F1B14C3-1DBD-BCCF-DD7D-7A77EE7C9D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6" imgW="344" imgH="345" progId="TCLayout.ActiveDocument.1">
                  <p:embed/>
                </p:oleObj>
              </mc:Choice>
              <mc:Fallback>
                <p:oleObj name="think-cell Folie" r:id="rId6" imgW="344" imgH="345" progId="TCLayout.ActiveDocument.1">
                  <p:embed/>
                  <p:pic>
                    <p:nvPicPr>
                      <p:cNvPr id="4" name="think-cell data - do not delete" hidden="1">
                        <a:extLst>
                          <a:ext uri="{FF2B5EF4-FFF2-40B4-BE49-F238E27FC236}">
                            <a16:creationId xmlns:a16="http://schemas.microsoft.com/office/drawing/2014/main" id="{9F1B14C3-1DBD-BCCF-DD7D-7A77EE7C9D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FE2FEF56-D330-7768-8531-D31077445DE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758785" y="1088743"/>
            <a:ext cx="6858001" cy="4680518"/>
          </a:xfrm>
          <a:prstGeom prst="rect">
            <a:avLst/>
          </a:prstGeom>
        </p:spPr>
      </p:pic>
      <p:sp>
        <p:nvSpPr>
          <p:cNvPr id="16" name="Titel 12">
            <a:extLst>
              <a:ext uri="{FF2B5EF4-FFF2-40B4-BE49-F238E27FC236}">
                <a16:creationId xmlns:a16="http://schemas.microsoft.com/office/drawing/2014/main" id="{0C432807-49B6-448D-979E-CB98654C1B3B}"/>
              </a:ext>
            </a:extLst>
          </p:cNvPr>
          <p:cNvSpPr>
            <a:spLocks noGrp="1"/>
          </p:cNvSpPr>
          <p:nvPr>
            <p:ph type="title"/>
          </p:nvPr>
        </p:nvSpPr>
        <p:spPr>
          <a:xfrm>
            <a:off x="335360" y="188720"/>
            <a:ext cx="9613068" cy="720000"/>
          </a:xfrm>
        </p:spPr>
        <p:txBody>
          <a:bodyPr/>
          <a:lstStyle/>
          <a:p>
            <a:r>
              <a:rPr lang="en-US" dirty="0">
                <a:latin typeface="Arial" panose="020B0604020202020204" pitchFamily="34" charset="0"/>
                <a:ea typeface="Verdana" pitchFamily="34" charset="0"/>
                <a:cs typeface="Arial" panose="020B0604020202020204" pitchFamily="34" charset="0"/>
              </a:rPr>
              <a:t>5 values of discrete IGBT7 family  </a:t>
            </a:r>
            <a:endParaRPr lang="en-US" dirty="0"/>
          </a:p>
        </p:txBody>
      </p:sp>
      <p:pic>
        <p:nvPicPr>
          <p:cNvPr id="9" name="Picture 8">
            <a:extLst>
              <a:ext uri="{FF2B5EF4-FFF2-40B4-BE49-F238E27FC236}">
                <a16:creationId xmlns:a16="http://schemas.microsoft.com/office/drawing/2014/main" id="{89DDAFEC-7136-471C-A5A5-850BF865830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17479" y="1304550"/>
            <a:ext cx="971335" cy="971335"/>
          </a:xfrm>
          <a:prstGeom prst="rect">
            <a:avLst/>
          </a:prstGeom>
        </p:spPr>
      </p:pic>
      <p:sp>
        <p:nvSpPr>
          <p:cNvPr id="11" name="Rechteck 23">
            <a:extLst>
              <a:ext uri="{FF2B5EF4-FFF2-40B4-BE49-F238E27FC236}">
                <a16:creationId xmlns:a16="http://schemas.microsoft.com/office/drawing/2014/main" id="{21FF2A0A-9833-4D5E-AF15-0292EB19B9DF}"/>
              </a:ext>
            </a:extLst>
          </p:cNvPr>
          <p:cNvSpPr/>
          <p:nvPr/>
        </p:nvSpPr>
        <p:spPr bwMode="auto">
          <a:xfrm>
            <a:off x="335360" y="3429080"/>
            <a:ext cx="4825462" cy="720000"/>
          </a:xfrm>
          <a:prstGeom prst="rect">
            <a:avLst/>
          </a:prstGeom>
          <a:ln w="9525">
            <a:solidFill>
              <a:schemeClr val="bg2"/>
            </a:solidFill>
          </a:ln>
        </p:spPr>
        <p:txBody>
          <a:bodyPr vert="horz" lIns="72000" tIns="72000" rIns="72000" bIns="72000" rtlCol="0" anchor="ctr">
            <a:noAutofit/>
          </a:bodyPr>
          <a:lstStyle/>
          <a:p>
            <a:pPr marL="252000" indent="-252000" defTabSz="576000">
              <a:lnSpc>
                <a:spcPct val="120000"/>
              </a:lnSpc>
              <a:spcBef>
                <a:spcPts val="0"/>
              </a:spcBef>
              <a:spcAft>
                <a:spcPts val="0"/>
              </a:spcAft>
              <a:buClr>
                <a:schemeClr val="tx2"/>
              </a:buClr>
              <a:buSzPct val="100000"/>
              <a:buFont typeface="Arial" panose="020B0604020202020204" pitchFamily="34" charset="0"/>
              <a:buChar char="‒"/>
            </a:pPr>
            <a:r>
              <a:rPr lang="en-US" sz="2000" dirty="0"/>
              <a:t>Efficiency – „Optimization“ </a:t>
            </a:r>
          </a:p>
        </p:txBody>
      </p:sp>
      <p:sp>
        <p:nvSpPr>
          <p:cNvPr id="13" name="Rechteck 23">
            <a:extLst>
              <a:ext uri="{FF2B5EF4-FFF2-40B4-BE49-F238E27FC236}">
                <a16:creationId xmlns:a16="http://schemas.microsoft.com/office/drawing/2014/main" id="{2E285A0F-A58A-4D55-977E-766E49A9EA30}"/>
              </a:ext>
            </a:extLst>
          </p:cNvPr>
          <p:cNvSpPr/>
          <p:nvPr/>
        </p:nvSpPr>
        <p:spPr bwMode="auto">
          <a:xfrm>
            <a:off x="335360" y="2468824"/>
            <a:ext cx="4825462" cy="720000"/>
          </a:xfrm>
          <a:prstGeom prst="rect">
            <a:avLst/>
          </a:prstGeom>
          <a:ln w="9525">
            <a:solidFill>
              <a:schemeClr val="bg2"/>
            </a:solidFill>
          </a:ln>
        </p:spPr>
        <p:txBody>
          <a:bodyPr vert="horz" lIns="72000" tIns="72000" rIns="72000" bIns="72000" rtlCol="0" anchor="ctr">
            <a:noAutofit/>
          </a:bodyPr>
          <a:lstStyle/>
          <a:p>
            <a:pPr marL="252000" indent="-252000" defTabSz="576000">
              <a:lnSpc>
                <a:spcPct val="120000"/>
              </a:lnSpc>
              <a:spcBef>
                <a:spcPts val="0"/>
              </a:spcBef>
              <a:spcAft>
                <a:spcPts val="0"/>
              </a:spcAft>
              <a:buClr>
                <a:schemeClr val="tx2"/>
              </a:buClr>
              <a:buSzPct val="100000"/>
              <a:buFont typeface="Arial" panose="020B0604020202020204" pitchFamily="34" charset="0"/>
              <a:buChar char="‒"/>
            </a:pPr>
            <a:r>
              <a:rPr lang="en-US" sz="2000" dirty="0"/>
              <a:t>Power density – „Space Minimization“</a:t>
            </a:r>
          </a:p>
        </p:txBody>
      </p:sp>
      <p:sp>
        <p:nvSpPr>
          <p:cNvPr id="14" name="Rechteck 23">
            <a:extLst>
              <a:ext uri="{FF2B5EF4-FFF2-40B4-BE49-F238E27FC236}">
                <a16:creationId xmlns:a16="http://schemas.microsoft.com/office/drawing/2014/main" id="{F974706C-6347-4D3B-AE7D-AC3F05DAEB33}"/>
              </a:ext>
            </a:extLst>
          </p:cNvPr>
          <p:cNvSpPr/>
          <p:nvPr/>
        </p:nvSpPr>
        <p:spPr bwMode="auto">
          <a:xfrm>
            <a:off x="335360" y="4365184"/>
            <a:ext cx="4825462" cy="720000"/>
          </a:xfrm>
          <a:prstGeom prst="rect">
            <a:avLst/>
          </a:prstGeom>
          <a:ln w="9525">
            <a:solidFill>
              <a:schemeClr val="bg2"/>
            </a:solidFill>
          </a:ln>
        </p:spPr>
        <p:txBody>
          <a:bodyPr vert="horz" lIns="72000" tIns="72000" rIns="72000" bIns="72000" rtlCol="0" anchor="ctr">
            <a:noAutofit/>
          </a:bodyPr>
          <a:lstStyle/>
          <a:p>
            <a:pPr marL="252000" indent="-252000" defTabSz="576000">
              <a:lnSpc>
                <a:spcPct val="120000"/>
              </a:lnSpc>
              <a:spcBef>
                <a:spcPts val="0"/>
              </a:spcBef>
              <a:spcAft>
                <a:spcPts val="0"/>
              </a:spcAft>
              <a:buClr>
                <a:schemeClr val="tx2"/>
              </a:buClr>
              <a:buSzPct val="100000"/>
              <a:buFont typeface="Arial" panose="020B0604020202020204" pitchFamily="34" charset="0"/>
              <a:buChar char="‒"/>
            </a:pPr>
            <a:r>
              <a:rPr lang="en-US" sz="2000" dirty="0"/>
              <a:t>System cost - „Affordability“</a:t>
            </a:r>
          </a:p>
        </p:txBody>
      </p:sp>
      <p:sp>
        <p:nvSpPr>
          <p:cNvPr id="15" name="Rechteck 23">
            <a:extLst>
              <a:ext uri="{FF2B5EF4-FFF2-40B4-BE49-F238E27FC236}">
                <a16:creationId xmlns:a16="http://schemas.microsoft.com/office/drawing/2014/main" id="{4E60B8DC-2F88-4C3C-9A12-103DEBFD7CA3}"/>
              </a:ext>
            </a:extLst>
          </p:cNvPr>
          <p:cNvSpPr/>
          <p:nvPr/>
        </p:nvSpPr>
        <p:spPr bwMode="auto">
          <a:xfrm>
            <a:off x="335360" y="1497489"/>
            <a:ext cx="4825462" cy="720000"/>
          </a:xfrm>
          <a:prstGeom prst="rect">
            <a:avLst/>
          </a:prstGeom>
          <a:ln w="9525">
            <a:solidFill>
              <a:schemeClr val="bg2"/>
            </a:solidFill>
          </a:ln>
        </p:spPr>
        <p:txBody>
          <a:bodyPr vert="horz" lIns="72000" tIns="72000" rIns="72000" bIns="72000" rtlCol="0" anchor="ctr">
            <a:noAutofit/>
          </a:bodyPr>
          <a:lstStyle/>
          <a:p>
            <a:pPr marL="252000" indent="-252000" defTabSz="576000">
              <a:lnSpc>
                <a:spcPct val="120000"/>
              </a:lnSpc>
              <a:spcBef>
                <a:spcPts val="0"/>
              </a:spcBef>
              <a:spcAft>
                <a:spcPts val="0"/>
              </a:spcAft>
              <a:buClr>
                <a:schemeClr val="tx2"/>
              </a:buClr>
              <a:buSzPct val="100000"/>
              <a:buFont typeface="Arial" panose="020B0604020202020204" pitchFamily="34" charset="0"/>
              <a:buChar char="‒"/>
            </a:pPr>
            <a:r>
              <a:rPr lang="en-US" sz="2000"/>
              <a:t>Ease of use – „Simplicity“</a:t>
            </a:r>
            <a:endParaRPr lang="en-US" sz="2000" dirty="0"/>
          </a:p>
        </p:txBody>
      </p:sp>
      <p:sp>
        <p:nvSpPr>
          <p:cNvPr id="17" name="Rechteck 23">
            <a:extLst>
              <a:ext uri="{FF2B5EF4-FFF2-40B4-BE49-F238E27FC236}">
                <a16:creationId xmlns:a16="http://schemas.microsoft.com/office/drawing/2014/main" id="{C7F7E3AB-6D74-449C-B1C2-2965CA885D27}"/>
              </a:ext>
            </a:extLst>
          </p:cNvPr>
          <p:cNvSpPr/>
          <p:nvPr/>
        </p:nvSpPr>
        <p:spPr bwMode="auto">
          <a:xfrm>
            <a:off x="335360" y="5301288"/>
            <a:ext cx="4825462" cy="720000"/>
          </a:xfrm>
          <a:prstGeom prst="rect">
            <a:avLst/>
          </a:prstGeom>
          <a:ln w="9525">
            <a:solidFill>
              <a:schemeClr val="bg2"/>
            </a:solidFill>
          </a:ln>
        </p:spPr>
        <p:txBody>
          <a:bodyPr vert="horz" lIns="72000" tIns="72000" rIns="72000" bIns="72000" rtlCol="0" anchor="ctr">
            <a:noAutofit/>
          </a:bodyPr>
          <a:lstStyle/>
          <a:p>
            <a:pPr marL="252000" indent="-252000" defTabSz="576000">
              <a:lnSpc>
                <a:spcPct val="120000"/>
              </a:lnSpc>
              <a:spcBef>
                <a:spcPts val="0"/>
              </a:spcBef>
              <a:spcAft>
                <a:spcPts val="0"/>
              </a:spcAft>
              <a:buClr>
                <a:schemeClr val="tx2"/>
              </a:buClr>
              <a:buSzPct val="100000"/>
              <a:buFont typeface="Arial" panose="020B0604020202020204" pitchFamily="34" charset="0"/>
              <a:buChar char="‒"/>
            </a:pPr>
            <a:r>
              <a:rPr lang="en-US" sz="2000" dirty="0"/>
              <a:t>Quality – „Robustness“ </a:t>
            </a:r>
          </a:p>
        </p:txBody>
      </p:sp>
    </p:spTree>
    <p:extLst>
      <p:ext uri="{BB962C8B-B14F-4D97-AF65-F5344CB8AC3E}">
        <p14:creationId xmlns:p14="http://schemas.microsoft.com/office/powerpoint/2010/main" val="38366370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Man using smart home panel">
            <a:extLst>
              <a:ext uri="{FF2B5EF4-FFF2-40B4-BE49-F238E27FC236}">
                <a16:creationId xmlns:a16="http://schemas.microsoft.com/office/drawing/2014/main" id="{68B18F58-1BBB-49AF-810C-0E3E77E82304}"/>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t="8970" r="23271"/>
          <a:stretch/>
        </p:blipFill>
        <p:spPr>
          <a:xfrm>
            <a:off x="4167159" y="1502671"/>
            <a:ext cx="8024841" cy="5355327"/>
          </a:xfrm>
          <a:prstGeom prst="rect">
            <a:avLst/>
          </a:prstGeom>
        </p:spPr>
      </p:pic>
      <p:sp>
        <p:nvSpPr>
          <p:cNvPr id="12" name="Pentagon 4">
            <a:extLst>
              <a:ext uri="{FF2B5EF4-FFF2-40B4-BE49-F238E27FC236}">
                <a16:creationId xmlns:a16="http://schemas.microsoft.com/office/drawing/2014/main" id="{08A28A8B-FF08-09F5-EDBD-595B20E7771E}"/>
              </a:ext>
            </a:extLst>
          </p:cNvPr>
          <p:cNvSpPr/>
          <p:nvPr/>
        </p:nvSpPr>
        <p:spPr bwMode="auto">
          <a:xfrm>
            <a:off x="0" y="1502674"/>
            <a:ext cx="5154992" cy="5355327"/>
          </a:xfrm>
          <a:custGeom>
            <a:avLst/>
            <a:gdLst>
              <a:gd name="connsiteX0" fmla="*/ 0 w 9484522"/>
              <a:gd name="connsiteY0" fmla="*/ 0 h 5111404"/>
              <a:gd name="connsiteX1" fmla="*/ 6928820 w 9484522"/>
              <a:gd name="connsiteY1" fmla="*/ 0 h 5111404"/>
              <a:gd name="connsiteX2" fmla="*/ 9484522 w 9484522"/>
              <a:gd name="connsiteY2" fmla="*/ 2555702 h 5111404"/>
              <a:gd name="connsiteX3" fmla="*/ 6928820 w 9484522"/>
              <a:gd name="connsiteY3" fmla="*/ 5111404 h 5111404"/>
              <a:gd name="connsiteX4" fmla="*/ 0 w 9484522"/>
              <a:gd name="connsiteY4" fmla="*/ 5111404 h 5111404"/>
              <a:gd name="connsiteX5" fmla="*/ 0 w 9484522"/>
              <a:gd name="connsiteY5" fmla="*/ 0 h 5111404"/>
              <a:gd name="connsiteX0" fmla="*/ 0 w 8220166"/>
              <a:gd name="connsiteY0" fmla="*/ 0 h 5111404"/>
              <a:gd name="connsiteX1" fmla="*/ 6928820 w 8220166"/>
              <a:gd name="connsiteY1" fmla="*/ 0 h 5111404"/>
              <a:gd name="connsiteX2" fmla="*/ 8220166 w 8220166"/>
              <a:gd name="connsiteY2" fmla="*/ 1765480 h 5111404"/>
              <a:gd name="connsiteX3" fmla="*/ 6928820 w 8220166"/>
              <a:gd name="connsiteY3" fmla="*/ 5111404 h 5111404"/>
              <a:gd name="connsiteX4" fmla="*/ 0 w 8220166"/>
              <a:gd name="connsiteY4" fmla="*/ 5111404 h 5111404"/>
              <a:gd name="connsiteX5" fmla="*/ 0 w 8220166"/>
              <a:gd name="connsiteY5" fmla="*/ 0 h 5111404"/>
              <a:gd name="connsiteX0" fmla="*/ 0 w 8605867"/>
              <a:gd name="connsiteY0" fmla="*/ 0 h 5111404"/>
              <a:gd name="connsiteX1" fmla="*/ 6928820 w 8605867"/>
              <a:gd name="connsiteY1" fmla="*/ 0 h 5111404"/>
              <a:gd name="connsiteX2" fmla="*/ 8605867 w 8605867"/>
              <a:gd name="connsiteY2" fmla="*/ 1745867 h 5111404"/>
              <a:gd name="connsiteX3" fmla="*/ 6928820 w 8605867"/>
              <a:gd name="connsiteY3" fmla="*/ 5111404 h 5111404"/>
              <a:gd name="connsiteX4" fmla="*/ 0 w 8605867"/>
              <a:gd name="connsiteY4" fmla="*/ 5111404 h 5111404"/>
              <a:gd name="connsiteX5" fmla="*/ 0 w 8605867"/>
              <a:gd name="connsiteY5" fmla="*/ 0 h 5111404"/>
              <a:gd name="connsiteX0" fmla="*/ 0 w 8605867"/>
              <a:gd name="connsiteY0" fmla="*/ 0 h 5131017"/>
              <a:gd name="connsiteX1" fmla="*/ 6928820 w 8605867"/>
              <a:gd name="connsiteY1" fmla="*/ 0 h 5131017"/>
              <a:gd name="connsiteX2" fmla="*/ 8605867 w 8605867"/>
              <a:gd name="connsiteY2" fmla="*/ 1745867 h 5131017"/>
              <a:gd name="connsiteX3" fmla="*/ 6446693 w 8605867"/>
              <a:gd name="connsiteY3" fmla="*/ 5131017 h 5131017"/>
              <a:gd name="connsiteX4" fmla="*/ 0 w 8605867"/>
              <a:gd name="connsiteY4" fmla="*/ 5111404 h 5131017"/>
              <a:gd name="connsiteX5" fmla="*/ 0 w 8605867"/>
              <a:gd name="connsiteY5" fmla="*/ 0 h 5131017"/>
              <a:gd name="connsiteX0" fmla="*/ 0 w 8686222"/>
              <a:gd name="connsiteY0" fmla="*/ 0 h 5131017"/>
              <a:gd name="connsiteX1" fmla="*/ 6928820 w 8686222"/>
              <a:gd name="connsiteY1" fmla="*/ 0 h 5131017"/>
              <a:gd name="connsiteX2" fmla="*/ 8686222 w 8686222"/>
              <a:gd name="connsiteY2" fmla="*/ 1677224 h 5131017"/>
              <a:gd name="connsiteX3" fmla="*/ 6446693 w 8686222"/>
              <a:gd name="connsiteY3" fmla="*/ 5131017 h 5131017"/>
              <a:gd name="connsiteX4" fmla="*/ 0 w 8686222"/>
              <a:gd name="connsiteY4" fmla="*/ 5111404 h 5131017"/>
              <a:gd name="connsiteX5" fmla="*/ 0 w 8686222"/>
              <a:gd name="connsiteY5" fmla="*/ 0 h 5131017"/>
              <a:gd name="connsiteX0" fmla="*/ 0 w 8686222"/>
              <a:gd name="connsiteY0" fmla="*/ 0 h 5111404"/>
              <a:gd name="connsiteX1" fmla="*/ 6928820 w 8686222"/>
              <a:gd name="connsiteY1" fmla="*/ 0 h 5111404"/>
              <a:gd name="connsiteX2" fmla="*/ 8686222 w 8686222"/>
              <a:gd name="connsiteY2" fmla="*/ 1677224 h 5111404"/>
              <a:gd name="connsiteX3" fmla="*/ 6768111 w 8686222"/>
              <a:gd name="connsiteY3" fmla="*/ 5111404 h 5111404"/>
              <a:gd name="connsiteX4" fmla="*/ 0 w 8686222"/>
              <a:gd name="connsiteY4" fmla="*/ 5111404 h 5111404"/>
              <a:gd name="connsiteX5" fmla="*/ 0 w 8686222"/>
              <a:gd name="connsiteY5" fmla="*/ 0 h 5111404"/>
              <a:gd name="connsiteX0" fmla="*/ 0 w 8766577"/>
              <a:gd name="connsiteY0" fmla="*/ 0 h 5111404"/>
              <a:gd name="connsiteX1" fmla="*/ 6928820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8766577"/>
              <a:gd name="connsiteY0" fmla="*/ 0 h 5111404"/>
              <a:gd name="connsiteX1" fmla="*/ 7153813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7153813"/>
              <a:gd name="connsiteY0" fmla="*/ 0 h 5111404"/>
              <a:gd name="connsiteX1" fmla="*/ 7153813 w 7153813"/>
              <a:gd name="connsiteY1" fmla="*/ 0 h 5111404"/>
              <a:gd name="connsiteX2" fmla="*/ 4952408 w 7153813"/>
              <a:gd name="connsiteY2" fmla="*/ 3237608 h 5111404"/>
              <a:gd name="connsiteX3" fmla="*/ 6768111 w 7153813"/>
              <a:gd name="connsiteY3" fmla="*/ 5111404 h 5111404"/>
              <a:gd name="connsiteX4" fmla="*/ 0 w 7153813"/>
              <a:gd name="connsiteY4" fmla="*/ 5111404 h 5111404"/>
              <a:gd name="connsiteX5" fmla="*/ 0 w 7153813"/>
              <a:gd name="connsiteY5" fmla="*/ 0 h 5111404"/>
              <a:gd name="connsiteX0" fmla="*/ 0 w 7153813"/>
              <a:gd name="connsiteY0" fmla="*/ 0 h 5111404"/>
              <a:gd name="connsiteX1" fmla="*/ 7153813 w 7153813"/>
              <a:gd name="connsiteY1" fmla="*/ 0 h 5111404"/>
              <a:gd name="connsiteX2" fmla="*/ 5775513 w 7153813"/>
              <a:gd name="connsiteY2" fmla="*/ 3245842 h 5111404"/>
              <a:gd name="connsiteX3" fmla="*/ 6768111 w 7153813"/>
              <a:gd name="connsiteY3" fmla="*/ 5111404 h 5111404"/>
              <a:gd name="connsiteX4" fmla="*/ 0 w 7153813"/>
              <a:gd name="connsiteY4" fmla="*/ 5111404 h 5111404"/>
              <a:gd name="connsiteX5" fmla="*/ 0 w 7153813"/>
              <a:gd name="connsiteY5" fmla="*/ 0 h 5111404"/>
              <a:gd name="connsiteX0" fmla="*/ 0 w 8063489"/>
              <a:gd name="connsiteY0" fmla="*/ 0 h 5111404"/>
              <a:gd name="connsiteX1" fmla="*/ 715381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6261280 w 8063489"/>
              <a:gd name="connsiteY2" fmla="*/ 3583415 h 5111404"/>
              <a:gd name="connsiteX3" fmla="*/ 8063489 w 8063489"/>
              <a:gd name="connsiteY3" fmla="*/ 5111404 h 5111404"/>
              <a:gd name="connsiteX4" fmla="*/ 0 w 8063489"/>
              <a:gd name="connsiteY4" fmla="*/ 5111404 h 5111404"/>
              <a:gd name="connsiteX5" fmla="*/ 0 w 8063489"/>
              <a:gd name="connsiteY5" fmla="*/ 0 h 511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3489" h="5111404">
                <a:moveTo>
                  <a:pt x="0" y="0"/>
                </a:moveTo>
                <a:lnTo>
                  <a:pt x="7693553" y="0"/>
                </a:lnTo>
                <a:lnTo>
                  <a:pt x="6261280" y="3583415"/>
                </a:lnTo>
                <a:lnTo>
                  <a:pt x="8063489" y="5111404"/>
                </a:lnTo>
                <a:lnTo>
                  <a:pt x="0" y="5111404"/>
                </a:lnTo>
                <a:lnTo>
                  <a:pt x="0" y="0"/>
                </a:lnTo>
                <a:close/>
              </a:path>
            </a:pathLst>
          </a:custGeom>
          <a:solidFill>
            <a:schemeClr val="tx2"/>
          </a:solidFill>
          <a:ln w="9525">
            <a:noFill/>
            <a:miter lim="800000"/>
            <a:headEnd/>
            <a:tailEnd/>
          </a:ln>
        </p:spPr>
        <p:txBody>
          <a:bodyPr wrap="square" lIns="72000" tIns="72000" rIns="72000" bIns="72000" rtlCol="0" anchor="ctr"/>
          <a:lstStyle/>
          <a:p>
            <a:pPr algn="ctr" defTabSz="575986" eaLnBrk="0" hangingPunct="0">
              <a:lnSpc>
                <a:spcPct val="120000"/>
              </a:lnSpc>
            </a:pPr>
            <a:endParaRPr lang="en-US" sz="1600" dirty="0">
              <a:solidFill>
                <a:srgbClr val="FFFFFF"/>
              </a:solidFill>
              <a:latin typeface="Arial"/>
              <a:ea typeface="Arial Unicode MS"/>
              <a:cs typeface="Arial"/>
            </a:endParaRPr>
          </a:p>
        </p:txBody>
      </p:sp>
      <p:sp>
        <p:nvSpPr>
          <p:cNvPr id="64" name="Title 63"/>
          <p:cNvSpPr>
            <a:spLocks noGrp="1"/>
          </p:cNvSpPr>
          <p:nvPr>
            <p:ph type="title"/>
          </p:nvPr>
        </p:nvSpPr>
        <p:spPr/>
        <p:txBody>
          <a:bodyPr/>
          <a:lstStyle/>
          <a:p>
            <a:br>
              <a:rPr lang="en-US" dirty="0"/>
            </a:br>
            <a:r>
              <a:rPr lang="en-US" dirty="0"/>
              <a:t>Ease of use – „Simplicity“</a:t>
            </a:r>
          </a:p>
        </p:txBody>
      </p:sp>
      <p:sp>
        <p:nvSpPr>
          <p:cNvPr id="8" name="TextBox 7">
            <a:extLst>
              <a:ext uri="{FF2B5EF4-FFF2-40B4-BE49-F238E27FC236}">
                <a16:creationId xmlns:a16="http://schemas.microsoft.com/office/drawing/2014/main" id="{35339051-A2FC-C8AC-138D-37B04278C1A5}"/>
              </a:ext>
            </a:extLst>
          </p:cNvPr>
          <p:cNvSpPr txBox="1"/>
          <p:nvPr/>
        </p:nvSpPr>
        <p:spPr bwMode="auto">
          <a:xfrm>
            <a:off x="494751" y="1787710"/>
            <a:ext cx="4120792" cy="1680717"/>
          </a:xfrm>
          <a:prstGeom prst="rect">
            <a:avLst/>
          </a:prstGeom>
          <a:noFill/>
          <a:ln w="9525">
            <a:noFill/>
            <a:miter lim="800000"/>
            <a:headEnd/>
            <a:tailEnd/>
          </a:ln>
          <a:effectLst/>
        </p:spPr>
        <p:txBody>
          <a:bodyPr wrap="square" lIns="0" tIns="0" rIns="0" bIns="0" rtlCol="0" anchor="t" anchorCtr="0">
            <a:spAutoFit/>
          </a:bodyPr>
          <a:lstStyle/>
          <a:p>
            <a:pPr marL="251994" indent="-251994" defTabSz="575986" eaLnBrk="0" hangingPunct="0">
              <a:lnSpc>
                <a:spcPct val="120000"/>
              </a:lnSpc>
              <a:spcAft>
                <a:spcPts val="600"/>
              </a:spcAft>
              <a:buClr>
                <a:srgbClr val="FFFFFF"/>
              </a:buClr>
              <a:buFont typeface="Arial" panose="020B0604020202020204" pitchFamily="34" charset="0"/>
              <a:buChar char="‒"/>
            </a:pPr>
            <a:r>
              <a:rPr lang="en-US" sz="1800" b="1" kern="0" dirty="0">
                <a:solidFill>
                  <a:srgbClr val="FFFFFF"/>
                </a:solidFill>
                <a:latin typeface="Arial"/>
              </a:rPr>
              <a:t>Easy to replace older technology</a:t>
            </a:r>
          </a:p>
          <a:p>
            <a:pPr marL="251994" indent="-251994" defTabSz="575986" eaLnBrk="0" hangingPunct="0">
              <a:lnSpc>
                <a:spcPct val="120000"/>
              </a:lnSpc>
              <a:spcAft>
                <a:spcPts val="600"/>
              </a:spcAft>
              <a:buClr>
                <a:srgbClr val="FFFFFF"/>
              </a:buClr>
              <a:buFont typeface="Arial" panose="020B0604020202020204" pitchFamily="34" charset="0"/>
              <a:buChar char="‒"/>
            </a:pPr>
            <a:endParaRPr lang="en-US" sz="1000" b="1" kern="0" dirty="0">
              <a:solidFill>
                <a:srgbClr val="FFFFFF"/>
              </a:solidFill>
              <a:latin typeface="Arial"/>
            </a:endParaRPr>
          </a:p>
          <a:p>
            <a:pPr marL="251994" indent="-251994" defTabSz="575986" eaLnBrk="0" hangingPunct="0">
              <a:lnSpc>
                <a:spcPct val="120000"/>
              </a:lnSpc>
              <a:spcAft>
                <a:spcPts val="600"/>
              </a:spcAft>
              <a:buClr>
                <a:srgbClr val="FFFFFF"/>
              </a:buClr>
              <a:buFont typeface="Arial" panose="020B0604020202020204" pitchFamily="34" charset="0"/>
              <a:buChar char="‒"/>
            </a:pPr>
            <a:r>
              <a:rPr lang="en-US" sz="1800" b="1" kern="0" dirty="0">
                <a:solidFill>
                  <a:srgbClr val="FFFFFF"/>
                </a:solidFill>
                <a:latin typeface="Arial"/>
              </a:rPr>
              <a:t>Controllability at its finest</a:t>
            </a:r>
          </a:p>
          <a:p>
            <a:pPr marL="251994" indent="-251994" defTabSz="575986" eaLnBrk="0" hangingPunct="0">
              <a:lnSpc>
                <a:spcPct val="120000"/>
              </a:lnSpc>
              <a:spcAft>
                <a:spcPts val="600"/>
              </a:spcAft>
              <a:buClr>
                <a:srgbClr val="FFFFFF"/>
              </a:buClr>
              <a:buFont typeface="Arial" panose="020B0604020202020204" pitchFamily="34" charset="0"/>
              <a:buChar char="‒"/>
            </a:pPr>
            <a:endParaRPr lang="en-US" sz="1000" b="1" kern="0" dirty="0">
              <a:solidFill>
                <a:srgbClr val="FFFFFF"/>
              </a:solidFill>
              <a:latin typeface="Arial"/>
            </a:endParaRPr>
          </a:p>
          <a:p>
            <a:pPr marL="251994" indent="-251994" defTabSz="575986" eaLnBrk="0" hangingPunct="0">
              <a:lnSpc>
                <a:spcPct val="120000"/>
              </a:lnSpc>
              <a:spcAft>
                <a:spcPts val="600"/>
              </a:spcAft>
              <a:buClr>
                <a:srgbClr val="FFFFFF"/>
              </a:buClr>
              <a:buFont typeface="Arial" panose="020B0604020202020204" pitchFamily="34" charset="0"/>
              <a:buChar char="‒"/>
            </a:pPr>
            <a:r>
              <a:rPr lang="en-US" sz="1800" b="1" kern="0" dirty="0">
                <a:solidFill>
                  <a:srgbClr val="FFFFFF"/>
                </a:solidFill>
                <a:latin typeface="Arial"/>
              </a:rPr>
              <a:t>Ruggedness in every condition </a:t>
            </a:r>
            <a:endParaRPr lang="en-US" sz="1800" b="1" kern="0" dirty="0">
              <a:solidFill>
                <a:srgbClr val="FFFFFF"/>
              </a:solidFill>
              <a:latin typeface="Arial"/>
              <a:ea typeface="Arial Unicode MS"/>
              <a:cs typeface="Arial"/>
            </a:endParaRPr>
          </a:p>
        </p:txBody>
      </p:sp>
      <p:grpSp>
        <p:nvGrpSpPr>
          <p:cNvPr id="2" name="Group 1">
            <a:extLst>
              <a:ext uri="{FF2B5EF4-FFF2-40B4-BE49-F238E27FC236}">
                <a16:creationId xmlns:a16="http://schemas.microsoft.com/office/drawing/2014/main" id="{3A3C2A9C-0BFA-CBC6-FB75-38801ADA30FC}"/>
              </a:ext>
            </a:extLst>
          </p:cNvPr>
          <p:cNvGrpSpPr/>
          <p:nvPr/>
        </p:nvGrpSpPr>
        <p:grpSpPr>
          <a:xfrm>
            <a:off x="5110294" y="1973179"/>
            <a:ext cx="1495248" cy="1495248"/>
            <a:chOff x="4974455" y="2704594"/>
            <a:chExt cx="2240977" cy="2240977"/>
          </a:xfrm>
        </p:grpSpPr>
        <p:sp>
          <p:nvSpPr>
            <p:cNvPr id="3" name="Flowchart: Connector 2">
              <a:extLst>
                <a:ext uri="{FF2B5EF4-FFF2-40B4-BE49-F238E27FC236}">
                  <a16:creationId xmlns:a16="http://schemas.microsoft.com/office/drawing/2014/main" id="{95036D9E-4CC2-C16E-D6D5-F681BC71C079}"/>
                </a:ext>
              </a:extLst>
            </p:cNvPr>
            <p:cNvSpPr/>
            <p:nvPr/>
          </p:nvSpPr>
          <p:spPr bwMode="auto">
            <a:xfrm>
              <a:off x="5055119" y="2780966"/>
              <a:ext cx="2088232" cy="2088232"/>
            </a:xfrm>
            <a:prstGeom prst="flowChartConnector">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13BCD55E-647C-12F2-1D35-A1491DE040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4455" y="2704594"/>
              <a:ext cx="2240977" cy="2240977"/>
            </a:xfrm>
            <a:prstGeom prst="rect">
              <a:avLst/>
            </a:prstGeom>
          </p:spPr>
        </p:pic>
      </p:grpSp>
    </p:spTree>
    <p:extLst>
      <p:ext uri="{BB962C8B-B14F-4D97-AF65-F5344CB8AC3E}">
        <p14:creationId xmlns:p14="http://schemas.microsoft.com/office/powerpoint/2010/main" val="8883228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BAED-5F18-08D9-3ED2-45419E9CFA61}"/>
              </a:ext>
            </a:extLst>
          </p:cNvPr>
          <p:cNvSpPr>
            <a:spLocks noGrp="1"/>
          </p:cNvSpPr>
          <p:nvPr>
            <p:ph type="title"/>
          </p:nvPr>
        </p:nvSpPr>
        <p:spPr/>
        <p:txBody>
          <a:bodyPr/>
          <a:lstStyle/>
          <a:p>
            <a:br>
              <a:rPr lang="en-US" dirty="0"/>
            </a:br>
            <a:br>
              <a:rPr lang="en-US" dirty="0"/>
            </a:br>
            <a:r>
              <a:rPr lang="en-US" dirty="0"/>
              <a:t>Easy to replace older technology</a:t>
            </a:r>
          </a:p>
        </p:txBody>
      </p:sp>
    </p:spTree>
    <p:extLst>
      <p:ext uri="{BB962C8B-B14F-4D97-AF65-F5344CB8AC3E}">
        <p14:creationId xmlns:p14="http://schemas.microsoft.com/office/powerpoint/2010/main" val="28139110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21">
            <a:extLst>
              <a:ext uri="{FF2B5EF4-FFF2-40B4-BE49-F238E27FC236}">
                <a16:creationId xmlns:a16="http://schemas.microsoft.com/office/drawing/2014/main" id="{7E424502-63ED-403E-BDB0-C9C751318222}"/>
              </a:ext>
            </a:extLst>
          </p:cNvPr>
          <p:cNvSpPr/>
          <p:nvPr/>
        </p:nvSpPr>
        <p:spPr bwMode="auto">
          <a:xfrm>
            <a:off x="6421131" y="5269032"/>
            <a:ext cx="5424487" cy="935744"/>
          </a:xfrm>
          <a:prstGeom prst="rect">
            <a:avLst/>
          </a:prstGeom>
          <a:solidFill>
            <a:schemeClr val="tx2"/>
          </a:solidFill>
          <a:ln w="9525">
            <a:noFill/>
            <a:miter lim="800000"/>
            <a:headEnd/>
            <a:tailEnd/>
          </a:ln>
        </p:spPr>
        <p:txBody>
          <a:bodyPr wrap="square" lIns="0" tIns="0" rIns="0" bIns="0" rtlCol="0" anchor="ctr"/>
          <a:lstStyle/>
          <a:p>
            <a:pPr lvl="0">
              <a:defRPr/>
            </a:pPr>
            <a:r>
              <a:rPr lang="en-US" sz="1600" b="1" dirty="0">
                <a:solidFill>
                  <a:schemeClr val="lt1"/>
                </a:solidFill>
                <a:latin typeface="Arial"/>
              </a:rPr>
              <a:t>  S7 shows better performance (</a:t>
            </a:r>
            <a:r>
              <a:rPr lang="en-US" sz="1600" b="1" dirty="0" err="1">
                <a:solidFill>
                  <a:schemeClr val="lt1"/>
                </a:solidFill>
                <a:latin typeface="Arial"/>
              </a:rPr>
              <a:t>I</a:t>
            </a:r>
            <a:r>
              <a:rPr lang="en-US" sz="1600" b="1" baseline="-25000" dirty="0" err="1">
                <a:solidFill>
                  <a:schemeClr val="lt1"/>
                </a:solidFill>
                <a:latin typeface="Arial"/>
              </a:rPr>
              <a:t>outMax</a:t>
            </a:r>
            <a:r>
              <a:rPr lang="en-US" sz="1600" b="1" dirty="0">
                <a:solidFill>
                  <a:schemeClr val="lt1"/>
                </a:solidFill>
                <a:latin typeface="Arial"/>
              </a:rPr>
              <a:t>)to T2 and H3. </a:t>
            </a:r>
          </a:p>
          <a:p>
            <a:pPr lvl="0">
              <a:defRPr/>
            </a:pPr>
            <a:r>
              <a:rPr lang="en-US" i="1" dirty="0">
                <a:solidFill>
                  <a:schemeClr val="lt1"/>
                </a:solidFill>
                <a:latin typeface="Arial"/>
              </a:rPr>
              <a:t>  The S7’s higher current density is </a:t>
            </a:r>
            <a:r>
              <a:rPr lang="en-US" b="1" i="1" dirty="0">
                <a:solidFill>
                  <a:schemeClr val="lt1"/>
                </a:solidFill>
                <a:latin typeface="Arial"/>
              </a:rPr>
              <a:t>perfectly compensated</a:t>
            </a:r>
            <a:r>
              <a:rPr lang="en-US" i="1" dirty="0">
                <a:solidFill>
                  <a:schemeClr val="lt1"/>
                </a:solidFill>
                <a:latin typeface="Arial"/>
              </a:rPr>
              <a:t> by the   </a:t>
            </a:r>
          </a:p>
          <a:p>
            <a:pPr lvl="0">
              <a:defRPr/>
            </a:pPr>
            <a:r>
              <a:rPr lang="en-US" i="1" dirty="0">
                <a:solidFill>
                  <a:schemeClr val="lt1"/>
                </a:solidFill>
                <a:latin typeface="Arial"/>
              </a:rPr>
              <a:t>  lower static-dynamic losses.</a:t>
            </a:r>
          </a:p>
        </p:txBody>
      </p:sp>
      <p:sp>
        <p:nvSpPr>
          <p:cNvPr id="2" name="Title 1">
            <a:extLst>
              <a:ext uri="{FF2B5EF4-FFF2-40B4-BE49-F238E27FC236}">
                <a16:creationId xmlns:a16="http://schemas.microsoft.com/office/drawing/2014/main" id="{38A98D01-A857-4557-8E31-51DF5CD191D0}"/>
              </a:ext>
            </a:extLst>
          </p:cNvPr>
          <p:cNvSpPr>
            <a:spLocks noGrp="1"/>
          </p:cNvSpPr>
          <p:nvPr>
            <p:ph type="title"/>
          </p:nvPr>
        </p:nvSpPr>
        <p:spPr>
          <a:xfrm>
            <a:off x="335360" y="188720"/>
            <a:ext cx="9793088" cy="720000"/>
          </a:xfrm>
          <a:noFill/>
          <a:ln/>
          <a:extLst>
            <a:ext uri="{909E8E84-426E-40DD-AFC4-6F175D3DCCD1}">
              <a14:hiddenFill xmlns:a14="http://schemas.microsoft.com/office/drawing/2010/main">
                <a:solidFill>
                  <a:srgbClr val="FFFFFF">
                    <a:alpha val="0"/>
                  </a:srgbClr>
                </a:solidFill>
              </a14:hiddenFill>
            </a:ext>
          </a:extLst>
        </p:spPr>
        <p:txBody>
          <a:bodyPr lIns="0" tIns="0" rIns="0" bIns="10800" anchor="b">
            <a:noAutofit/>
          </a:bodyPr>
          <a:lstStyle/>
          <a:p>
            <a:r>
              <a:rPr lang="en-US" dirty="0">
                <a:solidFill>
                  <a:srgbClr val="0A8276"/>
                </a:solidFill>
                <a:latin typeface="Arial" panose="020B0604020202020204" pitchFamily="34" charset="0"/>
              </a:rPr>
              <a:t>The never-ending debate: current density vs. thermal performance</a:t>
            </a:r>
            <a:br>
              <a:rPr lang="en-US" dirty="0">
                <a:solidFill>
                  <a:srgbClr val="0A8276"/>
                </a:solidFill>
                <a:latin typeface="Arial" panose="020B0604020202020204" pitchFamily="34" charset="0"/>
              </a:rPr>
            </a:br>
            <a:r>
              <a:rPr lang="en-US" dirty="0">
                <a:solidFill>
                  <a:srgbClr val="0A8276"/>
                </a:solidFill>
                <a:latin typeface="Arial" panose="020B0604020202020204" pitchFamily="34" charset="0"/>
              </a:rPr>
              <a:t>Can newer technology replace the older one?</a:t>
            </a:r>
          </a:p>
        </p:txBody>
      </p:sp>
      <p:sp>
        <p:nvSpPr>
          <p:cNvPr id="10" name="Rechteck 2">
            <a:extLst>
              <a:ext uri="{FF2B5EF4-FFF2-40B4-BE49-F238E27FC236}">
                <a16:creationId xmlns:a16="http://schemas.microsoft.com/office/drawing/2014/main" id="{ABAC2198-1AE0-47FA-850B-644798F39148}"/>
              </a:ext>
            </a:extLst>
          </p:cNvPr>
          <p:cNvSpPr/>
          <p:nvPr>
            <p:custDataLst>
              <p:tags r:id="rId1"/>
            </p:custDataLst>
          </p:nvPr>
        </p:nvSpPr>
        <p:spPr>
          <a:xfrm>
            <a:off x="6094412" y="5269031"/>
            <a:ext cx="323967" cy="935744"/>
          </a:xfrm>
          <a:prstGeom prst="rect">
            <a:avLst/>
          </a:prstGeom>
          <a:solidFill>
            <a:srgbClr val="F97414"/>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cs typeface="Arial"/>
                <a:sym typeface="Wingdings" panose="05000000000000000000" pitchFamily="2" charset="2"/>
              </a:rPr>
              <a:t></a:t>
            </a:r>
            <a:endParaRPr kumimoji="0" lang="en-US" sz="2000" b="1" i="0" u="none" strike="noStrike" kern="1200" cap="none" spc="0" normalizeH="0" baseline="0" noProof="0" dirty="0">
              <a:ln>
                <a:noFill/>
              </a:ln>
              <a:solidFill>
                <a:srgbClr val="FFFFFF"/>
              </a:solidFill>
              <a:effectLst/>
              <a:uLnTx/>
              <a:uFillTx/>
              <a:latin typeface="Arial"/>
              <a:cs typeface="Arial"/>
            </a:endParaRPr>
          </a:p>
        </p:txBody>
      </p:sp>
      <p:graphicFrame>
        <p:nvGraphicFramePr>
          <p:cNvPr id="9" name="Chart 8">
            <a:extLst>
              <a:ext uri="{FF2B5EF4-FFF2-40B4-BE49-F238E27FC236}">
                <a16:creationId xmlns:a16="http://schemas.microsoft.com/office/drawing/2014/main" id="{7279914F-BD3C-4ACD-9826-761496171BDC}"/>
              </a:ext>
            </a:extLst>
          </p:cNvPr>
          <p:cNvGraphicFramePr>
            <a:graphicFrameLocks/>
          </p:cNvGraphicFramePr>
          <p:nvPr/>
        </p:nvGraphicFramePr>
        <p:xfrm>
          <a:off x="6096000" y="1268412"/>
          <a:ext cx="5761038" cy="39879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able 4">
            <a:extLst>
              <a:ext uri="{FF2B5EF4-FFF2-40B4-BE49-F238E27FC236}">
                <a16:creationId xmlns:a16="http://schemas.microsoft.com/office/drawing/2014/main" id="{4B759C19-2971-4742-AD60-BDC506FA4A6D}"/>
              </a:ext>
            </a:extLst>
          </p:cNvPr>
          <p:cNvGraphicFramePr>
            <a:graphicFrameLocks noGrp="1"/>
          </p:cNvGraphicFramePr>
          <p:nvPr/>
        </p:nvGraphicFramePr>
        <p:xfrm>
          <a:off x="7781973" y="3215959"/>
          <a:ext cx="2592287" cy="1478357"/>
        </p:xfrm>
        <a:graphic>
          <a:graphicData uri="http://schemas.openxmlformats.org/drawingml/2006/table">
            <a:tbl>
              <a:tblPr firstRow="1" bandRow="1">
                <a:tableStyleId>{F5AB1C69-6EDB-4FF4-983F-18BD219EF322}</a:tableStyleId>
              </a:tblPr>
              <a:tblGrid>
                <a:gridCol w="1368152">
                  <a:extLst>
                    <a:ext uri="{9D8B030D-6E8A-4147-A177-3AD203B41FA5}">
                      <a16:colId xmlns:a16="http://schemas.microsoft.com/office/drawing/2014/main" val="1605582494"/>
                    </a:ext>
                  </a:extLst>
                </a:gridCol>
                <a:gridCol w="682508">
                  <a:extLst>
                    <a:ext uri="{9D8B030D-6E8A-4147-A177-3AD203B41FA5}">
                      <a16:colId xmlns:a16="http://schemas.microsoft.com/office/drawing/2014/main" val="1408049146"/>
                    </a:ext>
                  </a:extLst>
                </a:gridCol>
                <a:gridCol w="541627">
                  <a:extLst>
                    <a:ext uri="{9D8B030D-6E8A-4147-A177-3AD203B41FA5}">
                      <a16:colId xmlns:a16="http://schemas.microsoft.com/office/drawing/2014/main" val="3045114161"/>
                    </a:ext>
                  </a:extLst>
                </a:gridCol>
              </a:tblGrid>
              <a:tr h="274397">
                <a:tc>
                  <a:txBody>
                    <a:bodyPr/>
                    <a:lstStyle/>
                    <a:p>
                      <a:pPr algn="ctr"/>
                      <a:r>
                        <a:rPr lang="en-US" sz="1200"/>
                        <a:t>Parameter</a:t>
                      </a:r>
                      <a:endParaRPr lang="en-US" sz="1200" dirty="0"/>
                    </a:p>
                  </a:txBody>
                  <a:tcPr>
                    <a:solidFill>
                      <a:srgbClr val="F97414"/>
                    </a:solidFill>
                  </a:tcPr>
                </a:tc>
                <a:tc>
                  <a:txBody>
                    <a:bodyPr/>
                    <a:lstStyle/>
                    <a:p>
                      <a:pPr algn="ctr"/>
                      <a:r>
                        <a:rPr lang="en-US" sz="1200"/>
                        <a:t>Value</a:t>
                      </a:r>
                      <a:endParaRPr lang="en-US" sz="1200" dirty="0"/>
                    </a:p>
                  </a:txBody>
                  <a:tcPr>
                    <a:solidFill>
                      <a:srgbClr val="F97414"/>
                    </a:solidFill>
                  </a:tcPr>
                </a:tc>
                <a:tc>
                  <a:txBody>
                    <a:bodyPr/>
                    <a:lstStyle/>
                    <a:p>
                      <a:pPr algn="ctr"/>
                      <a:r>
                        <a:rPr lang="en-US" sz="1200"/>
                        <a:t>Unit</a:t>
                      </a:r>
                      <a:endParaRPr lang="en-US" sz="1200" dirty="0"/>
                    </a:p>
                  </a:txBody>
                  <a:tcPr>
                    <a:solidFill>
                      <a:srgbClr val="F97414"/>
                    </a:solidFill>
                  </a:tcPr>
                </a:tc>
                <a:extLst>
                  <a:ext uri="{0D108BD9-81ED-4DB2-BD59-A6C34878D82A}">
                    <a16:rowId xmlns:a16="http://schemas.microsoft.com/office/drawing/2014/main" val="3140232605"/>
                  </a:ext>
                </a:extLst>
              </a:tr>
              <a:tr h="249452">
                <a:tc>
                  <a:txBody>
                    <a:bodyPr/>
                    <a:lstStyle/>
                    <a:p>
                      <a:pPr algn="r"/>
                      <a:r>
                        <a:rPr lang="en-US" sz="1100" dirty="0"/>
                        <a:t>DC </a:t>
                      </a:r>
                      <a:r>
                        <a:rPr lang="en-US" sz="1100"/>
                        <a:t>bus voltage</a:t>
                      </a:r>
                      <a:endParaRPr lang="en-US" sz="1100" dirty="0"/>
                    </a:p>
                  </a:txBody>
                  <a:tcPr/>
                </a:tc>
                <a:tc>
                  <a:txBody>
                    <a:bodyPr/>
                    <a:lstStyle/>
                    <a:p>
                      <a:r>
                        <a:rPr lang="en-US" sz="1100"/>
                        <a:t>800</a:t>
                      </a:r>
                      <a:endParaRPr lang="en-US" sz="1100" dirty="0"/>
                    </a:p>
                  </a:txBody>
                  <a:tcPr/>
                </a:tc>
                <a:tc>
                  <a:txBody>
                    <a:bodyPr/>
                    <a:lstStyle/>
                    <a:p>
                      <a:r>
                        <a:rPr lang="en-US" sz="1100"/>
                        <a:t>V</a:t>
                      </a:r>
                      <a:endParaRPr lang="en-US" sz="1100" dirty="0"/>
                    </a:p>
                  </a:txBody>
                  <a:tcPr/>
                </a:tc>
                <a:extLst>
                  <a:ext uri="{0D108BD9-81ED-4DB2-BD59-A6C34878D82A}">
                    <a16:rowId xmlns:a16="http://schemas.microsoft.com/office/drawing/2014/main" val="4091226402"/>
                  </a:ext>
                </a:extLst>
              </a:tr>
              <a:tr h="249452">
                <a:tc>
                  <a:txBody>
                    <a:bodyPr/>
                    <a:lstStyle/>
                    <a:p>
                      <a:pPr algn="r"/>
                      <a:r>
                        <a:rPr lang="en-US" sz="1100" dirty="0"/>
                        <a:t>Modulation </a:t>
                      </a:r>
                      <a:r>
                        <a:rPr lang="en-US" sz="1100" baseline="-25000" dirty="0"/>
                        <a:t>(</a:t>
                      </a:r>
                      <a:r>
                        <a:rPr lang="en-US" sz="1100" baseline="-25000"/>
                        <a:t>SPWM)</a:t>
                      </a:r>
                      <a:endParaRPr lang="en-US" sz="1100" baseline="-25000" dirty="0"/>
                    </a:p>
                  </a:txBody>
                  <a:tcPr/>
                </a:tc>
                <a:tc>
                  <a:txBody>
                    <a:bodyPr/>
                    <a:lstStyle/>
                    <a:p>
                      <a:r>
                        <a:rPr lang="en-US" sz="1100"/>
                        <a:t>60</a:t>
                      </a:r>
                      <a:endParaRPr lang="en-US" sz="1100" dirty="0"/>
                    </a:p>
                  </a:txBody>
                  <a:tcPr/>
                </a:tc>
                <a:tc>
                  <a:txBody>
                    <a:bodyPr/>
                    <a:lstStyle/>
                    <a:p>
                      <a:r>
                        <a:rPr lang="en-US" sz="1100"/>
                        <a:t>%</a:t>
                      </a:r>
                      <a:endParaRPr lang="en-US" sz="1100" dirty="0"/>
                    </a:p>
                  </a:txBody>
                  <a:tcPr/>
                </a:tc>
                <a:extLst>
                  <a:ext uri="{0D108BD9-81ED-4DB2-BD59-A6C34878D82A}">
                    <a16:rowId xmlns:a16="http://schemas.microsoft.com/office/drawing/2014/main" val="440910554"/>
                  </a:ext>
                </a:extLst>
              </a:tr>
              <a:tr h="273031">
                <a:tc>
                  <a:txBody>
                    <a:bodyPr/>
                    <a:lstStyle/>
                    <a:p>
                      <a:pPr algn="r"/>
                      <a:r>
                        <a:rPr lang="en-US" sz="1100"/>
                        <a:t>Electrical frequency</a:t>
                      </a:r>
                      <a:endParaRPr lang="en-US" sz="1100" dirty="0"/>
                    </a:p>
                  </a:txBody>
                  <a:tcPr/>
                </a:tc>
                <a:tc>
                  <a:txBody>
                    <a:bodyPr/>
                    <a:lstStyle/>
                    <a:p>
                      <a:r>
                        <a:rPr lang="en-US" sz="1100" dirty="0"/>
                        <a:t>50</a:t>
                      </a:r>
                    </a:p>
                  </a:txBody>
                  <a:tcPr/>
                </a:tc>
                <a:tc>
                  <a:txBody>
                    <a:bodyPr/>
                    <a:lstStyle/>
                    <a:p>
                      <a:r>
                        <a:rPr lang="en-US" sz="1100"/>
                        <a:t>Hz</a:t>
                      </a:r>
                      <a:endParaRPr lang="en-US" sz="800" b="0" i="1" kern="1200" dirty="0">
                        <a:solidFill>
                          <a:schemeClr val="bg1">
                            <a:lumMod val="50000"/>
                          </a:schemeClr>
                        </a:solidFill>
                        <a:latin typeface="+mn-lt"/>
                        <a:ea typeface="+mn-ea"/>
                        <a:cs typeface="+mn-cs"/>
                      </a:endParaRPr>
                    </a:p>
                  </a:txBody>
                  <a:tcPr/>
                </a:tc>
                <a:extLst>
                  <a:ext uri="{0D108BD9-81ED-4DB2-BD59-A6C34878D82A}">
                    <a16:rowId xmlns:a16="http://schemas.microsoft.com/office/drawing/2014/main" val="1544591001"/>
                  </a:ext>
                </a:extLst>
              </a:tr>
              <a:tr h="249452">
                <a:tc>
                  <a:txBody>
                    <a:bodyPr/>
                    <a:lstStyle/>
                    <a:p>
                      <a:pPr algn="r"/>
                      <a:r>
                        <a:rPr lang="en-US" sz="1100" dirty="0"/>
                        <a:t>Cos(</a:t>
                      </a:r>
                      <a:r>
                        <a:rPr lang="en-US" sz="1100"/>
                        <a:t>phi)</a:t>
                      </a:r>
                      <a:endParaRPr lang="en-US" sz="1100" dirty="0"/>
                    </a:p>
                  </a:txBody>
                  <a:tcPr/>
                </a:tc>
                <a:tc>
                  <a:txBody>
                    <a:bodyPr/>
                    <a:lstStyle/>
                    <a:p>
                      <a:r>
                        <a:rPr lang="en-US" sz="1100"/>
                        <a:t>0.9</a:t>
                      </a:r>
                      <a:endParaRPr lang="en-US" sz="1100" dirty="0"/>
                    </a:p>
                  </a:txBody>
                  <a:tcPr/>
                </a:tc>
                <a:tc>
                  <a:txBody>
                    <a:bodyPr/>
                    <a:lstStyle/>
                    <a:p>
                      <a:r>
                        <a:rPr lang="en-US" sz="1100"/>
                        <a:t>-</a:t>
                      </a:r>
                      <a:endParaRPr lang="en-US" sz="1100" dirty="0"/>
                    </a:p>
                  </a:txBody>
                  <a:tcPr/>
                </a:tc>
                <a:extLst>
                  <a:ext uri="{0D108BD9-81ED-4DB2-BD59-A6C34878D82A}">
                    <a16:rowId xmlns:a16="http://schemas.microsoft.com/office/drawing/2014/main" val="2835833779"/>
                  </a:ext>
                </a:extLst>
              </a:tr>
            </a:tbl>
          </a:graphicData>
        </a:graphic>
      </p:graphicFrame>
      <p:sp>
        <p:nvSpPr>
          <p:cNvPr id="13" name="Arrow: Right 12">
            <a:extLst>
              <a:ext uri="{FF2B5EF4-FFF2-40B4-BE49-F238E27FC236}">
                <a16:creationId xmlns:a16="http://schemas.microsoft.com/office/drawing/2014/main" id="{64E6115F-238B-DCD7-00DE-92EF206F5342}"/>
              </a:ext>
            </a:extLst>
          </p:cNvPr>
          <p:cNvSpPr/>
          <p:nvPr/>
        </p:nvSpPr>
        <p:spPr bwMode="auto">
          <a:xfrm rot="16200000">
            <a:off x="269082" y="1340594"/>
            <a:ext cx="1152476" cy="1008112"/>
          </a:xfrm>
          <a:prstGeom prst="rightArrow">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15" name="TextBox 14">
            <a:extLst>
              <a:ext uri="{FF2B5EF4-FFF2-40B4-BE49-F238E27FC236}">
                <a16:creationId xmlns:a16="http://schemas.microsoft.com/office/drawing/2014/main" id="{0AAC5E8E-7CD8-72F4-198D-ED967EE90871}"/>
              </a:ext>
            </a:extLst>
          </p:cNvPr>
          <p:cNvSpPr txBox="1"/>
          <p:nvPr/>
        </p:nvSpPr>
        <p:spPr bwMode="auto">
          <a:xfrm>
            <a:off x="334962" y="2530043"/>
            <a:ext cx="1008113" cy="501073"/>
          </a:xfrm>
          <a:prstGeom prst="rect">
            <a:avLst/>
          </a:prstGeom>
          <a:no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Chip current density</a:t>
            </a:r>
          </a:p>
        </p:txBody>
      </p:sp>
      <p:sp>
        <p:nvSpPr>
          <p:cNvPr id="16" name="Arrow: Right 15">
            <a:extLst>
              <a:ext uri="{FF2B5EF4-FFF2-40B4-BE49-F238E27FC236}">
                <a16:creationId xmlns:a16="http://schemas.microsoft.com/office/drawing/2014/main" id="{2987385A-30C4-881C-0A8E-2923664485F1}"/>
              </a:ext>
            </a:extLst>
          </p:cNvPr>
          <p:cNvSpPr/>
          <p:nvPr/>
        </p:nvSpPr>
        <p:spPr bwMode="auto">
          <a:xfrm rot="16200000">
            <a:off x="1611654" y="1340594"/>
            <a:ext cx="1152476" cy="1008112"/>
          </a:xfrm>
          <a:prstGeom prst="rightArrow">
            <a:avLst/>
          </a:prstGeom>
          <a:solidFill>
            <a:srgbClr val="F97414"/>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17" name="TextBox 16">
            <a:extLst>
              <a:ext uri="{FF2B5EF4-FFF2-40B4-BE49-F238E27FC236}">
                <a16:creationId xmlns:a16="http://schemas.microsoft.com/office/drawing/2014/main" id="{F4F7361C-90FA-56D3-2006-FC219389EBA4}"/>
              </a:ext>
            </a:extLst>
          </p:cNvPr>
          <p:cNvSpPr txBox="1"/>
          <p:nvPr/>
        </p:nvSpPr>
        <p:spPr bwMode="auto">
          <a:xfrm>
            <a:off x="1566176" y="2515100"/>
            <a:ext cx="1243432" cy="501073"/>
          </a:xfrm>
          <a:prstGeom prst="rect">
            <a:avLst/>
          </a:prstGeom>
          <a:no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R</a:t>
            </a:r>
            <a:r>
              <a:rPr lang="en-US" sz="1400" kern="0" baseline="-25000" dirty="0">
                <a:latin typeface="+mn-lt"/>
                <a:ea typeface="+mn-ea"/>
                <a:cs typeface="+mn-cs"/>
              </a:rPr>
              <a:t>(th)JC</a:t>
            </a:r>
            <a:r>
              <a:rPr lang="en-US" sz="1400" kern="0" baseline="0" dirty="0">
                <a:latin typeface="+mn-lt"/>
                <a:ea typeface="+mn-ea"/>
                <a:cs typeface="+mn-cs"/>
              </a:rPr>
              <a:t> goes higher</a:t>
            </a:r>
          </a:p>
        </p:txBody>
      </p:sp>
      <p:pic>
        <p:nvPicPr>
          <p:cNvPr id="21" name="Picture 20" descr="A question mark in a circle&#10;&#10;Description automatically generated">
            <a:extLst>
              <a:ext uri="{FF2B5EF4-FFF2-40B4-BE49-F238E27FC236}">
                <a16:creationId xmlns:a16="http://schemas.microsoft.com/office/drawing/2014/main" id="{0BA48650-2E46-709D-7E84-A51C904FFF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48127" y="2170968"/>
            <a:ext cx="814842" cy="814842"/>
          </a:xfrm>
          <a:prstGeom prst="rect">
            <a:avLst/>
          </a:prstGeom>
        </p:spPr>
      </p:pic>
      <p:sp>
        <p:nvSpPr>
          <p:cNvPr id="23" name="TextBox 22">
            <a:extLst>
              <a:ext uri="{FF2B5EF4-FFF2-40B4-BE49-F238E27FC236}">
                <a16:creationId xmlns:a16="http://schemas.microsoft.com/office/drawing/2014/main" id="{CFEF6FEA-AAE3-3490-C400-97DA65A88D87}"/>
              </a:ext>
            </a:extLst>
          </p:cNvPr>
          <p:cNvSpPr txBox="1"/>
          <p:nvPr/>
        </p:nvSpPr>
        <p:spPr bwMode="auto">
          <a:xfrm>
            <a:off x="3060805" y="1709653"/>
            <a:ext cx="3017471" cy="479415"/>
          </a:xfrm>
          <a:prstGeom prst="rect">
            <a:avLst/>
          </a:prstGeom>
          <a:noFill/>
          <a:ln w="9525">
            <a:noFill/>
            <a:miter lim="800000"/>
            <a:headEnd/>
            <a:tailEnd/>
          </a:ln>
          <a:effectLst/>
        </p:spPr>
        <p:txBody>
          <a:bodyPr wrap="square" lIns="0" tIns="0" rIns="0" bIns="0" rtlCol="0" anchor="ctr" anchorCtr="0">
            <a:noAutofit/>
          </a:bodyPr>
          <a:lstStyle/>
          <a:p>
            <a:pPr defTabSz="576000" eaLnBrk="0" fontAlgn="auto" hangingPunct="0">
              <a:spcBef>
                <a:spcPts val="0"/>
              </a:spcBef>
              <a:spcAft>
                <a:spcPts val="0"/>
              </a:spcAft>
              <a:buClr>
                <a:schemeClr val="accent1"/>
              </a:buClr>
            </a:pPr>
            <a:r>
              <a:rPr lang="en-US" sz="1500" b="1" kern="0" baseline="0" dirty="0">
                <a:solidFill>
                  <a:schemeClr val="dk2"/>
                </a:solidFill>
                <a:latin typeface="+mn-lt"/>
                <a:ea typeface="+mn-ea"/>
                <a:cs typeface="+mn-cs"/>
              </a:rPr>
              <a:t>Do I get the same output power</a:t>
            </a:r>
          </a:p>
        </p:txBody>
      </p:sp>
      <p:sp>
        <p:nvSpPr>
          <p:cNvPr id="25" name="Arrow: Right 24">
            <a:extLst>
              <a:ext uri="{FF2B5EF4-FFF2-40B4-BE49-F238E27FC236}">
                <a16:creationId xmlns:a16="http://schemas.microsoft.com/office/drawing/2014/main" id="{C80C0533-8A5C-3540-AD87-A02F3F2B1298}"/>
              </a:ext>
            </a:extLst>
          </p:cNvPr>
          <p:cNvSpPr/>
          <p:nvPr/>
        </p:nvSpPr>
        <p:spPr bwMode="auto">
          <a:xfrm rot="16200000">
            <a:off x="1203864" y="4188126"/>
            <a:ext cx="1152476" cy="1008112"/>
          </a:xfrm>
          <a:prstGeom prst="rightArrow">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26" name="TextBox 25">
            <a:extLst>
              <a:ext uri="{FF2B5EF4-FFF2-40B4-BE49-F238E27FC236}">
                <a16:creationId xmlns:a16="http://schemas.microsoft.com/office/drawing/2014/main" id="{B9101BE1-CFB4-CA4D-D386-8E480B0ECA09}"/>
              </a:ext>
            </a:extLst>
          </p:cNvPr>
          <p:cNvSpPr txBox="1"/>
          <p:nvPr/>
        </p:nvSpPr>
        <p:spPr bwMode="auto">
          <a:xfrm>
            <a:off x="1269744" y="5377575"/>
            <a:ext cx="1008113" cy="501073"/>
          </a:xfrm>
          <a:prstGeom prst="rect">
            <a:avLst/>
          </a:prstGeom>
          <a:no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Newer technology</a:t>
            </a:r>
          </a:p>
        </p:txBody>
      </p:sp>
      <p:sp>
        <p:nvSpPr>
          <p:cNvPr id="27" name="Arrow: Right 26">
            <a:extLst>
              <a:ext uri="{FF2B5EF4-FFF2-40B4-BE49-F238E27FC236}">
                <a16:creationId xmlns:a16="http://schemas.microsoft.com/office/drawing/2014/main" id="{DCAC06BB-8B93-F640-EAC5-382D76C4899B}"/>
              </a:ext>
            </a:extLst>
          </p:cNvPr>
          <p:cNvSpPr/>
          <p:nvPr/>
        </p:nvSpPr>
        <p:spPr bwMode="auto">
          <a:xfrm rot="16200000">
            <a:off x="3489247" y="4179770"/>
            <a:ext cx="1152476" cy="1008112"/>
          </a:xfrm>
          <a:prstGeom prst="rightArrow">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28" name="TextBox 27">
            <a:extLst>
              <a:ext uri="{FF2B5EF4-FFF2-40B4-BE49-F238E27FC236}">
                <a16:creationId xmlns:a16="http://schemas.microsoft.com/office/drawing/2014/main" id="{147E3D63-4354-2677-692C-B06584C99505}"/>
              </a:ext>
            </a:extLst>
          </p:cNvPr>
          <p:cNvSpPr txBox="1"/>
          <p:nvPr/>
        </p:nvSpPr>
        <p:spPr bwMode="auto">
          <a:xfrm>
            <a:off x="3342254" y="5396416"/>
            <a:ext cx="1446463" cy="501073"/>
          </a:xfrm>
          <a:prstGeom prst="rect">
            <a:avLst/>
          </a:prstGeom>
          <a:no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Chip &amp; </a:t>
            </a:r>
            <a:r>
              <a:rPr lang="en-US" b="1" kern="0" dirty="0">
                <a:latin typeface="+mn-lt"/>
              </a:rPr>
              <a:t>s</a:t>
            </a:r>
            <a:r>
              <a:rPr lang="en-US" sz="1400" b="1" kern="0" baseline="0" dirty="0">
                <a:latin typeface="+mn-lt"/>
                <a:ea typeface="+mn-ea"/>
                <a:cs typeface="+mn-cs"/>
              </a:rPr>
              <a:t>ystem </a:t>
            </a:r>
            <a:r>
              <a:rPr lang="en-US" b="1" kern="0" dirty="0">
                <a:latin typeface="+mn-lt"/>
              </a:rPr>
              <a:t>c</a:t>
            </a:r>
            <a:r>
              <a:rPr lang="en-US" sz="1400" b="1" kern="0" baseline="0" dirty="0">
                <a:latin typeface="+mn-lt"/>
                <a:ea typeface="+mn-ea"/>
                <a:cs typeface="+mn-cs"/>
              </a:rPr>
              <a:t>urrent density</a:t>
            </a:r>
          </a:p>
        </p:txBody>
      </p:sp>
      <p:sp>
        <p:nvSpPr>
          <p:cNvPr id="29" name="Arrow: Right 28">
            <a:extLst>
              <a:ext uri="{FF2B5EF4-FFF2-40B4-BE49-F238E27FC236}">
                <a16:creationId xmlns:a16="http://schemas.microsoft.com/office/drawing/2014/main" id="{3B38410C-923F-2693-6907-A06F87D8E4B8}"/>
              </a:ext>
            </a:extLst>
          </p:cNvPr>
          <p:cNvSpPr/>
          <p:nvPr/>
        </p:nvSpPr>
        <p:spPr bwMode="auto">
          <a:xfrm rot="5400000">
            <a:off x="2199705" y="4211175"/>
            <a:ext cx="1152476" cy="1008112"/>
          </a:xfrm>
          <a:prstGeom prst="rightArrow">
            <a:avLst/>
          </a:prstGeom>
          <a:solidFill>
            <a:srgbClr val="0A8276"/>
          </a:solidFill>
          <a:ln w="9525">
            <a:no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30" name="TextBox 29">
            <a:extLst>
              <a:ext uri="{FF2B5EF4-FFF2-40B4-BE49-F238E27FC236}">
                <a16:creationId xmlns:a16="http://schemas.microsoft.com/office/drawing/2014/main" id="{79297F9A-10FC-2889-4CBC-213594A269D0}"/>
              </a:ext>
            </a:extLst>
          </p:cNvPr>
          <p:cNvSpPr txBox="1"/>
          <p:nvPr/>
        </p:nvSpPr>
        <p:spPr bwMode="auto">
          <a:xfrm>
            <a:off x="2271887" y="5392937"/>
            <a:ext cx="1008113" cy="501073"/>
          </a:xfrm>
          <a:prstGeom prst="rect">
            <a:avLst/>
          </a:prstGeom>
          <a:no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Lower losses</a:t>
            </a:r>
          </a:p>
        </p:txBody>
      </p:sp>
      <p:sp>
        <p:nvSpPr>
          <p:cNvPr id="33" name="Arrow: Right 32">
            <a:extLst>
              <a:ext uri="{FF2B5EF4-FFF2-40B4-BE49-F238E27FC236}">
                <a16:creationId xmlns:a16="http://schemas.microsoft.com/office/drawing/2014/main" id="{1FEB04D8-1590-DCD9-67C4-F4F14313EF82}"/>
              </a:ext>
            </a:extLst>
          </p:cNvPr>
          <p:cNvSpPr/>
          <p:nvPr/>
        </p:nvSpPr>
        <p:spPr bwMode="auto">
          <a:xfrm>
            <a:off x="7907608" y="1601615"/>
            <a:ext cx="2292848" cy="347746"/>
          </a:xfrm>
          <a:prstGeom prst="rightArrow">
            <a:avLst>
              <a:gd name="adj1" fmla="val 17017"/>
              <a:gd name="adj2" fmla="val 54581"/>
            </a:avLst>
          </a:prstGeom>
          <a:solidFill>
            <a:srgbClr val="0A8276"/>
          </a:solidFill>
          <a:ln w="9525">
            <a:solidFill>
              <a:srgbClr val="B8DEDA"/>
            </a:solidFill>
            <a:miter lim="800000"/>
            <a:headEnd/>
            <a:tailEnd/>
          </a:ln>
        </p:spPr>
        <p:txBody>
          <a:bodyPr wrap="square" lIns="72000" tIns="72000" rIns="72000" bIns="72000" rtlCol="0" anchor="ctr"/>
          <a:lstStyle/>
          <a:p>
            <a:pPr algn="ctr" eaLnBrk="0" hangingPunct="0"/>
            <a:endParaRPr lang="en-US" sz="1600" baseline="0" dirty="0">
              <a:latin typeface="+mn-lt"/>
              <a:ea typeface="+mn-ea"/>
              <a:cs typeface="+mn-cs"/>
            </a:endParaRPr>
          </a:p>
        </p:txBody>
      </p:sp>
      <p:sp>
        <p:nvSpPr>
          <p:cNvPr id="34" name="TextBox 33">
            <a:extLst>
              <a:ext uri="{FF2B5EF4-FFF2-40B4-BE49-F238E27FC236}">
                <a16:creationId xmlns:a16="http://schemas.microsoft.com/office/drawing/2014/main" id="{0C1D2DA3-50F2-1507-B588-1FA25EEB9E68}"/>
              </a:ext>
            </a:extLst>
          </p:cNvPr>
          <p:cNvSpPr txBox="1"/>
          <p:nvPr/>
        </p:nvSpPr>
        <p:spPr bwMode="auto">
          <a:xfrm>
            <a:off x="7649489" y="1191849"/>
            <a:ext cx="2857254" cy="501073"/>
          </a:xfrm>
          <a:prstGeom prst="rect">
            <a:avLst/>
          </a:prstGeom>
          <a:noFill/>
          <a:ln w="9525">
            <a:noFill/>
            <a:miter lim="800000"/>
            <a:headEnd/>
            <a:tailEnd/>
          </a:ln>
          <a:effectLst/>
        </p:spPr>
        <p:txBody>
          <a:bodyPr wrap="square" lIns="0" tIns="0" rIns="0" bIns="0" rtlCol="0" anchor="ctr"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Chip &amp; </a:t>
            </a:r>
            <a:r>
              <a:rPr lang="en-US" b="1" kern="0" dirty="0">
                <a:latin typeface="+mn-lt"/>
              </a:rPr>
              <a:t>s</a:t>
            </a:r>
            <a:r>
              <a:rPr lang="en-US" sz="1400" b="1" kern="0" baseline="0" dirty="0">
                <a:latin typeface="+mn-lt"/>
                <a:ea typeface="+mn-ea"/>
                <a:cs typeface="+mn-cs"/>
              </a:rPr>
              <a:t>ystem current density</a:t>
            </a:r>
          </a:p>
        </p:txBody>
      </p:sp>
      <p:sp>
        <p:nvSpPr>
          <p:cNvPr id="35" name="TextBox 34">
            <a:extLst>
              <a:ext uri="{FF2B5EF4-FFF2-40B4-BE49-F238E27FC236}">
                <a16:creationId xmlns:a16="http://schemas.microsoft.com/office/drawing/2014/main" id="{11327270-633C-A870-E148-B4B3C8E779A8}"/>
              </a:ext>
            </a:extLst>
          </p:cNvPr>
          <p:cNvSpPr txBox="1"/>
          <p:nvPr/>
        </p:nvSpPr>
        <p:spPr bwMode="auto">
          <a:xfrm>
            <a:off x="3699388" y="2435262"/>
            <a:ext cx="3412246" cy="1227638"/>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sz="2400" b="1" kern="0" baseline="0" dirty="0">
                <a:solidFill>
                  <a:srgbClr val="0A8276"/>
                </a:solidFill>
                <a:latin typeface="+mn-lt"/>
                <a:ea typeface="+mn-ea"/>
                <a:cs typeface="+mn-cs"/>
              </a:rPr>
              <a:t>Yes</a:t>
            </a:r>
            <a:r>
              <a:rPr lang="en-US" sz="2400" b="1" kern="0" dirty="0">
                <a:solidFill>
                  <a:srgbClr val="0A8276"/>
                </a:solidFill>
                <a:latin typeface="+mn-lt"/>
              </a:rPr>
              <a:t>!</a:t>
            </a:r>
          </a:p>
          <a:p>
            <a:pPr marR="0" algn="l" defTabSz="576000" eaLnBrk="0" fontAlgn="auto" latinLnBrk="0" hangingPunct="0">
              <a:spcBef>
                <a:spcPts val="0"/>
              </a:spcBef>
              <a:spcAft>
                <a:spcPts val="0"/>
              </a:spcAft>
              <a:buClr>
                <a:schemeClr val="accent1"/>
              </a:buClr>
              <a:buSzTx/>
              <a:tabLst/>
            </a:pPr>
            <a:r>
              <a:rPr lang="en-US" sz="2400" b="1" kern="0" baseline="0" dirty="0">
                <a:solidFill>
                  <a:srgbClr val="0A8276"/>
                </a:solidFill>
                <a:latin typeface="+mn-lt"/>
                <a:ea typeface="+mn-ea"/>
                <a:cs typeface="+mn-cs"/>
              </a:rPr>
              <a:t>and even more!</a:t>
            </a:r>
          </a:p>
        </p:txBody>
      </p:sp>
      <p:sp>
        <p:nvSpPr>
          <p:cNvPr id="6" name="TextBox 5">
            <a:extLst>
              <a:ext uri="{FF2B5EF4-FFF2-40B4-BE49-F238E27FC236}">
                <a16:creationId xmlns:a16="http://schemas.microsoft.com/office/drawing/2014/main" id="{7A4BA707-63F3-0647-B261-7CD24D71E22A}"/>
              </a:ext>
            </a:extLst>
          </p:cNvPr>
          <p:cNvSpPr txBox="1"/>
          <p:nvPr/>
        </p:nvSpPr>
        <p:spPr bwMode="auto">
          <a:xfrm>
            <a:off x="481769" y="3238703"/>
            <a:ext cx="3412246" cy="1227638"/>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sz="2400" b="1" kern="0" dirty="0">
                <a:latin typeface="+mn-lt"/>
              </a:rPr>
              <a:t>How?</a:t>
            </a:r>
          </a:p>
        </p:txBody>
      </p:sp>
      <p:pic>
        <p:nvPicPr>
          <p:cNvPr id="8" name="Picture 7">
            <a:extLst>
              <a:ext uri="{FF2B5EF4-FFF2-40B4-BE49-F238E27FC236}">
                <a16:creationId xmlns:a16="http://schemas.microsoft.com/office/drawing/2014/main" id="{1B591BD6-E069-4DC9-9127-FD200C90F1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48056" y="5486366"/>
            <a:ext cx="501073" cy="501073"/>
          </a:xfrm>
          <a:prstGeom prst="rect">
            <a:avLst/>
          </a:prstGeom>
        </p:spPr>
      </p:pic>
    </p:spTree>
    <p:extLst>
      <p:ext uri="{BB962C8B-B14F-4D97-AF65-F5344CB8AC3E}">
        <p14:creationId xmlns:p14="http://schemas.microsoft.com/office/powerpoint/2010/main" val="39141049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BAED-5F18-08D9-3ED2-45419E9CFA61}"/>
              </a:ext>
            </a:extLst>
          </p:cNvPr>
          <p:cNvSpPr>
            <a:spLocks noGrp="1"/>
          </p:cNvSpPr>
          <p:nvPr>
            <p:ph type="title"/>
          </p:nvPr>
        </p:nvSpPr>
        <p:spPr/>
        <p:txBody>
          <a:bodyPr/>
          <a:lstStyle/>
          <a:p>
            <a:r>
              <a:rPr lang="en-US" dirty="0"/>
              <a:t>Controllability at its finest</a:t>
            </a:r>
          </a:p>
        </p:txBody>
      </p:sp>
    </p:spTree>
    <p:extLst>
      <p:ext uri="{BB962C8B-B14F-4D97-AF65-F5344CB8AC3E}">
        <p14:creationId xmlns:p14="http://schemas.microsoft.com/office/powerpoint/2010/main" val="30660057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F5483-95C5-4520-B613-C8D7D0C093EB}"/>
              </a:ext>
            </a:extLst>
          </p:cNvPr>
          <p:cNvSpPr>
            <a:spLocks noGrp="1"/>
          </p:cNvSpPr>
          <p:nvPr>
            <p:ph type="title"/>
          </p:nvPr>
        </p:nvSpPr>
        <p:spPr/>
        <p:txBody>
          <a:bodyPr/>
          <a:lstStyle/>
          <a:p>
            <a:r>
              <a:rPr lang="en-US" dirty="0"/>
              <a:t>Controllability and gate drive resistor selection</a:t>
            </a:r>
          </a:p>
        </p:txBody>
      </p:sp>
      <p:sp>
        <p:nvSpPr>
          <p:cNvPr id="10" name="Arrow: Left-Right 9">
            <a:extLst>
              <a:ext uri="{FF2B5EF4-FFF2-40B4-BE49-F238E27FC236}">
                <a16:creationId xmlns:a16="http://schemas.microsoft.com/office/drawing/2014/main" id="{89DB5A74-1D56-45EA-A89B-A95FA63832F1}"/>
              </a:ext>
            </a:extLst>
          </p:cNvPr>
          <p:cNvSpPr/>
          <p:nvPr/>
        </p:nvSpPr>
        <p:spPr bwMode="auto">
          <a:xfrm>
            <a:off x="1415480" y="1340768"/>
            <a:ext cx="3816424" cy="453869"/>
          </a:xfrm>
          <a:prstGeom prst="leftRightArrow">
            <a:avLst>
              <a:gd name="adj1" fmla="val 100000"/>
              <a:gd name="adj2" fmla="val 25014"/>
            </a:avLst>
          </a:prstGeom>
          <a:solidFill>
            <a:srgbClr val="84B6A7">
              <a:alpha val="68000"/>
            </a:srgbClr>
          </a:solidFill>
          <a:ln w="9525">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dk1"/>
                </a:solidFill>
                <a:effectLst/>
                <a:uLnTx/>
                <a:uFillTx/>
                <a:latin typeface="Arial"/>
                <a:cs typeface="Arial"/>
              </a:rPr>
              <a:t>High      	Gate drive resistor	</a:t>
            </a:r>
            <a:r>
              <a:rPr kumimoji="0" lang="en-US" sz="1600" b="0" i="0" u="none" strike="noStrike" kern="1200" cap="none" spc="0" normalizeH="0" baseline="0" noProof="0">
                <a:ln>
                  <a:noFill/>
                </a:ln>
                <a:solidFill>
                  <a:schemeClr val="dk1"/>
                </a:solidFill>
                <a:effectLst/>
                <a:uLnTx/>
                <a:uFillTx/>
                <a:latin typeface="Arial"/>
                <a:cs typeface="Arial"/>
              </a:rPr>
              <a:t>    Low</a:t>
            </a:r>
            <a:endParaRPr kumimoji="0" lang="en-US" sz="1600" b="0" i="0" u="none" strike="noStrike" kern="1200" cap="none" spc="0" normalizeH="0" baseline="0" noProof="0" dirty="0">
              <a:ln>
                <a:noFill/>
              </a:ln>
              <a:solidFill>
                <a:schemeClr val="dk1"/>
              </a:solidFill>
              <a:effectLst/>
              <a:uLnTx/>
              <a:uFillTx/>
              <a:latin typeface="Arial"/>
              <a:cs typeface="Arial"/>
            </a:endParaRPr>
          </a:p>
        </p:txBody>
      </p:sp>
      <p:sp>
        <p:nvSpPr>
          <p:cNvPr id="11" name="Arrow: Left-Right 10">
            <a:extLst>
              <a:ext uri="{FF2B5EF4-FFF2-40B4-BE49-F238E27FC236}">
                <a16:creationId xmlns:a16="http://schemas.microsoft.com/office/drawing/2014/main" id="{60C86DE1-89DD-472B-99BD-DAA00BBAE89C}"/>
              </a:ext>
            </a:extLst>
          </p:cNvPr>
          <p:cNvSpPr/>
          <p:nvPr/>
        </p:nvSpPr>
        <p:spPr bwMode="auto">
          <a:xfrm>
            <a:off x="1415480" y="1855185"/>
            <a:ext cx="3816424" cy="433472"/>
          </a:xfrm>
          <a:prstGeom prst="leftRightArrow">
            <a:avLst>
              <a:gd name="adj1" fmla="val 100000"/>
              <a:gd name="adj2" fmla="val 25014"/>
            </a:avLst>
          </a:prstGeom>
          <a:solidFill>
            <a:srgbClr val="84B6A7">
              <a:alpha val="68000"/>
            </a:srgbClr>
          </a:solidFill>
          <a:ln w="9525">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dk1"/>
                </a:solidFill>
                <a:effectLst/>
                <a:uLnTx/>
                <a:uFillTx/>
                <a:latin typeface="Arial"/>
                <a:cs typeface="Arial"/>
              </a:rPr>
              <a:t>Low      	         dV/dt	</a:t>
            </a:r>
            <a:r>
              <a:rPr kumimoji="0" lang="en-US" sz="1600" b="0" i="0" u="none" strike="noStrike" kern="1200" cap="none" spc="0" normalizeH="0" baseline="0" noProof="0">
                <a:ln>
                  <a:noFill/>
                </a:ln>
                <a:solidFill>
                  <a:schemeClr val="dk1"/>
                </a:solidFill>
                <a:effectLst/>
                <a:uLnTx/>
                <a:uFillTx/>
                <a:latin typeface="Arial"/>
                <a:cs typeface="Arial"/>
              </a:rPr>
              <a:t>   High</a:t>
            </a:r>
            <a:endParaRPr kumimoji="0" lang="en-US" sz="1600" b="0" i="0" u="none" strike="noStrike" kern="1200" cap="none" spc="0" normalizeH="0" baseline="0" noProof="0" dirty="0">
              <a:ln>
                <a:noFill/>
              </a:ln>
              <a:solidFill>
                <a:schemeClr val="dk1"/>
              </a:solidFill>
              <a:effectLst/>
              <a:uLnTx/>
              <a:uFillTx/>
              <a:latin typeface="Arial"/>
              <a:cs typeface="Arial"/>
            </a:endParaRPr>
          </a:p>
        </p:txBody>
      </p:sp>
      <p:sp>
        <p:nvSpPr>
          <p:cNvPr id="12" name="Arrow: Left-Right 11">
            <a:extLst>
              <a:ext uri="{FF2B5EF4-FFF2-40B4-BE49-F238E27FC236}">
                <a16:creationId xmlns:a16="http://schemas.microsoft.com/office/drawing/2014/main" id="{77B3CC97-97FF-4C9A-8BA6-F8156803B6CD}"/>
              </a:ext>
            </a:extLst>
          </p:cNvPr>
          <p:cNvSpPr/>
          <p:nvPr/>
        </p:nvSpPr>
        <p:spPr bwMode="auto">
          <a:xfrm>
            <a:off x="1415480" y="2946764"/>
            <a:ext cx="3816424" cy="504379"/>
          </a:xfrm>
          <a:prstGeom prst="leftRightArrow">
            <a:avLst>
              <a:gd name="adj1" fmla="val 100000"/>
              <a:gd name="adj2" fmla="val 25014"/>
            </a:avLst>
          </a:prstGeom>
          <a:gradFill flip="none" rotWithShape="1">
            <a:gsLst>
              <a:gs pos="100000">
                <a:srgbClr val="92D050"/>
              </a:gs>
              <a:gs pos="0">
                <a:srgbClr val="FF0000"/>
              </a:gs>
              <a:gs pos="49000">
                <a:srgbClr val="FFC000"/>
              </a:gs>
            </a:gsLst>
            <a:lin ang="0" scaled="1"/>
            <a:tileRect/>
          </a:gradFill>
          <a:ln w="9525">
            <a:noFill/>
            <a:miter lim="800000"/>
            <a:headEnd/>
            <a:tailEnd/>
          </a:ln>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dk1"/>
                </a:solidFill>
                <a:effectLst/>
                <a:uLnTx/>
                <a:uFillTx/>
                <a:latin typeface="Arial"/>
                <a:ea typeface="+mn-ea"/>
                <a:cs typeface="Arial"/>
              </a:rPr>
              <a:t>High      	Dynamic losses	</a:t>
            </a:r>
            <a:r>
              <a:rPr kumimoji="0" lang="en-US" sz="1600" b="0" i="0" u="none" strike="noStrike" kern="1200" cap="none" spc="0" normalizeH="0" baseline="0" noProof="0">
                <a:ln>
                  <a:noFill/>
                </a:ln>
                <a:solidFill>
                  <a:schemeClr val="dk1"/>
                </a:solidFill>
                <a:effectLst/>
                <a:uLnTx/>
                <a:uFillTx/>
                <a:latin typeface="Arial"/>
                <a:ea typeface="+mn-ea"/>
                <a:cs typeface="Arial"/>
              </a:rPr>
              <a:t>    Low</a:t>
            </a:r>
            <a:endParaRPr kumimoji="0" lang="en-US" sz="1600" b="0" i="0" u="none" strike="noStrike" kern="1200" cap="none" spc="0" normalizeH="0" baseline="0" noProof="0" dirty="0">
              <a:ln>
                <a:noFill/>
              </a:ln>
              <a:solidFill>
                <a:schemeClr val="dk1"/>
              </a:solidFill>
              <a:effectLst/>
              <a:uLnTx/>
              <a:uFillTx/>
              <a:latin typeface="Arial"/>
              <a:ea typeface="+mn-ea"/>
              <a:cs typeface="Arial"/>
            </a:endParaRPr>
          </a:p>
        </p:txBody>
      </p:sp>
      <p:sp>
        <p:nvSpPr>
          <p:cNvPr id="13" name="Arrow: Left-Right 12">
            <a:extLst>
              <a:ext uri="{FF2B5EF4-FFF2-40B4-BE49-F238E27FC236}">
                <a16:creationId xmlns:a16="http://schemas.microsoft.com/office/drawing/2014/main" id="{7796C034-417E-4997-8AB6-5F2D5A6E4FDE}"/>
              </a:ext>
            </a:extLst>
          </p:cNvPr>
          <p:cNvSpPr/>
          <p:nvPr/>
        </p:nvSpPr>
        <p:spPr bwMode="auto">
          <a:xfrm>
            <a:off x="1415480" y="2366110"/>
            <a:ext cx="3816424" cy="504379"/>
          </a:xfrm>
          <a:prstGeom prst="leftRightArrow">
            <a:avLst>
              <a:gd name="adj1" fmla="val 100000"/>
              <a:gd name="adj2" fmla="val 25014"/>
            </a:avLst>
          </a:prstGeom>
          <a:gradFill flip="none" rotWithShape="1">
            <a:gsLst>
              <a:gs pos="100000">
                <a:srgbClr val="FF0000"/>
              </a:gs>
              <a:gs pos="0">
                <a:srgbClr val="AEC067"/>
              </a:gs>
              <a:gs pos="49000">
                <a:srgbClr val="FFC000"/>
              </a:gs>
            </a:gsLst>
            <a:lin ang="0" scaled="1"/>
            <a:tileRect/>
          </a:gradFill>
          <a:ln w="9525">
            <a:noFill/>
            <a:miter lim="800000"/>
            <a:headEnd/>
            <a:tailEnd/>
          </a:ln>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dk1"/>
                </a:solidFill>
                <a:effectLst/>
                <a:uLnTx/>
                <a:uFillTx/>
                <a:latin typeface="Arial"/>
                <a:cs typeface="Arial"/>
              </a:rPr>
              <a:t>Low</a:t>
            </a:r>
            <a:r>
              <a:rPr kumimoji="0" lang="en-US" sz="1600" b="0" i="0" u="none" strike="noStrike" kern="1200" cap="none" spc="0" normalizeH="0" baseline="0" noProof="0" dirty="0">
                <a:ln>
                  <a:noFill/>
                </a:ln>
                <a:solidFill>
                  <a:schemeClr val="dk1"/>
                </a:solidFill>
                <a:effectLst/>
                <a:uLnTx/>
                <a:uFillTx/>
                <a:latin typeface="Arial"/>
                <a:ea typeface="+mn-ea"/>
                <a:cs typeface="Arial"/>
              </a:rPr>
              <a:t>      	Insulation stress	</a:t>
            </a:r>
            <a:r>
              <a:rPr kumimoji="0" lang="en-US" sz="1600" b="0" i="0" u="none" strike="noStrike" kern="1200" cap="none" spc="0" normalizeH="0" baseline="0" noProof="0">
                <a:ln>
                  <a:noFill/>
                </a:ln>
                <a:solidFill>
                  <a:schemeClr val="dk1"/>
                </a:solidFill>
                <a:effectLst/>
                <a:uLnTx/>
                <a:uFillTx/>
                <a:latin typeface="Arial"/>
                <a:ea typeface="+mn-ea"/>
                <a:cs typeface="Arial"/>
              </a:rPr>
              <a:t>    </a:t>
            </a:r>
            <a:r>
              <a:rPr kumimoji="0" lang="en-US" sz="1600" b="0" i="0" u="none" strike="noStrike" kern="1200" cap="none" spc="0" normalizeH="0" baseline="0" noProof="0">
                <a:ln>
                  <a:noFill/>
                </a:ln>
                <a:solidFill>
                  <a:schemeClr val="dk1"/>
                </a:solidFill>
                <a:effectLst/>
                <a:uLnTx/>
                <a:uFillTx/>
                <a:latin typeface="Arial"/>
                <a:cs typeface="Arial"/>
              </a:rPr>
              <a:t>High</a:t>
            </a:r>
            <a:endParaRPr kumimoji="0" lang="en-US" sz="1600" b="0" i="0" u="none" strike="noStrike" kern="1200" cap="none" spc="0" normalizeH="0" baseline="0" noProof="0" dirty="0">
              <a:ln>
                <a:noFill/>
              </a:ln>
              <a:solidFill>
                <a:schemeClr val="dk1"/>
              </a:solidFill>
              <a:effectLst/>
              <a:uLnTx/>
              <a:uFillTx/>
              <a:latin typeface="Arial"/>
              <a:ea typeface="+mn-ea"/>
              <a:cs typeface="Arial"/>
            </a:endParaRPr>
          </a:p>
        </p:txBody>
      </p:sp>
      <p:sp>
        <p:nvSpPr>
          <p:cNvPr id="14" name="12 Legend">
            <a:extLst>
              <a:ext uri="{FF2B5EF4-FFF2-40B4-BE49-F238E27FC236}">
                <a16:creationId xmlns:a16="http://schemas.microsoft.com/office/drawing/2014/main" id="{EA48344A-A7F8-47AC-9CE6-AC84E3298CDA}"/>
              </a:ext>
            </a:extLst>
          </p:cNvPr>
          <p:cNvSpPr/>
          <p:nvPr>
            <p:custDataLst>
              <p:tags r:id="rId1"/>
            </p:custDataLst>
          </p:nvPr>
        </p:nvSpPr>
        <p:spPr bwMode="auto">
          <a:xfrm>
            <a:off x="443373" y="3584787"/>
            <a:ext cx="1476163" cy="576293"/>
          </a:xfrm>
          <a:prstGeom prst="accentBorderCallout1">
            <a:avLst>
              <a:gd name="adj1" fmla="val 25338"/>
              <a:gd name="adj2" fmla="val 106490"/>
              <a:gd name="adj3" fmla="val -333445"/>
              <a:gd name="adj4" fmla="val 181944"/>
            </a:avLst>
          </a:prstGeom>
          <a:noFill/>
          <a:ln w="12700">
            <a:solidFill>
              <a:srgbClr val="F97414"/>
            </a:solidFill>
            <a:miter lim="800000"/>
            <a:headEnd/>
            <a:tailEnd type="oval"/>
          </a:ln>
          <a:effectLst/>
        </p:spPr>
        <p:txBody>
          <a:bodyPr wrap="square" lIns="72000" tIns="72000" rIns="72000" bIns="72000" anchor="ctr">
            <a:spAutoFit/>
          </a:bodyPr>
          <a:lstStyle/>
          <a:p>
            <a:pPr marL="0" marR="0" lvl="0" indent="0" algn="ctr" defTabSz="826587" rtl="0" eaLnBrk="1" fontAlgn="base" latinLnBrk="0" hangingPunct="1">
              <a:lnSpc>
                <a:spcPct val="100000"/>
              </a:lnSpc>
              <a:spcBef>
                <a:spcPct val="0"/>
              </a:spcBef>
              <a:spcAft>
                <a:spcPct val="0"/>
              </a:spcAft>
              <a:buClrTx/>
              <a:buSzTx/>
              <a:buFontTx/>
              <a:buNone/>
              <a:tabLst/>
              <a:defRPr/>
            </a:pPr>
            <a:r>
              <a:rPr kumimoji="0" lang="en-US" i="0" u="none" strike="noStrike" kern="1200" cap="none" spc="0" normalizeH="0" baseline="0" noProof="0" dirty="0">
                <a:ln>
                  <a:noFill/>
                </a:ln>
                <a:solidFill>
                  <a:schemeClr val="accent1"/>
                </a:solidFill>
                <a:effectLst/>
                <a:uLnTx/>
                <a:uFillTx/>
                <a:latin typeface="Arial"/>
                <a:cs typeface="Arial"/>
              </a:rPr>
              <a:t>Requirement for GPD = </a:t>
            </a:r>
            <a:r>
              <a:rPr kumimoji="0" lang="en-US" b="1" i="0" u="none" strike="noStrike" kern="1200" cap="none" spc="0" normalizeH="0" baseline="0" noProof="0" dirty="0">
                <a:ln>
                  <a:noFill/>
                </a:ln>
                <a:solidFill>
                  <a:schemeClr val="tx2"/>
                </a:solidFill>
                <a:effectLst/>
                <a:uLnTx/>
                <a:uFillTx/>
                <a:latin typeface="Arial"/>
                <a:cs typeface="Arial"/>
              </a:rPr>
              <a:t>5 V/ns</a:t>
            </a:r>
          </a:p>
        </p:txBody>
      </p:sp>
      <p:sp>
        <p:nvSpPr>
          <p:cNvPr id="20" name="Rechteck 2">
            <a:extLst>
              <a:ext uri="{FF2B5EF4-FFF2-40B4-BE49-F238E27FC236}">
                <a16:creationId xmlns:a16="http://schemas.microsoft.com/office/drawing/2014/main" id="{461DC874-E3C9-40BA-BEAC-2DC088ADD3A7}"/>
              </a:ext>
            </a:extLst>
          </p:cNvPr>
          <p:cNvSpPr/>
          <p:nvPr>
            <p:custDataLst>
              <p:tags r:id="rId2"/>
            </p:custDataLst>
          </p:nvPr>
        </p:nvSpPr>
        <p:spPr>
          <a:xfrm>
            <a:off x="443373" y="4294725"/>
            <a:ext cx="311797" cy="1942587"/>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cs typeface="Arial"/>
                <a:sym typeface="Wingdings" panose="05000000000000000000" pitchFamily="2" charset="2"/>
              </a:rPr>
              <a:t></a:t>
            </a:r>
            <a:endParaRPr kumimoji="0" lang="en-US" sz="2000" b="1" i="0" u="none" strike="noStrike" kern="1200" cap="none" spc="0" normalizeH="0" baseline="0" noProof="0" dirty="0">
              <a:ln>
                <a:noFill/>
              </a:ln>
              <a:solidFill>
                <a:srgbClr val="FFFFFF"/>
              </a:solidFill>
              <a:effectLst/>
              <a:uLnTx/>
              <a:uFillTx/>
              <a:latin typeface="Arial"/>
              <a:cs typeface="Arial"/>
            </a:endParaRPr>
          </a:p>
        </p:txBody>
      </p:sp>
      <p:pic>
        <p:nvPicPr>
          <p:cNvPr id="18" name="Picture 17">
            <a:extLst>
              <a:ext uri="{FF2B5EF4-FFF2-40B4-BE49-F238E27FC236}">
                <a16:creationId xmlns:a16="http://schemas.microsoft.com/office/drawing/2014/main" id="{41D4558C-385B-5509-E55D-78D8EB5CC48E}"/>
              </a:ext>
            </a:extLst>
          </p:cNvPr>
          <p:cNvPicPr>
            <a:picLocks noChangeAspect="1"/>
          </p:cNvPicPr>
          <p:nvPr/>
        </p:nvPicPr>
        <p:blipFill>
          <a:blip r:embed="rId5"/>
          <a:stretch>
            <a:fillRect/>
          </a:stretch>
        </p:blipFill>
        <p:spPr>
          <a:xfrm>
            <a:off x="6816080" y="3723728"/>
            <a:ext cx="4248870" cy="2711184"/>
          </a:xfrm>
          <a:prstGeom prst="rect">
            <a:avLst/>
          </a:prstGeom>
        </p:spPr>
      </p:pic>
      <p:pic>
        <p:nvPicPr>
          <p:cNvPr id="19" name="Picture 18">
            <a:extLst>
              <a:ext uri="{FF2B5EF4-FFF2-40B4-BE49-F238E27FC236}">
                <a16:creationId xmlns:a16="http://schemas.microsoft.com/office/drawing/2014/main" id="{954D0658-A1A0-F742-C080-BB882F6FA118}"/>
              </a:ext>
            </a:extLst>
          </p:cNvPr>
          <p:cNvPicPr>
            <a:picLocks noChangeAspect="1"/>
          </p:cNvPicPr>
          <p:nvPr/>
        </p:nvPicPr>
        <p:blipFill>
          <a:blip r:embed="rId6"/>
          <a:stretch>
            <a:fillRect/>
          </a:stretch>
        </p:blipFill>
        <p:spPr>
          <a:xfrm>
            <a:off x="6816080" y="1073804"/>
            <a:ext cx="4255219" cy="2715236"/>
          </a:xfrm>
          <a:prstGeom prst="rect">
            <a:avLst/>
          </a:prstGeom>
        </p:spPr>
      </p:pic>
      <p:sp>
        <p:nvSpPr>
          <p:cNvPr id="23" name="TextBox 22">
            <a:extLst>
              <a:ext uri="{FF2B5EF4-FFF2-40B4-BE49-F238E27FC236}">
                <a16:creationId xmlns:a16="http://schemas.microsoft.com/office/drawing/2014/main" id="{8354BB2A-2EA1-3028-EA57-6E4BD7F0C13C}"/>
              </a:ext>
            </a:extLst>
          </p:cNvPr>
          <p:cNvSpPr txBox="1"/>
          <p:nvPr/>
        </p:nvSpPr>
        <p:spPr bwMode="auto">
          <a:xfrm>
            <a:off x="5842888" y="2054984"/>
            <a:ext cx="2736304" cy="3024336"/>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US" b="1" kern="0" baseline="0" dirty="0">
                <a:solidFill>
                  <a:schemeClr val="tx2"/>
                </a:solidFill>
                <a:latin typeface="+mn-lt"/>
                <a:ea typeface="+mn-ea"/>
                <a:cs typeface="+mn-cs"/>
              </a:rPr>
              <a:t>Enlarged controllability</a:t>
            </a:r>
          </a:p>
        </p:txBody>
      </p:sp>
      <p:grpSp>
        <p:nvGrpSpPr>
          <p:cNvPr id="6" name="Group 5">
            <a:extLst>
              <a:ext uri="{FF2B5EF4-FFF2-40B4-BE49-F238E27FC236}">
                <a16:creationId xmlns:a16="http://schemas.microsoft.com/office/drawing/2014/main" id="{DC37F841-B80D-456C-AE3B-F5380AA1C492}"/>
              </a:ext>
            </a:extLst>
          </p:cNvPr>
          <p:cNvGrpSpPr/>
          <p:nvPr/>
        </p:nvGrpSpPr>
        <p:grpSpPr>
          <a:xfrm>
            <a:off x="755170" y="4294725"/>
            <a:ext cx="5232819" cy="1947722"/>
            <a:chOff x="755170" y="4294725"/>
            <a:chExt cx="5232819" cy="1947722"/>
          </a:xfrm>
        </p:grpSpPr>
        <p:sp>
          <p:nvSpPr>
            <p:cNvPr id="16" name="Rechteck 21">
              <a:extLst>
                <a:ext uri="{FF2B5EF4-FFF2-40B4-BE49-F238E27FC236}">
                  <a16:creationId xmlns:a16="http://schemas.microsoft.com/office/drawing/2014/main" id="{6E876747-91F2-435E-810C-A043F394EB1F}"/>
                </a:ext>
              </a:extLst>
            </p:cNvPr>
            <p:cNvSpPr/>
            <p:nvPr/>
          </p:nvSpPr>
          <p:spPr bwMode="auto">
            <a:xfrm>
              <a:off x="839416" y="4294725"/>
              <a:ext cx="5148573" cy="1947722"/>
            </a:xfrm>
            <a:prstGeom prst="rect">
              <a:avLst/>
            </a:prstGeom>
            <a:solidFill>
              <a:schemeClr val="tx2"/>
            </a:solidFill>
            <a:ln w="9525">
              <a:noFill/>
              <a:miter lim="800000"/>
              <a:headEnd/>
              <a:tailEnd/>
            </a:ln>
          </p:spPr>
          <p:txBody>
            <a:bodyPr wrap="square" lIns="0" tIns="0" rIns="0" bIns="0" rtlCol="0" anchor="ctr"/>
            <a:lstStyle/>
            <a:p>
              <a:pPr lvl="0">
                <a:defRPr/>
              </a:pPr>
              <a:r>
                <a:rPr lang="en-US" dirty="0">
                  <a:solidFill>
                    <a:schemeClr val="lt1"/>
                  </a:solidFill>
                  <a:latin typeface="Arial"/>
                </a:rPr>
                <a:t>  The worst-case-scenario </a:t>
              </a:r>
              <a:r>
                <a:rPr lang="en-US" b="1" dirty="0">
                  <a:solidFill>
                    <a:schemeClr val="lt1"/>
                  </a:solidFill>
                  <a:latin typeface="Arial"/>
                </a:rPr>
                <a:t>current</a:t>
              </a:r>
              <a:r>
                <a:rPr lang="en-US" dirty="0">
                  <a:solidFill>
                    <a:schemeClr val="lt1"/>
                  </a:solidFill>
                  <a:latin typeface="Arial"/>
                </a:rPr>
                <a:t> and </a:t>
              </a:r>
              <a:r>
                <a:rPr lang="en-US" b="1" dirty="0">
                  <a:solidFill>
                    <a:schemeClr val="lt1"/>
                  </a:solidFill>
                  <a:latin typeface="Arial"/>
                </a:rPr>
                <a:t>temperature</a:t>
              </a:r>
              <a:r>
                <a:rPr lang="en-US" dirty="0">
                  <a:solidFill>
                    <a:schemeClr val="lt1"/>
                  </a:solidFill>
                  <a:latin typeface="Arial"/>
                </a:rPr>
                <a:t> wise:</a:t>
              </a:r>
            </a:p>
            <a:p>
              <a:pPr marL="285750" lvl="0" indent="-285750">
                <a:buFont typeface="Arial" panose="020B0604020202020204" pitchFamily="34" charset="0"/>
                <a:buChar char="‒"/>
                <a:defRPr/>
              </a:pPr>
              <a:r>
                <a:rPr lang="en-US" dirty="0">
                  <a:solidFill>
                    <a:schemeClr val="lt1"/>
                  </a:solidFill>
                  <a:latin typeface="Arial"/>
                </a:rPr>
                <a:t>The </a:t>
              </a:r>
              <a:r>
                <a:rPr lang="en-US" b="1" dirty="0">
                  <a:solidFill>
                    <a:schemeClr val="lt1"/>
                  </a:solidFill>
                  <a:latin typeface="Arial"/>
                </a:rPr>
                <a:t>turn-on gate resistor </a:t>
              </a:r>
              <a:r>
                <a:rPr lang="en-US" dirty="0">
                  <a:solidFill>
                    <a:schemeClr val="lt1"/>
                  </a:solidFill>
                  <a:latin typeface="Arial"/>
                </a:rPr>
                <a:t>ensures that the event is within the limit at </a:t>
              </a:r>
              <a:r>
                <a:rPr lang="en-US" b="1" dirty="0">
                  <a:solidFill>
                    <a:schemeClr val="lt1"/>
                  </a:solidFill>
                  <a:latin typeface="Arial"/>
                </a:rPr>
                <a:t>low current (5/10% of the nominal current) and room temperature.</a:t>
              </a:r>
            </a:p>
            <a:p>
              <a:pPr marL="285750" lvl="0" indent="-285750">
                <a:buFont typeface="Arial" panose="020B0604020202020204" pitchFamily="34" charset="0"/>
                <a:buChar char="‒"/>
                <a:defRPr/>
              </a:pPr>
              <a:r>
                <a:rPr lang="en-US" dirty="0">
                  <a:solidFill>
                    <a:schemeClr val="lt1"/>
                  </a:solidFill>
                  <a:latin typeface="Arial"/>
                </a:rPr>
                <a:t>The </a:t>
              </a:r>
              <a:r>
                <a:rPr lang="en-US" b="1" dirty="0">
                  <a:solidFill>
                    <a:schemeClr val="lt1"/>
                  </a:solidFill>
                  <a:latin typeface="Arial"/>
                </a:rPr>
                <a:t>turn-off gate resistor </a:t>
              </a:r>
              <a:r>
                <a:rPr lang="en-US" dirty="0">
                  <a:solidFill>
                    <a:schemeClr val="lt1"/>
                  </a:solidFill>
                  <a:latin typeface="Arial"/>
                </a:rPr>
                <a:t>ensures that the event is within the limit </a:t>
              </a:r>
              <a:r>
                <a:rPr lang="en-US" b="1" dirty="0">
                  <a:solidFill>
                    <a:schemeClr val="lt1"/>
                  </a:solidFill>
                  <a:latin typeface="Arial"/>
                </a:rPr>
                <a:t>at nominal current and room temperature.</a:t>
              </a:r>
            </a:p>
          </p:txBody>
        </p:sp>
        <p:sp>
          <p:nvSpPr>
            <p:cNvPr id="5" name="Rectangle 4">
              <a:extLst>
                <a:ext uri="{FF2B5EF4-FFF2-40B4-BE49-F238E27FC236}">
                  <a16:creationId xmlns:a16="http://schemas.microsoft.com/office/drawing/2014/main" id="{1F8E74FF-1364-4620-9206-D5646D3E14FF}"/>
                </a:ext>
              </a:extLst>
            </p:cNvPr>
            <p:cNvSpPr/>
            <p:nvPr/>
          </p:nvSpPr>
          <p:spPr bwMode="auto">
            <a:xfrm>
              <a:off x="755170" y="4294725"/>
              <a:ext cx="156254" cy="1947722"/>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grpSp>
    </p:spTree>
    <p:extLst>
      <p:ext uri="{BB962C8B-B14F-4D97-AF65-F5344CB8AC3E}">
        <p14:creationId xmlns:p14="http://schemas.microsoft.com/office/powerpoint/2010/main" val="1745891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BAED-5F18-08D9-3ED2-45419E9CFA61}"/>
              </a:ext>
            </a:extLst>
          </p:cNvPr>
          <p:cNvSpPr>
            <a:spLocks noGrp="1"/>
          </p:cNvSpPr>
          <p:nvPr>
            <p:ph type="title"/>
          </p:nvPr>
        </p:nvSpPr>
        <p:spPr/>
        <p:txBody>
          <a:bodyPr/>
          <a:lstStyle/>
          <a:p>
            <a:r>
              <a:rPr lang="en-US" dirty="0"/>
              <a:t>Ruggedness in every condition </a:t>
            </a:r>
          </a:p>
        </p:txBody>
      </p:sp>
    </p:spTree>
    <p:extLst>
      <p:ext uri="{BB962C8B-B14F-4D97-AF65-F5344CB8AC3E}">
        <p14:creationId xmlns:p14="http://schemas.microsoft.com/office/powerpoint/2010/main" val="1467735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E12E983-C583-9831-BE81-D8AB2F09A14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Folie" r:id="rId5" imgW="344" imgH="345" progId="TCLayout.ActiveDocument.1">
                  <p:embed/>
                </p:oleObj>
              </mc:Choice>
              <mc:Fallback>
                <p:oleObj name="think-cell Folie" r:id="rId5" imgW="344" imgH="345" progId="TCLayout.ActiveDocument.1">
                  <p:embed/>
                  <p:pic>
                    <p:nvPicPr>
                      <p:cNvPr id="6" name="think-cell data - do not delete" hidden="1">
                        <a:extLst>
                          <a:ext uri="{FF2B5EF4-FFF2-40B4-BE49-F238E27FC236}">
                            <a16:creationId xmlns:a16="http://schemas.microsoft.com/office/drawing/2014/main" id="{EE12E983-C583-9831-BE81-D8AB2F09A1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Placeholder 5" descr="A picture containing tree, outdoor, computer, person&#10;&#10;Description automatically generated">
            <a:extLst>
              <a:ext uri="{FF2B5EF4-FFF2-40B4-BE49-F238E27FC236}">
                <a16:creationId xmlns:a16="http://schemas.microsoft.com/office/drawing/2014/main" id="{9F298823-1D1F-4588-49B5-5693AF3C138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81" r="15573"/>
          <a:stretch/>
        </p:blipFill>
        <p:spPr>
          <a:xfrm>
            <a:off x="3628571" y="3176"/>
            <a:ext cx="8563431" cy="6858000"/>
          </a:xfrm>
          <a:prstGeom prst="rect">
            <a:avLst/>
          </a:prstGeom>
        </p:spPr>
      </p:pic>
      <p:pic>
        <p:nvPicPr>
          <p:cNvPr id="8" name="Grafik 7">
            <a:extLst>
              <a:ext uri="{FF2B5EF4-FFF2-40B4-BE49-F238E27FC236}">
                <a16:creationId xmlns:a16="http://schemas.microsoft.com/office/drawing/2014/main" id="{ABAC7A6D-9703-CF43-5B94-181F70CA16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646348" y="638133"/>
            <a:ext cx="6858002" cy="5581737"/>
          </a:xfrm>
          <a:prstGeom prst="rect">
            <a:avLst/>
          </a:prstGeom>
        </p:spPr>
      </p:pic>
      <p:sp>
        <p:nvSpPr>
          <p:cNvPr id="9" name="Textfeld 8">
            <a:extLst>
              <a:ext uri="{FF2B5EF4-FFF2-40B4-BE49-F238E27FC236}">
                <a16:creationId xmlns:a16="http://schemas.microsoft.com/office/drawing/2014/main" id="{05C77201-044D-0C93-85D8-15757E653EAA}"/>
              </a:ext>
            </a:extLst>
          </p:cNvPr>
          <p:cNvSpPr txBox="1"/>
          <p:nvPr/>
        </p:nvSpPr>
        <p:spPr bwMode="auto">
          <a:xfrm>
            <a:off x="334434" y="1448780"/>
            <a:ext cx="4177390" cy="1107996"/>
          </a:xfrm>
          <a:prstGeom prst="rect">
            <a:avLst/>
          </a:prstGeom>
          <a:noFill/>
          <a:ln w="9525">
            <a:noFill/>
            <a:miter lim="800000"/>
            <a:headEnd/>
            <a:tailEnd/>
          </a:ln>
          <a:effectLst/>
        </p:spPr>
        <p:txBody>
          <a:bodyPr wrap="square" lIns="0" tIns="0" rIns="0" bIns="0" rtlCol="0" anchor="t" anchorCtr="0">
            <a:spAutoFit/>
          </a:bodyPr>
          <a:lstStyle/>
          <a:p>
            <a:pPr defTabSz="1219170" eaLnBrk="0" fontAlgn="auto" hangingPunct="0">
              <a:spcBef>
                <a:spcPts val="0"/>
              </a:spcBef>
              <a:spcAft>
                <a:spcPts val="0"/>
              </a:spcAft>
              <a:buClr>
                <a:schemeClr val="accent1"/>
              </a:buClr>
            </a:pPr>
            <a:r>
              <a:rPr lang="en-US" sz="3600" b="1" kern="0">
                <a:solidFill>
                  <a:srgbClr val="0A8276"/>
                </a:solidFill>
                <a:latin typeface="Arial" panose="020B0604020202020204" pitchFamily="34" charset="0"/>
                <a:ea typeface="Verdana" pitchFamily="34" charset="0"/>
                <a:cs typeface="Arial" panose="020B0604020202020204" pitchFamily="34" charset="0"/>
              </a:rPr>
              <a:t>Comercial overview</a:t>
            </a:r>
            <a:endParaRPr lang="en-US" sz="3600" b="1" kern="0" dirty="0">
              <a:solidFill>
                <a:srgbClr val="0A8276"/>
              </a:solidFill>
              <a:latin typeface="Arial" panose="020B0604020202020204" pitchFamily="34" charset="0"/>
              <a:ea typeface="Verdana" pitchFamily="34" charset="0"/>
              <a:cs typeface="Arial" panose="020B0604020202020204" pitchFamily="34" charset="0"/>
            </a:endParaRPr>
          </a:p>
        </p:txBody>
      </p:sp>
      <p:pic>
        <p:nvPicPr>
          <p:cNvPr id="7" name="Picture 6">
            <a:hlinkClick r:id="rId10"/>
            <a:extLst>
              <a:ext uri="{FF2B5EF4-FFF2-40B4-BE49-F238E27FC236}">
                <a16:creationId xmlns:a16="http://schemas.microsoft.com/office/drawing/2014/main" id="{7B00F6DB-B651-45C6-A540-E2FDA78BAB3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382540" y="2996952"/>
            <a:ext cx="2240977" cy="2240977"/>
          </a:xfrm>
          <a:prstGeom prst="rect">
            <a:avLst/>
          </a:prstGeom>
        </p:spPr>
      </p:pic>
    </p:spTree>
    <p:extLst>
      <p:ext uri="{BB962C8B-B14F-4D97-AF65-F5344CB8AC3E}">
        <p14:creationId xmlns:p14="http://schemas.microsoft.com/office/powerpoint/2010/main" val="15842586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49F25-E433-71C1-AD69-1DE7E6A7FE01}"/>
              </a:ext>
            </a:extLst>
          </p:cNvPr>
          <p:cNvSpPr>
            <a:spLocks noGrp="1"/>
          </p:cNvSpPr>
          <p:nvPr>
            <p:ph type="title"/>
          </p:nvPr>
        </p:nvSpPr>
        <p:spPr/>
        <p:txBody>
          <a:bodyPr/>
          <a:lstStyle/>
          <a:p>
            <a:r>
              <a:rPr lang="en-US" dirty="0"/>
              <a:t>How to deal with short circuit withstand time?</a:t>
            </a:r>
          </a:p>
        </p:txBody>
      </p:sp>
      <p:pic>
        <p:nvPicPr>
          <p:cNvPr id="6" name="Picture 5">
            <a:extLst>
              <a:ext uri="{FF2B5EF4-FFF2-40B4-BE49-F238E27FC236}">
                <a16:creationId xmlns:a16="http://schemas.microsoft.com/office/drawing/2014/main" id="{1EAF424B-AC68-B782-CDF8-8E23C102E471}"/>
              </a:ext>
            </a:extLst>
          </p:cNvPr>
          <p:cNvPicPr>
            <a:picLocks noChangeAspect="1"/>
          </p:cNvPicPr>
          <p:nvPr/>
        </p:nvPicPr>
        <p:blipFill>
          <a:blip r:embed="rId3"/>
          <a:stretch>
            <a:fillRect/>
          </a:stretch>
        </p:blipFill>
        <p:spPr>
          <a:xfrm>
            <a:off x="4871864" y="1628800"/>
            <a:ext cx="7226498" cy="4252571"/>
          </a:xfrm>
          <a:prstGeom prst="rect">
            <a:avLst/>
          </a:prstGeom>
        </p:spPr>
      </p:pic>
      <p:sp>
        <p:nvSpPr>
          <p:cNvPr id="7" name="TextBox 6">
            <a:extLst>
              <a:ext uri="{FF2B5EF4-FFF2-40B4-BE49-F238E27FC236}">
                <a16:creationId xmlns:a16="http://schemas.microsoft.com/office/drawing/2014/main" id="{051188CE-9342-A65C-9908-52E5E4B700E4}"/>
              </a:ext>
            </a:extLst>
          </p:cNvPr>
          <p:cNvSpPr txBox="1"/>
          <p:nvPr/>
        </p:nvSpPr>
        <p:spPr bwMode="auto">
          <a:xfrm>
            <a:off x="335360" y="1948466"/>
            <a:ext cx="4536901" cy="29610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800" b="0" i="0" u="none" strike="noStrike" kern="0" cap="none" spc="0" normalizeH="0" baseline="0" noProof="0" dirty="0">
                <a:ln>
                  <a:noFill/>
                </a:ln>
                <a:solidFill>
                  <a:srgbClr val="1D1D1D"/>
                </a:solidFill>
                <a:effectLst/>
                <a:uLnTx/>
                <a:uFillTx/>
                <a:latin typeface="Arial"/>
                <a:ea typeface="+mn-ea"/>
                <a:cs typeface="Arial"/>
              </a:rPr>
              <a:t>The Infineon datasheet provides the short circuit current and withstand time as a function of gate-emitter </a:t>
            </a:r>
            <a:r>
              <a:rPr kumimoji="0" lang="en-US" sz="1800" b="0" i="0" u="none" strike="noStrike" kern="0" cap="none" spc="0" normalizeH="0" baseline="0" noProof="0" dirty="0">
                <a:ln>
                  <a:noFill/>
                </a:ln>
                <a:solidFill>
                  <a:srgbClr val="1D1D1D"/>
                </a:solidFill>
                <a:effectLst/>
                <a:uLnTx/>
                <a:uFillTx/>
                <a:latin typeface="Arial"/>
                <a:cs typeface="Arial"/>
              </a:rPr>
              <a:t>voltage </a:t>
            </a:r>
            <a:r>
              <a:rPr kumimoji="0" lang="en-US" sz="1800" b="0" i="0" u="none" strike="noStrike" kern="0" cap="none" spc="0" normalizeH="0" baseline="0" noProof="0" dirty="0" err="1">
                <a:ln>
                  <a:noFill/>
                </a:ln>
                <a:solidFill>
                  <a:srgbClr val="1D1D1D"/>
                </a:solidFill>
                <a:effectLst/>
                <a:uLnTx/>
                <a:uFillTx/>
                <a:latin typeface="Arial"/>
                <a:cs typeface="Arial"/>
              </a:rPr>
              <a:t>t</a:t>
            </a:r>
            <a:r>
              <a:rPr kumimoji="0" lang="en-US" sz="1800" b="0" i="0" u="none" strike="noStrike" kern="0" cap="none" spc="0" normalizeH="0" baseline="-25000" noProof="0" dirty="0" err="1">
                <a:ln>
                  <a:noFill/>
                </a:ln>
                <a:solidFill>
                  <a:srgbClr val="1D1D1D"/>
                </a:solidFill>
                <a:effectLst/>
                <a:uLnTx/>
                <a:uFillTx/>
                <a:latin typeface="Arial"/>
                <a:cs typeface="Arial"/>
              </a:rPr>
              <a:t>SC</a:t>
            </a:r>
            <a:r>
              <a:rPr kumimoji="0" lang="en-US" sz="1800" b="0" i="0" u="none" strike="noStrike" kern="0" cap="none" spc="0" normalizeH="0" baseline="0" noProof="0" dirty="0">
                <a:ln>
                  <a:noFill/>
                </a:ln>
                <a:solidFill>
                  <a:srgbClr val="1D1D1D"/>
                </a:solidFill>
                <a:effectLst/>
                <a:uLnTx/>
                <a:uFillTx/>
                <a:latin typeface="Arial"/>
                <a:cs typeface="Arial"/>
              </a:rPr>
              <a:t> = f(V</a:t>
            </a:r>
            <a:r>
              <a:rPr kumimoji="0" lang="en-US" sz="1800" b="0" i="0" u="none" strike="noStrike" kern="0" cap="none" spc="0" normalizeH="0" baseline="-25000" noProof="0" dirty="0">
                <a:ln>
                  <a:noFill/>
                </a:ln>
                <a:solidFill>
                  <a:srgbClr val="1D1D1D"/>
                </a:solidFill>
                <a:effectLst/>
                <a:uLnTx/>
                <a:uFillTx/>
                <a:latin typeface="Arial"/>
                <a:cs typeface="Arial"/>
              </a:rPr>
              <a:t>GE</a:t>
            </a:r>
            <a:r>
              <a:rPr kumimoji="0" lang="en-US" sz="1800" b="0" i="0" u="none" strike="noStrike" kern="0" cap="none" spc="0" normalizeH="0" baseline="0" noProof="0" dirty="0">
                <a:ln>
                  <a:noFill/>
                </a:ln>
                <a:solidFill>
                  <a:srgbClr val="1D1D1D"/>
                </a:solidFill>
                <a:effectLst/>
                <a:uLnTx/>
                <a:uFillTx/>
                <a:latin typeface="Arial"/>
                <a:cs typeface="Arial"/>
              </a:rPr>
              <a:t>) for the worst case of 150°C.</a:t>
            </a:r>
          </a:p>
          <a:p>
            <a:pPr marL="0" marR="0" lvl="0" indent="0" algn="l" defTabSz="576000" rtl="0" eaLnBrk="0" fontAlgn="auto" latinLnBrk="0" hangingPunct="0">
              <a:lnSpc>
                <a:spcPct val="120000"/>
              </a:lnSpc>
              <a:spcBef>
                <a:spcPts val="0"/>
              </a:spcBef>
              <a:spcAft>
                <a:spcPts val="0"/>
              </a:spcAft>
              <a:buClr>
                <a:srgbClr val="0A8276"/>
              </a:buClr>
              <a:buSzTx/>
              <a:buFontTx/>
              <a:buNone/>
              <a:tabLst/>
              <a:defRPr/>
            </a:pPr>
            <a:endParaRPr kumimoji="0" lang="en-US" sz="1800" b="0" i="0" u="none" strike="noStrike" kern="0" cap="none" spc="0" normalizeH="0" baseline="0" noProof="0" dirty="0">
              <a:ln>
                <a:noFill/>
              </a:ln>
              <a:solidFill>
                <a:srgbClr val="1D1D1D"/>
              </a:solidFill>
              <a:effectLst/>
              <a:uLnTx/>
              <a:uFillTx/>
              <a:latin typeface="Arial"/>
              <a:cs typeface="Arial"/>
            </a:endParaRPr>
          </a:p>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800" b="0" i="0" u="none" strike="noStrike" kern="0" cap="none" spc="0" normalizeH="0" baseline="0" noProof="0" dirty="0">
                <a:ln>
                  <a:noFill/>
                </a:ln>
                <a:solidFill>
                  <a:srgbClr val="1D1D1D"/>
                </a:solidFill>
                <a:effectLst/>
                <a:uLnTx/>
                <a:uFillTx/>
                <a:latin typeface="Arial"/>
                <a:cs typeface="Arial"/>
              </a:rPr>
              <a:t>However, short circuit current I</a:t>
            </a:r>
            <a:r>
              <a:rPr kumimoji="0" lang="en-US" sz="1800" b="0" i="0" u="none" strike="noStrike" kern="0" cap="none" spc="0" normalizeH="0" baseline="-25000" noProof="0" dirty="0">
                <a:ln>
                  <a:noFill/>
                </a:ln>
                <a:solidFill>
                  <a:srgbClr val="1D1D1D"/>
                </a:solidFill>
                <a:effectLst/>
                <a:uLnTx/>
                <a:uFillTx/>
                <a:latin typeface="Arial"/>
                <a:cs typeface="Arial"/>
              </a:rPr>
              <a:t>SC</a:t>
            </a:r>
            <a:r>
              <a:rPr kumimoji="0" lang="en-US" sz="1800" b="0" i="0" u="none" strike="noStrike" kern="0" cap="none" spc="0" normalizeH="0" baseline="0" noProof="0" dirty="0">
                <a:ln>
                  <a:noFill/>
                </a:ln>
                <a:solidFill>
                  <a:srgbClr val="1D1D1D"/>
                </a:solidFill>
                <a:effectLst/>
                <a:uLnTx/>
                <a:uFillTx/>
                <a:latin typeface="Arial"/>
                <a:cs typeface="Arial"/>
              </a:rPr>
              <a:t>, consequently </a:t>
            </a:r>
            <a:r>
              <a:rPr kumimoji="0" lang="en-US" sz="1800" b="0" i="0" u="none" strike="noStrike" kern="0" cap="none" spc="0" normalizeH="0" baseline="0" noProof="0" dirty="0" err="1">
                <a:ln>
                  <a:noFill/>
                </a:ln>
                <a:solidFill>
                  <a:srgbClr val="1D1D1D"/>
                </a:solidFill>
                <a:effectLst/>
                <a:uLnTx/>
                <a:uFillTx/>
                <a:latin typeface="Arial"/>
                <a:cs typeface="Arial"/>
              </a:rPr>
              <a:t>t</a:t>
            </a:r>
            <a:r>
              <a:rPr kumimoji="0" lang="en-US" sz="1800" b="0" i="0" u="none" strike="noStrike" kern="0" cap="none" spc="0" normalizeH="0" baseline="-25000" noProof="0" dirty="0" err="1">
                <a:ln>
                  <a:noFill/>
                </a:ln>
                <a:solidFill>
                  <a:srgbClr val="1D1D1D"/>
                </a:solidFill>
                <a:effectLst/>
                <a:uLnTx/>
                <a:uFillTx/>
                <a:latin typeface="Arial"/>
                <a:cs typeface="Arial"/>
              </a:rPr>
              <a:t>SC</a:t>
            </a:r>
            <a:r>
              <a:rPr kumimoji="0" lang="en-US" sz="1800" b="0" i="0" u="none" strike="noStrike" kern="0" cap="none" spc="0" normalizeH="0" baseline="0" noProof="0" dirty="0">
                <a:ln>
                  <a:noFill/>
                </a:ln>
                <a:solidFill>
                  <a:srgbClr val="1D1D1D"/>
                </a:solidFill>
                <a:effectLst/>
                <a:uLnTx/>
                <a:uFillTx/>
                <a:latin typeface="Arial"/>
                <a:cs typeface="Arial"/>
              </a:rPr>
              <a:t>, strongly depends on the bus voltage (V</a:t>
            </a:r>
            <a:r>
              <a:rPr kumimoji="0" lang="en-US" sz="1800" b="0" i="0" u="none" strike="noStrike" kern="0" cap="none" spc="0" normalizeH="0" baseline="-25000" noProof="0" dirty="0">
                <a:ln>
                  <a:noFill/>
                </a:ln>
                <a:solidFill>
                  <a:srgbClr val="1D1D1D"/>
                </a:solidFill>
                <a:effectLst/>
                <a:uLnTx/>
                <a:uFillTx/>
                <a:latin typeface="Arial"/>
                <a:cs typeface="Arial"/>
              </a:rPr>
              <a:t>CC</a:t>
            </a:r>
            <a:r>
              <a:rPr kumimoji="0" lang="en-US" sz="1800" b="0" i="0" u="none" strike="noStrike" kern="0" cap="none" spc="0" normalizeH="0" baseline="0" noProof="0" dirty="0">
                <a:ln>
                  <a:noFill/>
                </a:ln>
                <a:solidFill>
                  <a:srgbClr val="1D1D1D"/>
                </a:solidFill>
                <a:effectLst/>
                <a:uLnTx/>
                <a:uFillTx/>
                <a:latin typeface="Arial"/>
                <a:cs typeface="Arial"/>
              </a:rPr>
              <a:t>) and the </a:t>
            </a:r>
            <a:r>
              <a:rPr kumimoji="0" lang="en-US" sz="1800" b="0" i="0" u="none" strike="noStrike" kern="0" cap="none" spc="0" normalizeH="0" baseline="0" noProof="0" dirty="0" err="1">
                <a:ln>
                  <a:noFill/>
                </a:ln>
                <a:solidFill>
                  <a:srgbClr val="1D1D1D"/>
                </a:solidFill>
                <a:effectLst/>
                <a:uLnTx/>
                <a:uFillTx/>
                <a:latin typeface="Arial"/>
                <a:cs typeface="Arial"/>
              </a:rPr>
              <a:t>T</a:t>
            </a:r>
            <a:r>
              <a:rPr kumimoji="0" lang="en-US" sz="1800" b="0" i="0" u="none" strike="noStrike" kern="0" cap="none" spc="0" normalizeH="0" baseline="-25000" noProof="0" dirty="0" err="1">
                <a:ln>
                  <a:noFill/>
                </a:ln>
                <a:solidFill>
                  <a:srgbClr val="1D1D1D"/>
                </a:solidFill>
                <a:effectLst/>
                <a:uLnTx/>
                <a:uFillTx/>
                <a:latin typeface="Arial"/>
                <a:cs typeface="Arial"/>
              </a:rPr>
              <a:t>vj</a:t>
            </a:r>
            <a:r>
              <a:rPr kumimoji="0" lang="en-US" sz="1800" b="0" i="0" u="none" strike="noStrike" kern="0" cap="none" spc="0" normalizeH="0" baseline="0" noProof="0" dirty="0">
                <a:ln>
                  <a:noFill/>
                </a:ln>
                <a:solidFill>
                  <a:srgbClr val="1D1D1D"/>
                </a:solidFill>
                <a:effectLst/>
                <a:uLnTx/>
                <a:uFillTx/>
                <a:latin typeface="Arial"/>
                <a:cs typeface="Arial"/>
              </a:rPr>
              <a:t> as well.</a:t>
            </a:r>
          </a:p>
          <a:p>
            <a:pPr marL="0" marR="0" lvl="0" indent="0" algn="l" defTabSz="576000" rtl="0" eaLnBrk="0" fontAlgn="auto" latinLnBrk="0" hangingPunct="0">
              <a:lnSpc>
                <a:spcPct val="120000"/>
              </a:lnSpc>
              <a:spcBef>
                <a:spcPts val="0"/>
              </a:spcBef>
              <a:spcAft>
                <a:spcPts val="0"/>
              </a:spcAft>
              <a:buClr>
                <a:srgbClr val="0A8276"/>
              </a:buClr>
              <a:buSzTx/>
              <a:buFontTx/>
              <a:buNone/>
              <a:tabLst/>
              <a:defRPr/>
            </a:pPr>
            <a:endParaRPr kumimoji="0" lang="en-US" sz="1800" b="0" i="0" u="none" strike="noStrike" kern="0" cap="none" spc="0" normalizeH="0" baseline="0" noProof="0" dirty="0">
              <a:ln>
                <a:noFill/>
              </a:ln>
              <a:solidFill>
                <a:srgbClr val="1D1D1D"/>
              </a:solidFill>
              <a:effectLst/>
              <a:uLnTx/>
              <a:uFillTx/>
              <a:latin typeface="Arial"/>
              <a:cs typeface="Arial"/>
            </a:endParaRPr>
          </a:p>
        </p:txBody>
      </p:sp>
      <p:sp>
        <p:nvSpPr>
          <p:cNvPr id="8" name="Rectangle 7">
            <a:extLst>
              <a:ext uri="{FF2B5EF4-FFF2-40B4-BE49-F238E27FC236}">
                <a16:creationId xmlns:a16="http://schemas.microsoft.com/office/drawing/2014/main" id="{78BDEE72-C32C-799E-0E15-086EE762C4E7}"/>
              </a:ext>
            </a:extLst>
          </p:cNvPr>
          <p:cNvSpPr/>
          <p:nvPr/>
        </p:nvSpPr>
        <p:spPr bwMode="auto">
          <a:xfrm>
            <a:off x="335360" y="3547558"/>
            <a:ext cx="4536901" cy="1296144"/>
          </a:xfrm>
          <a:prstGeom prst="rect">
            <a:avLst/>
          </a:prstGeom>
          <a:solidFill>
            <a:srgbClr val="0A8276">
              <a:alpha val="10000"/>
            </a:srgbClr>
          </a:solidFill>
          <a:ln w="9525">
            <a:noFill/>
            <a:miter lim="800000"/>
            <a:headEnd/>
            <a:tailEn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9" name="Arrow: Right 8">
            <a:extLst>
              <a:ext uri="{FF2B5EF4-FFF2-40B4-BE49-F238E27FC236}">
                <a16:creationId xmlns:a16="http://schemas.microsoft.com/office/drawing/2014/main" id="{D199EA3C-F555-9BF3-F6CD-1228AC670C09}"/>
              </a:ext>
            </a:extLst>
          </p:cNvPr>
          <p:cNvSpPr/>
          <p:nvPr/>
        </p:nvSpPr>
        <p:spPr bwMode="auto">
          <a:xfrm>
            <a:off x="4871864" y="3933056"/>
            <a:ext cx="359643" cy="360040"/>
          </a:xfrm>
          <a:prstGeom prst="rightArrow">
            <a:avLst/>
          </a:prstGeom>
          <a:solidFill>
            <a:srgbClr val="0A8276">
              <a:alpha val="10000"/>
            </a:srgbClr>
          </a:solidFill>
          <a:ln w="9525">
            <a:noFill/>
            <a:miter lim="800000"/>
            <a:headEnd/>
            <a:tailEn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cs typeface="Arial"/>
            </a:endParaRPr>
          </a:p>
        </p:txBody>
      </p:sp>
      <p:sp>
        <p:nvSpPr>
          <p:cNvPr id="16" name="Arrow: Down 15">
            <a:extLst>
              <a:ext uri="{FF2B5EF4-FFF2-40B4-BE49-F238E27FC236}">
                <a16:creationId xmlns:a16="http://schemas.microsoft.com/office/drawing/2014/main" id="{7CB040B6-82FF-C544-6AE7-1828A05BF7B8}"/>
              </a:ext>
            </a:extLst>
          </p:cNvPr>
          <p:cNvSpPr/>
          <p:nvPr/>
        </p:nvSpPr>
        <p:spPr bwMode="auto">
          <a:xfrm rot="10800000">
            <a:off x="6600056" y="2492895"/>
            <a:ext cx="504056" cy="1080566"/>
          </a:xfrm>
          <a:prstGeom prst="downArrow">
            <a:avLst/>
          </a:prstGeom>
          <a:solidFill>
            <a:schemeClr val="bg2">
              <a:lumMod val="20000"/>
              <a:lumOff val="80000"/>
              <a:alpha val="50000"/>
            </a:schemeClr>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7" name="Arrow: Down 16">
            <a:extLst>
              <a:ext uri="{FF2B5EF4-FFF2-40B4-BE49-F238E27FC236}">
                <a16:creationId xmlns:a16="http://schemas.microsoft.com/office/drawing/2014/main" id="{325318F2-5098-C96A-57BC-705B25A11157}"/>
              </a:ext>
            </a:extLst>
          </p:cNvPr>
          <p:cNvSpPr/>
          <p:nvPr/>
        </p:nvSpPr>
        <p:spPr bwMode="auto">
          <a:xfrm rot="10800000">
            <a:off x="10776520" y="3789039"/>
            <a:ext cx="504056" cy="828315"/>
          </a:xfrm>
          <a:prstGeom prst="downArrow">
            <a:avLst/>
          </a:prstGeom>
          <a:solidFill>
            <a:schemeClr val="bg2">
              <a:lumMod val="20000"/>
              <a:lumOff val="80000"/>
              <a:alpha val="50000"/>
            </a:schemeClr>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8" name="Arrow: Down 17">
            <a:extLst>
              <a:ext uri="{FF2B5EF4-FFF2-40B4-BE49-F238E27FC236}">
                <a16:creationId xmlns:a16="http://schemas.microsoft.com/office/drawing/2014/main" id="{4C771859-C1B9-5C23-3889-499F0F5E9C9C}"/>
              </a:ext>
            </a:extLst>
          </p:cNvPr>
          <p:cNvSpPr/>
          <p:nvPr/>
        </p:nvSpPr>
        <p:spPr bwMode="auto">
          <a:xfrm rot="10800000">
            <a:off x="8485113" y="3140968"/>
            <a:ext cx="504056" cy="936104"/>
          </a:xfrm>
          <a:prstGeom prst="downArrow">
            <a:avLst/>
          </a:prstGeom>
          <a:solidFill>
            <a:schemeClr val="bg2">
              <a:lumMod val="20000"/>
              <a:lumOff val="80000"/>
              <a:alpha val="50000"/>
            </a:schemeClr>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0" name="TextBox 19">
            <a:extLst>
              <a:ext uri="{FF2B5EF4-FFF2-40B4-BE49-F238E27FC236}">
                <a16:creationId xmlns:a16="http://schemas.microsoft.com/office/drawing/2014/main" id="{D35D930A-EAAB-58BA-9BBC-383962841645}"/>
              </a:ext>
            </a:extLst>
          </p:cNvPr>
          <p:cNvSpPr txBox="1"/>
          <p:nvPr/>
        </p:nvSpPr>
        <p:spPr bwMode="auto">
          <a:xfrm rot="1090998">
            <a:off x="6541876" y="2936785"/>
            <a:ext cx="5459797" cy="293607"/>
          </a:xfrm>
          <a:prstGeom prst="rect">
            <a:avLst/>
          </a:prstGeom>
          <a:noFill/>
          <a:ln w="9525">
            <a:noFill/>
            <a:miter lim="800000"/>
            <a:headEnd/>
            <a:tailEnd/>
          </a:ln>
          <a:effectLst/>
        </p:spPr>
        <p:txBody>
          <a:bodyPr wrap="square">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200" b="0" i="0" u="none" strike="noStrike" kern="0" cap="none" spc="0" normalizeH="0" baseline="0" noProof="0" dirty="0">
                <a:ln>
                  <a:noFill/>
                </a:ln>
                <a:solidFill>
                  <a:srgbClr val="1D1D1D"/>
                </a:solidFill>
                <a:effectLst/>
                <a:uLnTx/>
                <a:uFillTx/>
                <a:latin typeface="Arial"/>
                <a:cs typeface="Arial"/>
              </a:rPr>
              <a:t>Infineon </a:t>
            </a:r>
            <a:r>
              <a:rPr kumimoji="0" lang="en-US" sz="1200" b="1" i="0" u="none" strike="noStrike" kern="0" cap="none" spc="0" normalizeH="0" baseline="0" noProof="0" dirty="0">
                <a:ln>
                  <a:noFill/>
                </a:ln>
                <a:solidFill>
                  <a:srgbClr val="1D1D1D"/>
                </a:solidFill>
                <a:effectLst/>
                <a:uLnTx/>
                <a:uFillTx/>
                <a:latin typeface="Arial"/>
                <a:cs typeface="Arial"/>
              </a:rPr>
              <a:t>already applies a ~25% safety margin in the </a:t>
            </a:r>
            <a:r>
              <a:rPr kumimoji="0" lang="en-US" sz="1200" b="1" i="0" u="none" strike="noStrike" kern="0" cap="none" spc="0" normalizeH="0" baseline="0" noProof="0" dirty="0" err="1">
                <a:ln>
                  <a:noFill/>
                </a:ln>
                <a:solidFill>
                  <a:srgbClr val="1D1D1D"/>
                </a:solidFill>
                <a:effectLst/>
                <a:uLnTx/>
                <a:uFillTx/>
                <a:latin typeface="Arial"/>
                <a:cs typeface="Arial"/>
              </a:rPr>
              <a:t>t</a:t>
            </a:r>
            <a:r>
              <a:rPr kumimoji="0" lang="en-US" sz="1200" b="1" i="0" u="none" strike="noStrike" kern="0" cap="none" spc="0" normalizeH="0" baseline="-25000" noProof="0" dirty="0" err="1">
                <a:ln>
                  <a:noFill/>
                </a:ln>
                <a:solidFill>
                  <a:srgbClr val="1D1D1D"/>
                </a:solidFill>
                <a:effectLst/>
                <a:uLnTx/>
                <a:uFillTx/>
                <a:latin typeface="Arial"/>
                <a:cs typeface="Arial"/>
              </a:rPr>
              <a:t>SC</a:t>
            </a:r>
            <a:r>
              <a:rPr kumimoji="0" lang="en-US" sz="1200" b="1" i="0" u="none" strike="noStrike" kern="0" cap="none" spc="0" normalizeH="0" baseline="0" noProof="0" dirty="0">
                <a:ln>
                  <a:noFill/>
                </a:ln>
                <a:solidFill>
                  <a:srgbClr val="1D1D1D"/>
                </a:solidFill>
                <a:effectLst/>
                <a:uLnTx/>
                <a:uFillTx/>
                <a:latin typeface="Arial"/>
                <a:cs typeface="Arial"/>
              </a:rPr>
              <a:t> datasheet value!</a:t>
            </a:r>
          </a:p>
        </p:txBody>
      </p:sp>
    </p:spTree>
    <p:extLst>
      <p:ext uri="{BB962C8B-B14F-4D97-AF65-F5344CB8AC3E}">
        <p14:creationId xmlns:p14="http://schemas.microsoft.com/office/powerpoint/2010/main" val="32926644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69A6607C-3A56-367B-02AA-B3716F372C3C}"/>
              </a:ext>
            </a:extLst>
          </p:cNvPr>
          <p:cNvPicPr>
            <a:picLocks noChangeAspect="1"/>
          </p:cNvPicPr>
          <p:nvPr/>
        </p:nvPicPr>
        <p:blipFill>
          <a:blip r:embed="rId3"/>
          <a:stretch>
            <a:fillRect/>
          </a:stretch>
        </p:blipFill>
        <p:spPr>
          <a:xfrm>
            <a:off x="8278400" y="919460"/>
            <a:ext cx="2906072" cy="1714180"/>
          </a:xfrm>
          <a:prstGeom prst="rect">
            <a:avLst/>
          </a:prstGeom>
        </p:spPr>
      </p:pic>
      <p:sp>
        <p:nvSpPr>
          <p:cNvPr id="5" name="Title 4"/>
          <p:cNvSpPr>
            <a:spLocks noGrp="1"/>
          </p:cNvSpPr>
          <p:nvPr>
            <p:ph type="title"/>
          </p:nvPr>
        </p:nvSpPr>
        <p:spPr/>
        <p:txBody>
          <a:bodyPr/>
          <a:lstStyle/>
          <a:p>
            <a:r>
              <a:rPr lang="en-US" dirty="0"/>
              <a:t>Parasitic turn-on performance</a:t>
            </a:r>
            <a:br>
              <a:rPr lang="en-US" dirty="0"/>
            </a:br>
            <a:r>
              <a:rPr lang="en-US" dirty="0"/>
              <a:t>Test results</a:t>
            </a:r>
          </a:p>
        </p:txBody>
      </p:sp>
      <p:sp>
        <p:nvSpPr>
          <p:cNvPr id="9" name="Content Placeholder 8"/>
          <p:cNvSpPr>
            <a:spLocks noGrp="1"/>
          </p:cNvSpPr>
          <p:nvPr>
            <p:ph sz="quarter" idx="13"/>
          </p:nvPr>
        </p:nvSpPr>
        <p:spPr>
          <a:xfrm>
            <a:off x="334800" y="1339999"/>
            <a:ext cx="11520000" cy="5113337"/>
          </a:xfrm>
        </p:spPr>
        <p:txBody>
          <a:bodyPr>
            <a:normAutofit/>
          </a:bodyPr>
          <a:lstStyle/>
          <a:p>
            <a:r>
              <a:rPr lang="en-US" dirty="0"/>
              <a:t>Test conditions: </a:t>
            </a:r>
            <a:r>
              <a:rPr lang="en-US" sz="1800" dirty="0"/>
              <a:t>dv/dt ~ 36 kV/us (low side) V</a:t>
            </a:r>
            <a:r>
              <a:rPr lang="en-US" sz="1800" baseline="-25000" dirty="0"/>
              <a:t>CC</a:t>
            </a:r>
            <a:r>
              <a:rPr lang="en-US" sz="1800" dirty="0"/>
              <a:t> = 800 V T</a:t>
            </a:r>
            <a:r>
              <a:rPr lang="en-US" sz="1800" baseline="-25000" dirty="0"/>
              <a:t>J</a:t>
            </a:r>
            <a:r>
              <a:rPr lang="en-US" sz="1800" dirty="0"/>
              <a:t> = 175°C</a:t>
            </a:r>
          </a:p>
          <a:p>
            <a:pPr marL="450000" lvl="2" indent="0">
              <a:buNone/>
            </a:pPr>
            <a:endParaRPr lang="en-US" dirty="0"/>
          </a:p>
        </p:txBody>
      </p:sp>
      <p:pic>
        <p:nvPicPr>
          <p:cNvPr id="2" name="Picture 1">
            <a:extLst>
              <a:ext uri="{FF2B5EF4-FFF2-40B4-BE49-F238E27FC236}">
                <a16:creationId xmlns:a16="http://schemas.microsoft.com/office/drawing/2014/main" id="{8C43A6FA-8280-4124-91C5-99493416355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7104112" y="3075826"/>
            <a:ext cx="4462744" cy="3347057"/>
          </a:xfrm>
          <a:prstGeom prst="rect">
            <a:avLst/>
          </a:prstGeom>
        </p:spPr>
      </p:pic>
      <p:sp>
        <p:nvSpPr>
          <p:cNvPr id="12" name="TextBox 11">
            <a:extLst>
              <a:ext uri="{FF2B5EF4-FFF2-40B4-BE49-F238E27FC236}">
                <a16:creationId xmlns:a16="http://schemas.microsoft.com/office/drawing/2014/main" id="{2CD918F6-2A3E-4FDF-A4E8-26309C450A07}"/>
              </a:ext>
            </a:extLst>
          </p:cNvPr>
          <p:cNvSpPr txBox="1"/>
          <p:nvPr/>
        </p:nvSpPr>
        <p:spPr bwMode="auto">
          <a:xfrm>
            <a:off x="7280460" y="2783933"/>
            <a:ext cx="4472239" cy="246221"/>
          </a:xfrm>
          <a:prstGeom prst="rect">
            <a:avLst/>
          </a:prstGeom>
          <a:noFill/>
          <a:ln w="9525">
            <a:noFill/>
            <a:miter lim="800000"/>
            <a:headEnd/>
            <a:tailEnd/>
          </a:ln>
          <a:effectLst/>
        </p:spPr>
        <p:txBody>
          <a:bodyPr wrap="square" lIns="0" tIns="0" rIns="0" bIns="0" rtlCol="0" anchor="ctr" anchorCtr="0">
            <a:spAutoFit/>
          </a:bodyPr>
          <a:lstStyle/>
          <a:p>
            <a:pPr marL="0" marR="0" lvl="0" indent="0" algn="ctr" defTabSz="914377" rtl="0" eaLnBrk="0" fontAlgn="auto" latinLnBrk="0" hangingPunct="0">
              <a:lnSpc>
                <a:spcPct val="100000"/>
              </a:lnSpc>
              <a:spcBef>
                <a:spcPts val="0"/>
              </a:spcBef>
              <a:spcAft>
                <a:spcPts val="300"/>
              </a:spcAft>
              <a:buClr>
                <a:srgbClr val="E30034"/>
              </a:buClr>
              <a:buSzTx/>
              <a:buFontTx/>
              <a:buNone/>
              <a:tabLst/>
              <a:defRPr/>
            </a:pPr>
            <a:r>
              <a:rPr kumimoji="0" lang="en-US" sz="1600"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PTO failure sample (competitor) </a:t>
            </a:r>
          </a:p>
        </p:txBody>
      </p:sp>
      <p:sp>
        <p:nvSpPr>
          <p:cNvPr id="3" name="TextBox 2">
            <a:extLst>
              <a:ext uri="{FF2B5EF4-FFF2-40B4-BE49-F238E27FC236}">
                <a16:creationId xmlns:a16="http://schemas.microsoft.com/office/drawing/2014/main" id="{2A03E79C-438D-4C48-8FBA-B1E4AEA11D86}"/>
              </a:ext>
            </a:extLst>
          </p:cNvPr>
          <p:cNvSpPr txBox="1"/>
          <p:nvPr/>
        </p:nvSpPr>
        <p:spPr bwMode="auto">
          <a:xfrm>
            <a:off x="7981598" y="3888471"/>
            <a:ext cx="2073089"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Q</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rr</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at R</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G_OFF HS</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 0 </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sym typeface="Symbol" panose="05050102010706020507" pitchFamily="18" charset="2"/>
              </a:rPr>
              <a:t></a:t>
            </a:r>
            <a:endPar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endParaRPr>
          </a:p>
        </p:txBody>
      </p:sp>
      <p:sp>
        <p:nvSpPr>
          <p:cNvPr id="13" name="TextBox 12">
            <a:extLst>
              <a:ext uri="{FF2B5EF4-FFF2-40B4-BE49-F238E27FC236}">
                <a16:creationId xmlns:a16="http://schemas.microsoft.com/office/drawing/2014/main" id="{6B20E224-6C41-4503-8734-893580CD0A7A}"/>
              </a:ext>
            </a:extLst>
          </p:cNvPr>
          <p:cNvSpPr txBox="1"/>
          <p:nvPr/>
        </p:nvSpPr>
        <p:spPr bwMode="auto">
          <a:xfrm>
            <a:off x="8845694" y="4523619"/>
            <a:ext cx="1953075"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Q</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rr</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at R</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G_OFF HS</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 47 </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sym typeface="Symbol" panose="05050102010706020507" pitchFamily="18" charset="2"/>
              </a:rPr>
              <a:t></a:t>
            </a:r>
            <a:endPar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endParaRPr>
          </a:p>
        </p:txBody>
      </p:sp>
      <p:sp>
        <p:nvSpPr>
          <p:cNvPr id="14" name="TextBox 13">
            <a:extLst>
              <a:ext uri="{FF2B5EF4-FFF2-40B4-BE49-F238E27FC236}">
                <a16:creationId xmlns:a16="http://schemas.microsoft.com/office/drawing/2014/main" id="{1F801F90-C0F0-422D-8B61-90B9F8FC57D8}"/>
              </a:ext>
            </a:extLst>
          </p:cNvPr>
          <p:cNvSpPr txBox="1"/>
          <p:nvPr/>
        </p:nvSpPr>
        <p:spPr bwMode="auto">
          <a:xfrm>
            <a:off x="9679267" y="4875524"/>
            <a:ext cx="1885749"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E</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rr</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at R</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G_OFF HS</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 0 </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sym typeface="Symbol" panose="05050102010706020507" pitchFamily="18" charset="2"/>
              </a:rPr>
              <a:t></a:t>
            </a:r>
            <a:endPar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endParaRPr>
          </a:p>
        </p:txBody>
      </p:sp>
      <p:sp>
        <p:nvSpPr>
          <p:cNvPr id="18" name="TextBox 17">
            <a:extLst>
              <a:ext uri="{FF2B5EF4-FFF2-40B4-BE49-F238E27FC236}">
                <a16:creationId xmlns:a16="http://schemas.microsoft.com/office/drawing/2014/main" id="{2B6A9091-DF68-4316-AEFB-AD6AB6ED7705}"/>
              </a:ext>
            </a:extLst>
          </p:cNvPr>
          <p:cNvSpPr txBox="1"/>
          <p:nvPr/>
        </p:nvSpPr>
        <p:spPr bwMode="auto">
          <a:xfrm>
            <a:off x="8471388" y="5260622"/>
            <a:ext cx="2073088"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E</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rr</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at R</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G_OFF HS</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 = 47 </a:t>
            </a: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sym typeface="Symbol" panose="05050102010706020507" pitchFamily="18" charset="2"/>
              </a:rPr>
              <a:t></a:t>
            </a:r>
            <a:endPar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endParaRPr>
          </a:p>
        </p:txBody>
      </p:sp>
      <p:sp>
        <p:nvSpPr>
          <p:cNvPr id="19" name="TextBox 18">
            <a:extLst>
              <a:ext uri="{FF2B5EF4-FFF2-40B4-BE49-F238E27FC236}">
                <a16:creationId xmlns:a16="http://schemas.microsoft.com/office/drawing/2014/main" id="{AEDB9396-BF3F-40CC-859C-2EAE73C6599D}"/>
              </a:ext>
            </a:extLst>
          </p:cNvPr>
          <p:cNvSpPr txBox="1"/>
          <p:nvPr/>
        </p:nvSpPr>
        <p:spPr bwMode="auto">
          <a:xfrm>
            <a:off x="8974568" y="3244397"/>
            <a:ext cx="2400267"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Diode recovery voltage, V</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F</a:t>
            </a:r>
          </a:p>
        </p:txBody>
      </p:sp>
      <p:sp>
        <p:nvSpPr>
          <p:cNvPr id="20" name="TextBox 19">
            <a:extLst>
              <a:ext uri="{FF2B5EF4-FFF2-40B4-BE49-F238E27FC236}">
                <a16:creationId xmlns:a16="http://schemas.microsoft.com/office/drawing/2014/main" id="{0E38B594-A090-4ECE-B92A-3EAB009CEDE7}"/>
              </a:ext>
            </a:extLst>
          </p:cNvPr>
          <p:cNvSpPr txBox="1"/>
          <p:nvPr/>
        </p:nvSpPr>
        <p:spPr bwMode="auto">
          <a:xfrm rot="16727219">
            <a:off x="7526963" y="3345394"/>
            <a:ext cx="678856"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dv/dt</a:t>
            </a:r>
          </a:p>
        </p:txBody>
      </p:sp>
      <p:cxnSp>
        <p:nvCxnSpPr>
          <p:cNvPr id="6" name="Straight Arrow Connector 5">
            <a:extLst>
              <a:ext uri="{FF2B5EF4-FFF2-40B4-BE49-F238E27FC236}">
                <a16:creationId xmlns:a16="http://schemas.microsoft.com/office/drawing/2014/main" id="{28B71977-7C94-40ED-B09B-29859156957E}"/>
              </a:ext>
            </a:extLst>
          </p:cNvPr>
          <p:cNvCxnSpPr>
            <a:cxnSpLocks/>
          </p:cNvCxnSpPr>
          <p:nvPr/>
        </p:nvCxnSpPr>
        <p:spPr>
          <a:xfrm flipH="1">
            <a:off x="8206485" y="4114206"/>
            <a:ext cx="192020" cy="316033"/>
          </a:xfrm>
          <a:prstGeom prst="straightConnector1">
            <a:avLst/>
          </a:prstGeom>
          <a:ln w="317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D5C2A6C-EE4B-49E8-B722-4690B911095D}"/>
              </a:ext>
            </a:extLst>
          </p:cNvPr>
          <p:cNvCxnSpPr>
            <a:cxnSpLocks/>
          </p:cNvCxnSpPr>
          <p:nvPr/>
        </p:nvCxnSpPr>
        <p:spPr>
          <a:xfrm flipH="1" flipV="1">
            <a:off x="8603916" y="4591338"/>
            <a:ext cx="192021" cy="45164"/>
          </a:xfrm>
          <a:prstGeom prst="straightConnector1">
            <a:avLst/>
          </a:prstGeom>
          <a:ln w="317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C9FFEDC-D244-4EA8-BC03-42F2C42799A9}"/>
              </a:ext>
            </a:extLst>
          </p:cNvPr>
          <p:cNvCxnSpPr>
            <a:cxnSpLocks/>
          </p:cNvCxnSpPr>
          <p:nvPr/>
        </p:nvCxnSpPr>
        <p:spPr>
          <a:xfrm flipH="1">
            <a:off x="9596886" y="5117173"/>
            <a:ext cx="216901" cy="50553"/>
          </a:xfrm>
          <a:prstGeom prst="straightConnector1">
            <a:avLst/>
          </a:prstGeom>
          <a:ln w="317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ABF567A-D821-47C4-A96B-824C092D7723}"/>
              </a:ext>
            </a:extLst>
          </p:cNvPr>
          <p:cNvCxnSpPr>
            <a:cxnSpLocks/>
            <a:stCxn id="18" idx="1"/>
          </p:cNvCxnSpPr>
          <p:nvPr/>
        </p:nvCxnSpPr>
        <p:spPr>
          <a:xfrm flipH="1" flipV="1">
            <a:off x="8302496" y="5233592"/>
            <a:ext cx="168892" cy="139914"/>
          </a:xfrm>
          <a:prstGeom prst="straightConnector1">
            <a:avLst/>
          </a:prstGeom>
          <a:ln w="3175">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1549ADB-0480-4CFE-A7F0-077D5A725D50}"/>
              </a:ext>
            </a:extLst>
          </p:cNvPr>
          <p:cNvSpPr txBox="1"/>
          <p:nvPr/>
        </p:nvSpPr>
        <p:spPr bwMode="auto">
          <a:xfrm>
            <a:off x="7280460" y="3840697"/>
            <a:ext cx="422553"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I</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F</a:t>
            </a:r>
          </a:p>
        </p:txBody>
      </p:sp>
      <p:pic>
        <p:nvPicPr>
          <p:cNvPr id="16" name="Picture 15">
            <a:extLst>
              <a:ext uri="{FF2B5EF4-FFF2-40B4-BE49-F238E27FC236}">
                <a16:creationId xmlns:a16="http://schemas.microsoft.com/office/drawing/2014/main" id="{B8F5269B-2BA2-D4CA-6001-4114A95A6BAC}"/>
              </a:ext>
            </a:extLst>
          </p:cNvPr>
          <p:cNvPicPr>
            <a:picLocks noChangeAspect="1"/>
          </p:cNvPicPr>
          <p:nvPr/>
        </p:nvPicPr>
        <p:blipFill>
          <a:blip r:embed="rId6"/>
          <a:stretch>
            <a:fillRect/>
          </a:stretch>
        </p:blipFill>
        <p:spPr>
          <a:xfrm>
            <a:off x="527381" y="1928582"/>
            <a:ext cx="6144683" cy="4453169"/>
          </a:xfrm>
          <a:prstGeom prst="rect">
            <a:avLst/>
          </a:prstGeom>
        </p:spPr>
      </p:pic>
      <p:sp>
        <p:nvSpPr>
          <p:cNvPr id="17" name="TextBox 16">
            <a:extLst>
              <a:ext uri="{FF2B5EF4-FFF2-40B4-BE49-F238E27FC236}">
                <a16:creationId xmlns:a16="http://schemas.microsoft.com/office/drawing/2014/main" id="{3CE3782F-F85F-F485-7D1F-C8DC3A794881}"/>
              </a:ext>
            </a:extLst>
          </p:cNvPr>
          <p:cNvSpPr txBox="1"/>
          <p:nvPr/>
        </p:nvSpPr>
        <p:spPr bwMode="auto">
          <a:xfrm>
            <a:off x="1707690" y="3035302"/>
            <a:ext cx="3360373" cy="502830"/>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No Q</a:t>
            </a:r>
            <a:r>
              <a:rPr kumimoji="0" lang="en-US" sz="1467" b="1" i="0" u="none" strike="noStrike" kern="0" cap="none" spc="0" normalizeH="0" baseline="-2500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rr</a:t>
            </a: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 and/or E</a:t>
            </a:r>
            <a:r>
              <a:rPr kumimoji="0" lang="en-US" sz="1467" b="1" i="0" u="none" strike="noStrike" kern="0" cap="none" spc="0" normalizeH="0" baseline="-2500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rr</a:t>
            </a: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 difference between</a:t>
            </a:r>
          </a:p>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R</a:t>
            </a:r>
            <a:r>
              <a:rPr kumimoji="0" lang="en-US" sz="1467" b="1" i="0" u="none" strike="noStrike" kern="0" cap="none" spc="0" normalizeH="0" baseline="-2500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G_OFF HS</a:t>
            </a: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 = 0 </a:t>
            </a: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sym typeface="Symbol" panose="05050102010706020507" pitchFamily="18" charset="2"/>
              </a:rPr>
              <a:t> vs. 180</a:t>
            </a: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rPr>
              <a:t> </a:t>
            </a:r>
            <a:r>
              <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sym typeface="Symbol" panose="05050102010706020507" pitchFamily="18" charset="2"/>
              </a:rPr>
              <a:t></a:t>
            </a:r>
            <a:endParaRPr kumimoji="0" lang="en-US" sz="1467" b="1" i="0" u="none" strike="noStrike" kern="0" cap="none" spc="0" normalizeH="0" baseline="0" noProof="0" dirty="0">
              <a:ln>
                <a:noFill/>
              </a:ln>
              <a:solidFill>
                <a:schemeClr val="dk1"/>
              </a:solidFill>
              <a:effectLst/>
              <a:highlight>
                <a:srgbClr val="E9E6E6"/>
              </a:highlight>
              <a:uLnTx/>
              <a:uFillTx/>
              <a:latin typeface="Arial" panose="020B0604020202020204" pitchFamily="34" charset="0"/>
              <a:ea typeface="Verdana" pitchFamily="34" charset="0"/>
              <a:cs typeface="Arial" panose="020B0604020202020204" pitchFamily="34" charset="0"/>
            </a:endParaRPr>
          </a:p>
        </p:txBody>
      </p:sp>
      <p:sp>
        <p:nvSpPr>
          <p:cNvPr id="25" name="TextBox 24">
            <a:extLst>
              <a:ext uri="{FF2B5EF4-FFF2-40B4-BE49-F238E27FC236}">
                <a16:creationId xmlns:a16="http://schemas.microsoft.com/office/drawing/2014/main" id="{44E3A185-4A58-6317-7BE6-BF4669D0C197}"/>
              </a:ext>
            </a:extLst>
          </p:cNvPr>
          <p:cNvSpPr txBox="1"/>
          <p:nvPr/>
        </p:nvSpPr>
        <p:spPr bwMode="auto">
          <a:xfrm>
            <a:off x="4299978" y="3779331"/>
            <a:ext cx="422553"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E</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rr</a:t>
            </a:r>
          </a:p>
        </p:txBody>
      </p:sp>
      <p:sp>
        <p:nvSpPr>
          <p:cNvPr id="26" name="TextBox 25">
            <a:extLst>
              <a:ext uri="{FF2B5EF4-FFF2-40B4-BE49-F238E27FC236}">
                <a16:creationId xmlns:a16="http://schemas.microsoft.com/office/drawing/2014/main" id="{B18B0632-A373-E904-89A9-D506E46187D2}"/>
              </a:ext>
            </a:extLst>
          </p:cNvPr>
          <p:cNvSpPr txBox="1"/>
          <p:nvPr/>
        </p:nvSpPr>
        <p:spPr bwMode="auto">
          <a:xfrm>
            <a:off x="2427770" y="2116232"/>
            <a:ext cx="2208245" cy="184666"/>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200"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Diode recovery voltage, V</a:t>
            </a:r>
            <a:r>
              <a:rPr kumimoji="0" lang="en-US" sz="1200"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F</a:t>
            </a:r>
          </a:p>
        </p:txBody>
      </p:sp>
      <p:sp>
        <p:nvSpPr>
          <p:cNvPr id="27" name="TextBox 26">
            <a:extLst>
              <a:ext uri="{FF2B5EF4-FFF2-40B4-BE49-F238E27FC236}">
                <a16:creationId xmlns:a16="http://schemas.microsoft.com/office/drawing/2014/main" id="{29FBF1C5-D56C-3E53-C344-BDDBF1B7FFCD}"/>
              </a:ext>
            </a:extLst>
          </p:cNvPr>
          <p:cNvSpPr txBox="1"/>
          <p:nvPr/>
        </p:nvSpPr>
        <p:spPr bwMode="auto">
          <a:xfrm rot="16727219">
            <a:off x="974342" y="2644246"/>
            <a:ext cx="805300" cy="184666"/>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200"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36 kV/us</a:t>
            </a:r>
          </a:p>
        </p:txBody>
      </p:sp>
      <p:sp>
        <p:nvSpPr>
          <p:cNvPr id="28" name="TextBox 27">
            <a:extLst>
              <a:ext uri="{FF2B5EF4-FFF2-40B4-BE49-F238E27FC236}">
                <a16:creationId xmlns:a16="http://schemas.microsoft.com/office/drawing/2014/main" id="{8D9CE639-6EC1-7AAB-AC23-49ABD7907FB8}"/>
              </a:ext>
            </a:extLst>
          </p:cNvPr>
          <p:cNvSpPr txBox="1"/>
          <p:nvPr/>
        </p:nvSpPr>
        <p:spPr bwMode="auto">
          <a:xfrm>
            <a:off x="801680" y="2116200"/>
            <a:ext cx="422553" cy="225767"/>
          </a:xfrm>
          <a:prstGeom prst="rect">
            <a:avLst/>
          </a:prstGeom>
          <a:noFill/>
          <a:ln w="9525">
            <a:noFill/>
            <a:miter lim="800000"/>
            <a:headEnd/>
            <a:tailEnd/>
          </a:ln>
          <a:effectLst/>
        </p:spPr>
        <p:txBody>
          <a:bodyPr wrap="square" lIns="0" tIns="0" rIns="0" bIns="0" rtlCol="0" anchor="ctr" anchorCtr="0">
            <a:spAutoFit/>
          </a:bodyPr>
          <a:lstStyle/>
          <a:p>
            <a:pPr marL="0" marR="0" lvl="0" indent="0" algn="l" defTabSz="1219170" rtl="0" eaLnBrk="0" fontAlgn="auto" latinLnBrk="0" hangingPunct="0">
              <a:lnSpc>
                <a:spcPct val="100000"/>
              </a:lnSpc>
              <a:spcBef>
                <a:spcPts val="0"/>
              </a:spcBef>
              <a:spcAft>
                <a:spcPts val="400"/>
              </a:spcAft>
              <a:buClr>
                <a:srgbClr val="E30034"/>
              </a:buClr>
              <a:buSzTx/>
              <a:buFontTx/>
              <a:buNone/>
              <a:tabLst/>
              <a:defRPr/>
            </a:pPr>
            <a:r>
              <a:rPr kumimoji="0" lang="en-US" sz="1467" b="1" i="0" u="none" strike="noStrike" kern="0" cap="none" spc="0" normalizeH="0" baseline="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I</a:t>
            </a:r>
            <a:r>
              <a:rPr kumimoji="0" lang="en-US" sz="1467" b="1" i="0" u="none" strike="noStrike" kern="0" cap="none" spc="0" normalizeH="0" baseline="-25000" noProof="0" dirty="0">
                <a:ln>
                  <a:noFill/>
                </a:ln>
                <a:solidFill>
                  <a:schemeClr val="dk1"/>
                </a:solidFill>
                <a:effectLst/>
                <a:uLnTx/>
                <a:uFillTx/>
                <a:latin typeface="Arial" panose="020B0604020202020204" pitchFamily="34" charset="0"/>
                <a:ea typeface="Verdana" pitchFamily="34" charset="0"/>
                <a:cs typeface="Arial" panose="020B0604020202020204" pitchFamily="34" charset="0"/>
              </a:rPr>
              <a:t>F</a:t>
            </a:r>
          </a:p>
        </p:txBody>
      </p:sp>
      <p:sp>
        <p:nvSpPr>
          <p:cNvPr id="29" name="TextBox 28">
            <a:extLst>
              <a:ext uri="{FF2B5EF4-FFF2-40B4-BE49-F238E27FC236}">
                <a16:creationId xmlns:a16="http://schemas.microsoft.com/office/drawing/2014/main" id="{4035F475-90A7-DF91-1FC4-65459E4A47C1}"/>
              </a:ext>
            </a:extLst>
          </p:cNvPr>
          <p:cNvSpPr txBox="1"/>
          <p:nvPr/>
        </p:nvSpPr>
        <p:spPr bwMode="auto">
          <a:xfrm>
            <a:off x="1959718" y="4069610"/>
            <a:ext cx="1399978" cy="593554"/>
          </a:xfrm>
          <a:prstGeom prst="rect">
            <a:avLst/>
          </a:prstGeom>
          <a:noFill/>
          <a:ln w="38100">
            <a:solidFill>
              <a:srgbClr val="92D050"/>
            </a:solidFill>
            <a:miter lim="800000"/>
            <a:headEnd/>
            <a:tailEnd/>
          </a:ln>
          <a:effectLst/>
        </p:spPr>
        <p:txBody>
          <a:bodyPr wrap="square" lIns="0" tIns="0" rIns="0" bIns="0" rtlCol="0" anchor="ctr" anchorCtr="0">
            <a:noAutofit/>
          </a:bodyPr>
          <a:lstStyle/>
          <a:p>
            <a:pPr marL="0" marR="0" lvl="0" indent="0" algn="ctr" defTabSz="576000" rtl="0" eaLnBrk="0" fontAlgn="auto" latinLnBrk="0" hangingPunct="0">
              <a:lnSpc>
                <a:spcPct val="100000"/>
              </a:lnSpc>
              <a:spcBef>
                <a:spcPts val="0"/>
              </a:spcBef>
              <a:spcAft>
                <a:spcPts val="0"/>
              </a:spcAft>
              <a:buClr>
                <a:srgbClr val="E30034"/>
              </a:buClr>
              <a:buSzTx/>
              <a:buFontTx/>
              <a:buNone/>
              <a:tabLst/>
              <a:defRPr/>
            </a:pPr>
            <a:r>
              <a:rPr kumimoji="0" lang="en-US" sz="1400" b="0" i="0" u="none" strike="noStrike" kern="0" cap="none" spc="0" normalizeH="0" baseline="0" noProof="0" dirty="0">
                <a:ln>
                  <a:noFill/>
                </a:ln>
                <a:solidFill>
                  <a:schemeClr val="dk1"/>
                </a:solidFill>
                <a:effectLst/>
                <a:uLnTx/>
                <a:uFillTx/>
                <a:latin typeface="Arial"/>
                <a:ea typeface="+mn-ea"/>
                <a:cs typeface="Arial"/>
              </a:rPr>
              <a:t>No change in Q</a:t>
            </a:r>
            <a:r>
              <a:rPr kumimoji="0" lang="en-US" sz="1400" b="0" i="0" u="none" strike="noStrike" kern="0" cap="none" spc="0" normalizeH="0" baseline="-25000" noProof="0" dirty="0">
                <a:ln>
                  <a:noFill/>
                </a:ln>
                <a:solidFill>
                  <a:schemeClr val="dk1"/>
                </a:solidFill>
                <a:effectLst/>
                <a:uLnTx/>
                <a:uFillTx/>
                <a:latin typeface="Arial"/>
                <a:ea typeface="+mn-ea"/>
                <a:cs typeface="Arial"/>
              </a:rPr>
              <a:t>RR</a:t>
            </a:r>
            <a:r>
              <a:rPr kumimoji="0" lang="en-US" sz="1400" b="0" i="0" u="none" strike="noStrike" kern="0" cap="none" spc="0" normalizeH="0" baseline="0" noProof="0" dirty="0">
                <a:ln>
                  <a:noFill/>
                </a:ln>
                <a:solidFill>
                  <a:schemeClr val="dk1"/>
                </a:solidFill>
                <a:effectLst/>
                <a:uLnTx/>
                <a:uFillTx/>
                <a:latin typeface="Arial"/>
                <a:ea typeface="+mn-ea"/>
                <a:cs typeface="Arial"/>
              </a:rPr>
              <a:t>/E</a:t>
            </a:r>
            <a:r>
              <a:rPr kumimoji="0" lang="en-US" sz="1400" b="0" i="0" u="none" strike="noStrike" kern="0" cap="none" spc="0" normalizeH="0" baseline="-25000" noProof="0" dirty="0">
                <a:ln>
                  <a:noFill/>
                </a:ln>
                <a:solidFill>
                  <a:schemeClr val="dk1"/>
                </a:solidFill>
                <a:effectLst/>
                <a:uLnTx/>
                <a:uFillTx/>
                <a:latin typeface="Arial"/>
                <a:ea typeface="+mn-ea"/>
                <a:cs typeface="Arial"/>
              </a:rPr>
              <a:t>RR</a:t>
            </a:r>
          </a:p>
        </p:txBody>
      </p:sp>
      <p:pic>
        <p:nvPicPr>
          <p:cNvPr id="31" name="Picture 30" descr="A green tick in a circle&#10;&#10;Description automatically generated">
            <a:extLst>
              <a:ext uri="{FF2B5EF4-FFF2-40B4-BE49-F238E27FC236}">
                <a16:creationId xmlns:a16="http://schemas.microsoft.com/office/drawing/2014/main" id="{A44C5727-DD49-D78E-57D4-4E3155BBA76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44518" y="4430239"/>
            <a:ext cx="1052736" cy="1052736"/>
          </a:xfrm>
          <a:prstGeom prst="rect">
            <a:avLst/>
          </a:prstGeom>
        </p:spPr>
      </p:pic>
      <p:sp>
        <p:nvSpPr>
          <p:cNvPr id="32" name="TextBox 31">
            <a:extLst>
              <a:ext uri="{FF2B5EF4-FFF2-40B4-BE49-F238E27FC236}">
                <a16:creationId xmlns:a16="http://schemas.microsoft.com/office/drawing/2014/main" id="{96347DA3-3F7F-B01E-FD93-9FA9791E0328}"/>
              </a:ext>
            </a:extLst>
          </p:cNvPr>
          <p:cNvSpPr txBox="1"/>
          <p:nvPr/>
        </p:nvSpPr>
        <p:spPr bwMode="auto">
          <a:xfrm>
            <a:off x="10005974" y="3657298"/>
            <a:ext cx="1485869" cy="593554"/>
          </a:xfrm>
          <a:prstGeom prst="rect">
            <a:avLst/>
          </a:prstGeom>
          <a:noFill/>
          <a:ln w="38100">
            <a:solidFill>
              <a:srgbClr val="FF0000"/>
            </a:solidFill>
            <a:miter lim="800000"/>
            <a:headEnd/>
            <a:tailEnd/>
          </a:ln>
          <a:effectLst/>
        </p:spPr>
        <p:txBody>
          <a:bodyPr wrap="square" lIns="0" tIns="0" rIns="0" bIns="0" rtlCol="0" anchor="ctr" anchorCtr="0">
            <a:noAutofit/>
          </a:bodyPr>
          <a:lstStyle/>
          <a:p>
            <a:pPr marL="0" marR="0" lvl="0" indent="0" algn="ctr" defTabSz="576000" rtl="0" eaLnBrk="0" fontAlgn="auto" latinLnBrk="0" hangingPunct="0">
              <a:lnSpc>
                <a:spcPct val="100000"/>
              </a:lnSpc>
              <a:spcBef>
                <a:spcPts val="0"/>
              </a:spcBef>
              <a:spcAft>
                <a:spcPts val="0"/>
              </a:spcAft>
              <a:buClr>
                <a:srgbClr val="E30034"/>
              </a:buClr>
              <a:buSzTx/>
              <a:buFontTx/>
              <a:buNone/>
              <a:tabLst/>
              <a:defRPr/>
            </a:pPr>
            <a:r>
              <a:rPr kumimoji="0" lang="en-US" sz="1400" b="0" i="0" u="none" strike="noStrike" kern="0" cap="none" spc="0" normalizeH="0" baseline="0" noProof="0" dirty="0">
                <a:ln>
                  <a:noFill/>
                </a:ln>
                <a:solidFill>
                  <a:schemeClr val="dk1"/>
                </a:solidFill>
                <a:effectLst/>
                <a:uLnTx/>
                <a:uFillTx/>
                <a:latin typeface="Arial"/>
                <a:ea typeface="+mn-ea"/>
                <a:cs typeface="Arial"/>
              </a:rPr>
              <a:t>Clear change in Q</a:t>
            </a:r>
            <a:r>
              <a:rPr kumimoji="0" lang="en-US" sz="1400" b="0" i="0" u="none" strike="noStrike" kern="0" cap="none" spc="0" normalizeH="0" baseline="-25000" noProof="0" dirty="0">
                <a:ln>
                  <a:noFill/>
                </a:ln>
                <a:solidFill>
                  <a:schemeClr val="dk1"/>
                </a:solidFill>
                <a:effectLst/>
                <a:uLnTx/>
                <a:uFillTx/>
                <a:latin typeface="Arial"/>
                <a:ea typeface="+mn-ea"/>
                <a:cs typeface="Arial"/>
              </a:rPr>
              <a:t>RR</a:t>
            </a:r>
            <a:r>
              <a:rPr kumimoji="0" lang="en-US" sz="1400" b="0" i="0" u="none" strike="noStrike" kern="0" cap="none" spc="0" normalizeH="0" baseline="0" noProof="0" dirty="0">
                <a:ln>
                  <a:noFill/>
                </a:ln>
                <a:solidFill>
                  <a:schemeClr val="dk1"/>
                </a:solidFill>
                <a:effectLst/>
                <a:uLnTx/>
                <a:uFillTx/>
                <a:latin typeface="Arial"/>
                <a:ea typeface="+mn-ea"/>
                <a:cs typeface="Arial"/>
              </a:rPr>
              <a:t>/E</a:t>
            </a:r>
            <a:r>
              <a:rPr kumimoji="0" lang="en-US" sz="1400" b="0" i="0" u="none" strike="noStrike" kern="0" cap="none" spc="0" normalizeH="0" baseline="-25000" noProof="0" dirty="0">
                <a:ln>
                  <a:noFill/>
                </a:ln>
                <a:solidFill>
                  <a:schemeClr val="dk1"/>
                </a:solidFill>
                <a:effectLst/>
                <a:uLnTx/>
                <a:uFillTx/>
                <a:latin typeface="Arial"/>
                <a:ea typeface="+mn-ea"/>
                <a:cs typeface="Arial"/>
              </a:rPr>
              <a:t>RR</a:t>
            </a:r>
          </a:p>
        </p:txBody>
      </p:sp>
      <p:pic>
        <p:nvPicPr>
          <p:cNvPr id="34" name="Graphic 33" descr="Warning outline">
            <a:extLst>
              <a:ext uri="{FF2B5EF4-FFF2-40B4-BE49-F238E27FC236}">
                <a16:creationId xmlns:a16="http://schemas.microsoft.com/office/drawing/2014/main" id="{7ECC0CAA-3F84-0806-21E1-3E8CD48316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6830" y="2635486"/>
            <a:ext cx="428971" cy="428971"/>
          </a:xfrm>
          <a:prstGeom prst="rect">
            <a:avLst/>
          </a:prstGeom>
        </p:spPr>
      </p:pic>
      <p:sp>
        <p:nvSpPr>
          <p:cNvPr id="49" name="Rectangle 48">
            <a:extLst>
              <a:ext uri="{FF2B5EF4-FFF2-40B4-BE49-F238E27FC236}">
                <a16:creationId xmlns:a16="http://schemas.microsoft.com/office/drawing/2014/main" id="{B0D16709-81E1-A3B9-4A3F-23D04242A95F}"/>
              </a:ext>
            </a:extLst>
          </p:cNvPr>
          <p:cNvSpPr/>
          <p:nvPr/>
        </p:nvSpPr>
        <p:spPr bwMode="auto">
          <a:xfrm>
            <a:off x="9480376" y="1222541"/>
            <a:ext cx="711883" cy="256052"/>
          </a:xfrm>
          <a:prstGeom prst="rect">
            <a:avLst/>
          </a:prstGeom>
          <a:noFill/>
          <a:ln w="12700">
            <a:solidFill>
              <a:schemeClr val="tx1">
                <a:lumMod val="95000"/>
                <a:lumOff val="5000"/>
              </a:schemeClr>
            </a:solidFill>
            <a:miter lim="800000"/>
            <a:headEnd/>
            <a:tailEnd/>
          </a:ln>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chemeClr val="dk1"/>
                </a:solidFill>
                <a:effectLst/>
                <a:uLnTx/>
                <a:uFillTx/>
                <a:latin typeface="Arial"/>
                <a:ea typeface="+mn-ea"/>
                <a:cs typeface="Arial"/>
              </a:rPr>
              <a:t>RG</a:t>
            </a:r>
            <a:r>
              <a:rPr kumimoji="0" lang="en-US" sz="900" b="0" i="0" u="none" strike="noStrike" kern="1200" cap="none" spc="0" normalizeH="0" baseline="-25000" noProof="0" dirty="0">
                <a:ln>
                  <a:noFill/>
                </a:ln>
                <a:solidFill>
                  <a:schemeClr val="dk1"/>
                </a:solidFill>
                <a:effectLst/>
                <a:uLnTx/>
                <a:uFillTx/>
                <a:latin typeface="Arial"/>
                <a:ea typeface="+mn-ea"/>
                <a:cs typeface="Arial"/>
              </a:rPr>
              <a:t>_OFF HS</a:t>
            </a:r>
          </a:p>
        </p:txBody>
      </p:sp>
      <p:grpSp>
        <p:nvGrpSpPr>
          <p:cNvPr id="53" name="Group 52">
            <a:extLst>
              <a:ext uri="{FF2B5EF4-FFF2-40B4-BE49-F238E27FC236}">
                <a16:creationId xmlns:a16="http://schemas.microsoft.com/office/drawing/2014/main" id="{F4FE6DA8-CB0B-97E1-F608-989470A3C866}"/>
              </a:ext>
            </a:extLst>
          </p:cNvPr>
          <p:cNvGrpSpPr/>
          <p:nvPr/>
        </p:nvGrpSpPr>
        <p:grpSpPr>
          <a:xfrm>
            <a:off x="9742653" y="1857269"/>
            <a:ext cx="432048" cy="411566"/>
            <a:chOff x="8600191" y="2109858"/>
            <a:chExt cx="432048" cy="411566"/>
          </a:xfrm>
        </p:grpSpPr>
        <p:sp>
          <p:nvSpPr>
            <p:cNvPr id="52" name="Oval 51">
              <a:extLst>
                <a:ext uri="{FF2B5EF4-FFF2-40B4-BE49-F238E27FC236}">
                  <a16:creationId xmlns:a16="http://schemas.microsoft.com/office/drawing/2014/main" id="{76078CDC-4012-1C5F-D449-FF41F6DFF6EB}"/>
                </a:ext>
              </a:extLst>
            </p:cNvPr>
            <p:cNvSpPr/>
            <p:nvPr/>
          </p:nvSpPr>
          <p:spPr bwMode="auto">
            <a:xfrm>
              <a:off x="8600191" y="2109858"/>
              <a:ext cx="432048" cy="411566"/>
            </a:xfrm>
            <a:prstGeom prst="ellipse">
              <a:avLst/>
            </a:prstGeom>
            <a:solidFill>
              <a:schemeClr val="accent3">
                <a:lumMod val="60000"/>
                <a:lumOff val="40000"/>
              </a:schemeClr>
            </a:solidFill>
            <a:ln w="9525">
              <a:solidFill>
                <a:schemeClr val="tx1"/>
              </a:solidFill>
              <a:miter lim="800000"/>
              <a:headEnd/>
              <a:tailEnd/>
            </a:ln>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51" name="Group 50">
              <a:extLst>
                <a:ext uri="{FF2B5EF4-FFF2-40B4-BE49-F238E27FC236}">
                  <a16:creationId xmlns:a16="http://schemas.microsoft.com/office/drawing/2014/main" id="{25148122-F5C2-699E-9828-556B6A6A69C5}"/>
                </a:ext>
              </a:extLst>
            </p:cNvPr>
            <p:cNvGrpSpPr/>
            <p:nvPr/>
          </p:nvGrpSpPr>
          <p:grpSpPr>
            <a:xfrm>
              <a:off x="8685648" y="2229083"/>
              <a:ext cx="259656" cy="152400"/>
              <a:chOff x="9251016" y="2107816"/>
              <a:chExt cx="285621" cy="152400"/>
            </a:xfrm>
          </p:grpSpPr>
          <p:cxnSp>
            <p:nvCxnSpPr>
              <p:cNvPr id="40" name="Straight Connector 39">
                <a:extLst>
                  <a:ext uri="{FF2B5EF4-FFF2-40B4-BE49-F238E27FC236}">
                    <a16:creationId xmlns:a16="http://schemas.microsoft.com/office/drawing/2014/main" id="{BDE527F2-EAB0-B1D3-ADA3-D86AF36EE5E4}"/>
                  </a:ext>
                </a:extLst>
              </p:cNvPr>
              <p:cNvCxnSpPr>
                <a:cxnSpLocks/>
              </p:cNvCxnSpPr>
              <p:nvPr/>
            </p:nvCxnSpPr>
            <p:spPr>
              <a:xfrm>
                <a:off x="9251016" y="2251832"/>
                <a:ext cx="77068"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1E92006-C313-8A16-B05C-ED6491DC8ECC}"/>
                  </a:ext>
                </a:extLst>
              </p:cNvPr>
              <p:cNvCxnSpPr>
                <a:cxnSpLocks/>
              </p:cNvCxnSpPr>
              <p:nvPr/>
            </p:nvCxnSpPr>
            <p:spPr>
              <a:xfrm flipV="1">
                <a:off x="9323322" y="2107816"/>
                <a:ext cx="0" cy="144016"/>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E140159-5BFC-3CEC-5F57-E47A84A4CBE4}"/>
                  </a:ext>
                </a:extLst>
              </p:cNvPr>
              <p:cNvCxnSpPr>
                <a:cxnSpLocks/>
              </p:cNvCxnSpPr>
              <p:nvPr/>
            </p:nvCxnSpPr>
            <p:spPr>
              <a:xfrm flipV="1">
                <a:off x="9464629" y="2116200"/>
                <a:ext cx="0" cy="144016"/>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3BFC25A-B404-9528-545D-AF19632F8766}"/>
                  </a:ext>
                </a:extLst>
              </p:cNvPr>
              <p:cNvCxnSpPr>
                <a:cxnSpLocks/>
              </p:cNvCxnSpPr>
              <p:nvPr/>
            </p:nvCxnSpPr>
            <p:spPr>
              <a:xfrm>
                <a:off x="9464629" y="2251832"/>
                <a:ext cx="72008"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57CC4BA-A41A-BBB8-64D3-0D86D57644CB}"/>
                  </a:ext>
                </a:extLst>
              </p:cNvPr>
              <p:cNvCxnSpPr>
                <a:cxnSpLocks/>
              </p:cNvCxnSpPr>
              <p:nvPr/>
            </p:nvCxnSpPr>
            <p:spPr>
              <a:xfrm>
                <a:off x="9318531" y="2119022"/>
                <a:ext cx="1524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38682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Man with tablet in smart industry environment">
            <a:extLst>
              <a:ext uri="{FF2B5EF4-FFF2-40B4-BE49-F238E27FC236}">
                <a16:creationId xmlns:a16="http://schemas.microsoft.com/office/drawing/2014/main" id="{1EAF119B-98CB-33C8-6783-F3AF4A8B4F03}"/>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6784" t="333" r="6784" b="-72"/>
          <a:stretch/>
        </p:blipFill>
        <p:spPr>
          <a:xfrm>
            <a:off x="3935760" y="1502673"/>
            <a:ext cx="8256240" cy="5359201"/>
          </a:xfrm>
          <a:prstGeom prst="rect">
            <a:avLst/>
          </a:prstGeom>
        </p:spPr>
      </p:pic>
      <p:sp>
        <p:nvSpPr>
          <p:cNvPr id="12" name="Pentagon 4">
            <a:extLst>
              <a:ext uri="{FF2B5EF4-FFF2-40B4-BE49-F238E27FC236}">
                <a16:creationId xmlns:a16="http://schemas.microsoft.com/office/drawing/2014/main" id="{08A28A8B-FF08-09F5-EDBD-595B20E7771E}"/>
              </a:ext>
            </a:extLst>
          </p:cNvPr>
          <p:cNvSpPr/>
          <p:nvPr/>
        </p:nvSpPr>
        <p:spPr bwMode="auto">
          <a:xfrm>
            <a:off x="0" y="1502674"/>
            <a:ext cx="5154992" cy="5355327"/>
          </a:xfrm>
          <a:custGeom>
            <a:avLst/>
            <a:gdLst>
              <a:gd name="connsiteX0" fmla="*/ 0 w 9484522"/>
              <a:gd name="connsiteY0" fmla="*/ 0 h 5111404"/>
              <a:gd name="connsiteX1" fmla="*/ 6928820 w 9484522"/>
              <a:gd name="connsiteY1" fmla="*/ 0 h 5111404"/>
              <a:gd name="connsiteX2" fmla="*/ 9484522 w 9484522"/>
              <a:gd name="connsiteY2" fmla="*/ 2555702 h 5111404"/>
              <a:gd name="connsiteX3" fmla="*/ 6928820 w 9484522"/>
              <a:gd name="connsiteY3" fmla="*/ 5111404 h 5111404"/>
              <a:gd name="connsiteX4" fmla="*/ 0 w 9484522"/>
              <a:gd name="connsiteY4" fmla="*/ 5111404 h 5111404"/>
              <a:gd name="connsiteX5" fmla="*/ 0 w 9484522"/>
              <a:gd name="connsiteY5" fmla="*/ 0 h 5111404"/>
              <a:gd name="connsiteX0" fmla="*/ 0 w 8220166"/>
              <a:gd name="connsiteY0" fmla="*/ 0 h 5111404"/>
              <a:gd name="connsiteX1" fmla="*/ 6928820 w 8220166"/>
              <a:gd name="connsiteY1" fmla="*/ 0 h 5111404"/>
              <a:gd name="connsiteX2" fmla="*/ 8220166 w 8220166"/>
              <a:gd name="connsiteY2" fmla="*/ 1765480 h 5111404"/>
              <a:gd name="connsiteX3" fmla="*/ 6928820 w 8220166"/>
              <a:gd name="connsiteY3" fmla="*/ 5111404 h 5111404"/>
              <a:gd name="connsiteX4" fmla="*/ 0 w 8220166"/>
              <a:gd name="connsiteY4" fmla="*/ 5111404 h 5111404"/>
              <a:gd name="connsiteX5" fmla="*/ 0 w 8220166"/>
              <a:gd name="connsiteY5" fmla="*/ 0 h 5111404"/>
              <a:gd name="connsiteX0" fmla="*/ 0 w 8605867"/>
              <a:gd name="connsiteY0" fmla="*/ 0 h 5111404"/>
              <a:gd name="connsiteX1" fmla="*/ 6928820 w 8605867"/>
              <a:gd name="connsiteY1" fmla="*/ 0 h 5111404"/>
              <a:gd name="connsiteX2" fmla="*/ 8605867 w 8605867"/>
              <a:gd name="connsiteY2" fmla="*/ 1745867 h 5111404"/>
              <a:gd name="connsiteX3" fmla="*/ 6928820 w 8605867"/>
              <a:gd name="connsiteY3" fmla="*/ 5111404 h 5111404"/>
              <a:gd name="connsiteX4" fmla="*/ 0 w 8605867"/>
              <a:gd name="connsiteY4" fmla="*/ 5111404 h 5111404"/>
              <a:gd name="connsiteX5" fmla="*/ 0 w 8605867"/>
              <a:gd name="connsiteY5" fmla="*/ 0 h 5111404"/>
              <a:gd name="connsiteX0" fmla="*/ 0 w 8605867"/>
              <a:gd name="connsiteY0" fmla="*/ 0 h 5131017"/>
              <a:gd name="connsiteX1" fmla="*/ 6928820 w 8605867"/>
              <a:gd name="connsiteY1" fmla="*/ 0 h 5131017"/>
              <a:gd name="connsiteX2" fmla="*/ 8605867 w 8605867"/>
              <a:gd name="connsiteY2" fmla="*/ 1745867 h 5131017"/>
              <a:gd name="connsiteX3" fmla="*/ 6446693 w 8605867"/>
              <a:gd name="connsiteY3" fmla="*/ 5131017 h 5131017"/>
              <a:gd name="connsiteX4" fmla="*/ 0 w 8605867"/>
              <a:gd name="connsiteY4" fmla="*/ 5111404 h 5131017"/>
              <a:gd name="connsiteX5" fmla="*/ 0 w 8605867"/>
              <a:gd name="connsiteY5" fmla="*/ 0 h 5131017"/>
              <a:gd name="connsiteX0" fmla="*/ 0 w 8686222"/>
              <a:gd name="connsiteY0" fmla="*/ 0 h 5131017"/>
              <a:gd name="connsiteX1" fmla="*/ 6928820 w 8686222"/>
              <a:gd name="connsiteY1" fmla="*/ 0 h 5131017"/>
              <a:gd name="connsiteX2" fmla="*/ 8686222 w 8686222"/>
              <a:gd name="connsiteY2" fmla="*/ 1677224 h 5131017"/>
              <a:gd name="connsiteX3" fmla="*/ 6446693 w 8686222"/>
              <a:gd name="connsiteY3" fmla="*/ 5131017 h 5131017"/>
              <a:gd name="connsiteX4" fmla="*/ 0 w 8686222"/>
              <a:gd name="connsiteY4" fmla="*/ 5111404 h 5131017"/>
              <a:gd name="connsiteX5" fmla="*/ 0 w 8686222"/>
              <a:gd name="connsiteY5" fmla="*/ 0 h 5131017"/>
              <a:gd name="connsiteX0" fmla="*/ 0 w 8686222"/>
              <a:gd name="connsiteY0" fmla="*/ 0 h 5111404"/>
              <a:gd name="connsiteX1" fmla="*/ 6928820 w 8686222"/>
              <a:gd name="connsiteY1" fmla="*/ 0 h 5111404"/>
              <a:gd name="connsiteX2" fmla="*/ 8686222 w 8686222"/>
              <a:gd name="connsiteY2" fmla="*/ 1677224 h 5111404"/>
              <a:gd name="connsiteX3" fmla="*/ 6768111 w 8686222"/>
              <a:gd name="connsiteY3" fmla="*/ 5111404 h 5111404"/>
              <a:gd name="connsiteX4" fmla="*/ 0 w 8686222"/>
              <a:gd name="connsiteY4" fmla="*/ 5111404 h 5111404"/>
              <a:gd name="connsiteX5" fmla="*/ 0 w 8686222"/>
              <a:gd name="connsiteY5" fmla="*/ 0 h 5111404"/>
              <a:gd name="connsiteX0" fmla="*/ 0 w 8766577"/>
              <a:gd name="connsiteY0" fmla="*/ 0 h 5111404"/>
              <a:gd name="connsiteX1" fmla="*/ 6928820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8766577"/>
              <a:gd name="connsiteY0" fmla="*/ 0 h 5111404"/>
              <a:gd name="connsiteX1" fmla="*/ 7153813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7153813"/>
              <a:gd name="connsiteY0" fmla="*/ 0 h 5111404"/>
              <a:gd name="connsiteX1" fmla="*/ 7153813 w 7153813"/>
              <a:gd name="connsiteY1" fmla="*/ 0 h 5111404"/>
              <a:gd name="connsiteX2" fmla="*/ 4952408 w 7153813"/>
              <a:gd name="connsiteY2" fmla="*/ 3237608 h 5111404"/>
              <a:gd name="connsiteX3" fmla="*/ 6768111 w 7153813"/>
              <a:gd name="connsiteY3" fmla="*/ 5111404 h 5111404"/>
              <a:gd name="connsiteX4" fmla="*/ 0 w 7153813"/>
              <a:gd name="connsiteY4" fmla="*/ 5111404 h 5111404"/>
              <a:gd name="connsiteX5" fmla="*/ 0 w 7153813"/>
              <a:gd name="connsiteY5" fmla="*/ 0 h 5111404"/>
              <a:gd name="connsiteX0" fmla="*/ 0 w 7153813"/>
              <a:gd name="connsiteY0" fmla="*/ 0 h 5111404"/>
              <a:gd name="connsiteX1" fmla="*/ 7153813 w 7153813"/>
              <a:gd name="connsiteY1" fmla="*/ 0 h 5111404"/>
              <a:gd name="connsiteX2" fmla="*/ 5775513 w 7153813"/>
              <a:gd name="connsiteY2" fmla="*/ 3245842 h 5111404"/>
              <a:gd name="connsiteX3" fmla="*/ 6768111 w 7153813"/>
              <a:gd name="connsiteY3" fmla="*/ 5111404 h 5111404"/>
              <a:gd name="connsiteX4" fmla="*/ 0 w 7153813"/>
              <a:gd name="connsiteY4" fmla="*/ 5111404 h 5111404"/>
              <a:gd name="connsiteX5" fmla="*/ 0 w 7153813"/>
              <a:gd name="connsiteY5" fmla="*/ 0 h 5111404"/>
              <a:gd name="connsiteX0" fmla="*/ 0 w 8063489"/>
              <a:gd name="connsiteY0" fmla="*/ 0 h 5111404"/>
              <a:gd name="connsiteX1" fmla="*/ 715381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6261280 w 8063489"/>
              <a:gd name="connsiteY2" fmla="*/ 3583415 h 5111404"/>
              <a:gd name="connsiteX3" fmla="*/ 8063489 w 8063489"/>
              <a:gd name="connsiteY3" fmla="*/ 5111404 h 5111404"/>
              <a:gd name="connsiteX4" fmla="*/ 0 w 8063489"/>
              <a:gd name="connsiteY4" fmla="*/ 5111404 h 5111404"/>
              <a:gd name="connsiteX5" fmla="*/ 0 w 8063489"/>
              <a:gd name="connsiteY5" fmla="*/ 0 h 511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3489" h="5111404">
                <a:moveTo>
                  <a:pt x="0" y="0"/>
                </a:moveTo>
                <a:lnTo>
                  <a:pt x="7693553" y="0"/>
                </a:lnTo>
                <a:lnTo>
                  <a:pt x="6261280" y="3583415"/>
                </a:lnTo>
                <a:lnTo>
                  <a:pt x="8063489" y="5111404"/>
                </a:lnTo>
                <a:lnTo>
                  <a:pt x="0" y="5111404"/>
                </a:lnTo>
                <a:lnTo>
                  <a:pt x="0" y="0"/>
                </a:lnTo>
                <a:close/>
              </a:path>
            </a:pathLst>
          </a:custGeom>
          <a:solidFill>
            <a:schemeClr val="tx2"/>
          </a:solidFill>
          <a:ln w="9525">
            <a:noFill/>
            <a:miter lim="800000"/>
            <a:headEnd/>
            <a:tailEnd/>
          </a:ln>
        </p:spPr>
        <p:txBody>
          <a:bodyPr wrap="square" lIns="72000" tIns="72000" rIns="72000" bIns="72000" rtlCol="0" anchor="ctr"/>
          <a:lstStyle/>
          <a:p>
            <a:pPr algn="ctr" defTabSz="575986" eaLnBrk="0" hangingPunct="0">
              <a:lnSpc>
                <a:spcPct val="120000"/>
              </a:lnSpc>
            </a:pPr>
            <a:endParaRPr lang="en-US" sz="1600" dirty="0">
              <a:solidFill>
                <a:srgbClr val="FFFFFF"/>
              </a:solidFill>
              <a:latin typeface="Arial"/>
              <a:ea typeface="Arial Unicode MS"/>
              <a:cs typeface="Arial"/>
            </a:endParaRPr>
          </a:p>
        </p:txBody>
      </p:sp>
      <p:sp>
        <p:nvSpPr>
          <p:cNvPr id="64" name="Title 63"/>
          <p:cNvSpPr>
            <a:spLocks noGrp="1"/>
          </p:cNvSpPr>
          <p:nvPr>
            <p:ph type="title"/>
          </p:nvPr>
        </p:nvSpPr>
        <p:spPr/>
        <p:txBody>
          <a:bodyPr/>
          <a:lstStyle/>
          <a:p>
            <a:br>
              <a:rPr lang="en-US" dirty="0"/>
            </a:br>
            <a:r>
              <a:rPr lang="en-US" dirty="0"/>
              <a:t>Power density – „Space minimization“</a:t>
            </a:r>
          </a:p>
        </p:txBody>
      </p:sp>
      <p:grpSp>
        <p:nvGrpSpPr>
          <p:cNvPr id="6" name="Group 5">
            <a:extLst>
              <a:ext uri="{FF2B5EF4-FFF2-40B4-BE49-F238E27FC236}">
                <a16:creationId xmlns:a16="http://schemas.microsoft.com/office/drawing/2014/main" id="{6C7B468D-EBD8-A658-E707-6DB979636CDB}"/>
              </a:ext>
            </a:extLst>
          </p:cNvPr>
          <p:cNvGrpSpPr/>
          <p:nvPr/>
        </p:nvGrpSpPr>
        <p:grpSpPr>
          <a:xfrm>
            <a:off x="5110294" y="1973179"/>
            <a:ext cx="1495248" cy="1495248"/>
            <a:chOff x="4974455" y="2704594"/>
            <a:chExt cx="2240977" cy="2240977"/>
          </a:xfrm>
        </p:grpSpPr>
        <p:sp>
          <p:nvSpPr>
            <p:cNvPr id="8" name="Flowchart: Connector 7">
              <a:extLst>
                <a:ext uri="{FF2B5EF4-FFF2-40B4-BE49-F238E27FC236}">
                  <a16:creationId xmlns:a16="http://schemas.microsoft.com/office/drawing/2014/main" id="{63D04921-A8E7-B8A7-AB90-EAAAD68D229C}"/>
                </a:ext>
              </a:extLst>
            </p:cNvPr>
            <p:cNvSpPr/>
            <p:nvPr/>
          </p:nvSpPr>
          <p:spPr bwMode="auto">
            <a:xfrm>
              <a:off x="5055119" y="2780966"/>
              <a:ext cx="2088232" cy="2088232"/>
            </a:xfrm>
            <a:prstGeom prst="flowChartConnector">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9" name="Picture 8">
              <a:extLst>
                <a:ext uri="{FF2B5EF4-FFF2-40B4-BE49-F238E27FC236}">
                  <a16:creationId xmlns:a16="http://schemas.microsoft.com/office/drawing/2014/main" id="{7C98D7B2-9988-59E3-DFAE-B9F3E9EB5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4455" y="2704594"/>
              <a:ext cx="2240977" cy="2240977"/>
            </a:xfrm>
            <a:prstGeom prst="rect">
              <a:avLst/>
            </a:prstGeom>
          </p:spPr>
        </p:pic>
      </p:grpSp>
    </p:spTree>
    <p:extLst>
      <p:ext uri="{BB962C8B-B14F-4D97-AF65-F5344CB8AC3E}">
        <p14:creationId xmlns:p14="http://schemas.microsoft.com/office/powerpoint/2010/main" val="41099637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6C2B18-7342-44D8-8ACD-AD4B5DE81D40}"/>
              </a:ext>
            </a:extLst>
          </p:cNvPr>
          <p:cNvSpPr>
            <a:spLocks noGrp="1"/>
          </p:cNvSpPr>
          <p:nvPr>
            <p:ph type="title"/>
          </p:nvPr>
        </p:nvSpPr>
        <p:spPr/>
        <p:txBody>
          <a:bodyPr/>
          <a:lstStyle/>
          <a:p>
            <a:r>
              <a:rPr lang="en-US" dirty="0"/>
              <a:t>Trends and challenges in paralleling</a:t>
            </a:r>
          </a:p>
        </p:txBody>
      </p:sp>
      <p:pic>
        <p:nvPicPr>
          <p:cNvPr id="8" name="Picture 7" descr="A question mark in a circle&#10;&#10;Description automatically generated">
            <a:extLst>
              <a:ext uri="{FF2B5EF4-FFF2-40B4-BE49-F238E27FC236}">
                <a16:creationId xmlns:a16="http://schemas.microsoft.com/office/drawing/2014/main" id="{B9378128-195F-42D4-BD67-A98362FB7A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951" y="3221614"/>
            <a:ext cx="814842" cy="814842"/>
          </a:xfrm>
          <a:prstGeom prst="rect">
            <a:avLst/>
          </a:prstGeom>
        </p:spPr>
      </p:pic>
      <p:sp>
        <p:nvSpPr>
          <p:cNvPr id="9" name="TextBox 8">
            <a:extLst>
              <a:ext uri="{FF2B5EF4-FFF2-40B4-BE49-F238E27FC236}">
                <a16:creationId xmlns:a16="http://schemas.microsoft.com/office/drawing/2014/main" id="{BAB83218-1DA1-40AE-B59F-66BF19D1607C}"/>
              </a:ext>
            </a:extLst>
          </p:cNvPr>
          <p:cNvSpPr txBox="1"/>
          <p:nvPr/>
        </p:nvSpPr>
        <p:spPr bwMode="auto">
          <a:xfrm>
            <a:off x="1415480" y="1285396"/>
            <a:ext cx="2090316" cy="301878"/>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800" b="1" i="0" u="none" strike="noStrike" kern="0" cap="none" spc="0" normalizeH="0" baseline="0" noProof="0" dirty="0">
                <a:ln>
                  <a:noFill/>
                </a:ln>
                <a:solidFill>
                  <a:srgbClr val="1D1D1D"/>
                </a:solidFill>
                <a:effectLst/>
                <a:uLnTx/>
                <a:uFillTx/>
                <a:latin typeface="Arial"/>
                <a:ea typeface="+mn-ea"/>
                <a:cs typeface="Arial"/>
              </a:rPr>
              <a:t>Why its important?</a:t>
            </a:r>
          </a:p>
        </p:txBody>
      </p:sp>
      <p:sp>
        <p:nvSpPr>
          <p:cNvPr id="10" name="TextBox 9">
            <a:extLst>
              <a:ext uri="{FF2B5EF4-FFF2-40B4-BE49-F238E27FC236}">
                <a16:creationId xmlns:a16="http://schemas.microsoft.com/office/drawing/2014/main" id="{F6877187-6950-4DFA-84AB-ABA92EC105C1}"/>
              </a:ext>
            </a:extLst>
          </p:cNvPr>
          <p:cNvSpPr txBox="1"/>
          <p:nvPr/>
        </p:nvSpPr>
        <p:spPr bwMode="auto">
          <a:xfrm>
            <a:off x="2086038" y="1704312"/>
            <a:ext cx="3263045" cy="1299074"/>
          </a:xfrm>
          <a:prstGeom prst="rect">
            <a:avLst/>
          </a:prstGeom>
          <a:noFill/>
          <a:ln w="9525">
            <a:noFill/>
            <a:miter lim="800000"/>
            <a:headEnd/>
            <a:tailEnd/>
          </a:ln>
          <a:effectLst/>
        </p:spPr>
        <p:txBody>
          <a:bodyPr wrap="square" lIns="0" tIns="0" rIns="0" bIns="0" rtlCol="0" anchor="t" anchorCtr="0">
            <a:spAutoFit/>
          </a:bodyPr>
          <a:lstStyle/>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ea typeface="+mn-ea"/>
                <a:cs typeface="Arial"/>
              </a:rPr>
              <a:t>Increasing power density</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cs typeface="Arial"/>
              </a:rPr>
              <a:t>Increasing output power</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cs typeface="Arial"/>
              </a:rPr>
              <a:t>Reducing the risk</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1D1D1D"/>
              </a:solidFill>
              <a:effectLst/>
              <a:uLnTx/>
              <a:uFillTx/>
              <a:latin typeface="Arial"/>
              <a:ea typeface="+mn-ea"/>
              <a:cs typeface="Arial"/>
            </a:endParaRPr>
          </a:p>
        </p:txBody>
      </p:sp>
      <p:sp>
        <p:nvSpPr>
          <p:cNvPr id="13" name="TextBox 12">
            <a:extLst>
              <a:ext uri="{FF2B5EF4-FFF2-40B4-BE49-F238E27FC236}">
                <a16:creationId xmlns:a16="http://schemas.microsoft.com/office/drawing/2014/main" id="{6DABA22C-140A-40A7-A712-575BED828459}"/>
              </a:ext>
            </a:extLst>
          </p:cNvPr>
          <p:cNvSpPr txBox="1"/>
          <p:nvPr/>
        </p:nvSpPr>
        <p:spPr bwMode="auto">
          <a:xfrm>
            <a:off x="1415480" y="3030888"/>
            <a:ext cx="2782813" cy="301878"/>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800" b="1" i="0" u="none" strike="noStrike" kern="0" cap="none" spc="0" normalizeH="0" baseline="0" noProof="0" dirty="0">
                <a:ln>
                  <a:noFill/>
                </a:ln>
                <a:solidFill>
                  <a:srgbClr val="1D1D1D"/>
                </a:solidFill>
                <a:effectLst/>
                <a:uLnTx/>
                <a:uFillTx/>
                <a:latin typeface="Arial"/>
                <a:ea typeface="+mn-ea"/>
                <a:cs typeface="Arial"/>
              </a:rPr>
              <a:t>What are the challenges?</a:t>
            </a:r>
          </a:p>
        </p:txBody>
      </p:sp>
      <p:sp>
        <p:nvSpPr>
          <p:cNvPr id="14" name="TextBox 13">
            <a:extLst>
              <a:ext uri="{FF2B5EF4-FFF2-40B4-BE49-F238E27FC236}">
                <a16:creationId xmlns:a16="http://schemas.microsoft.com/office/drawing/2014/main" id="{F9508B7F-3DCD-4F67-8690-182A89154756}"/>
              </a:ext>
            </a:extLst>
          </p:cNvPr>
          <p:cNvSpPr txBox="1"/>
          <p:nvPr/>
        </p:nvSpPr>
        <p:spPr bwMode="auto">
          <a:xfrm>
            <a:off x="2086038" y="3449804"/>
            <a:ext cx="3263045" cy="634276"/>
          </a:xfrm>
          <a:prstGeom prst="rect">
            <a:avLst/>
          </a:prstGeom>
          <a:noFill/>
          <a:ln w="9525">
            <a:noFill/>
            <a:miter lim="800000"/>
            <a:headEnd/>
            <a:tailEnd/>
          </a:ln>
          <a:effectLst/>
        </p:spPr>
        <p:txBody>
          <a:bodyPr wrap="square" lIns="0" tIns="0" rIns="0" bIns="0" rtlCol="0" anchor="t" anchorCtr="0">
            <a:spAutoFit/>
          </a:bodyPr>
          <a:lstStyle/>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ea typeface="+mn-ea"/>
                <a:cs typeface="Arial"/>
              </a:rPr>
              <a:t>Static sharing</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cs typeface="Arial"/>
              </a:rPr>
              <a:t>Dynamic sharing</a:t>
            </a:r>
          </a:p>
        </p:txBody>
      </p:sp>
      <p:sp>
        <p:nvSpPr>
          <p:cNvPr id="15" name="TextBox 14">
            <a:extLst>
              <a:ext uri="{FF2B5EF4-FFF2-40B4-BE49-F238E27FC236}">
                <a16:creationId xmlns:a16="http://schemas.microsoft.com/office/drawing/2014/main" id="{0F8C05D8-5160-46D4-8A0D-6317C30EB3D1}"/>
              </a:ext>
            </a:extLst>
          </p:cNvPr>
          <p:cNvSpPr txBox="1"/>
          <p:nvPr/>
        </p:nvSpPr>
        <p:spPr bwMode="auto">
          <a:xfrm>
            <a:off x="1513734" y="4491580"/>
            <a:ext cx="1564531" cy="301878"/>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800" b="1" i="0" u="none" strike="noStrike" kern="0" cap="none" spc="0" normalizeH="0" baseline="0" noProof="0" dirty="0">
                <a:ln>
                  <a:noFill/>
                </a:ln>
                <a:solidFill>
                  <a:srgbClr val="1D1D1D"/>
                </a:solidFill>
                <a:effectLst/>
                <a:uLnTx/>
                <a:uFillTx/>
                <a:latin typeface="Arial"/>
                <a:ea typeface="+mn-ea"/>
                <a:cs typeface="Arial"/>
              </a:rPr>
              <a:t>How to solve?</a:t>
            </a:r>
          </a:p>
        </p:txBody>
      </p:sp>
      <p:sp>
        <p:nvSpPr>
          <p:cNvPr id="16" name="TextBox 15">
            <a:extLst>
              <a:ext uri="{FF2B5EF4-FFF2-40B4-BE49-F238E27FC236}">
                <a16:creationId xmlns:a16="http://schemas.microsoft.com/office/drawing/2014/main" id="{C76F1814-8C3D-4E23-95A7-AF9A9578F5CE}"/>
              </a:ext>
            </a:extLst>
          </p:cNvPr>
          <p:cNvSpPr txBox="1"/>
          <p:nvPr/>
        </p:nvSpPr>
        <p:spPr bwMode="auto">
          <a:xfrm>
            <a:off x="2184292" y="4910496"/>
            <a:ext cx="3263045" cy="1299074"/>
          </a:xfrm>
          <a:prstGeom prst="rect">
            <a:avLst/>
          </a:prstGeom>
          <a:noFill/>
          <a:ln w="9525">
            <a:noFill/>
            <a:miter lim="800000"/>
            <a:headEnd/>
            <a:tailEnd/>
          </a:ln>
          <a:effectLst/>
        </p:spPr>
        <p:txBody>
          <a:bodyPr wrap="square" lIns="0" tIns="0" rIns="0" bIns="0" rtlCol="0" anchor="t" anchorCtr="0">
            <a:spAutoFit/>
          </a:bodyPr>
          <a:lstStyle/>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ea typeface="+mn-ea"/>
                <a:cs typeface="Arial"/>
              </a:rPr>
              <a:t>Design</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cs typeface="Arial"/>
              </a:rPr>
              <a:t>Symmetrical</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cs typeface="Arial"/>
              </a:rPr>
              <a:t>Sorting</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1D1D1D"/>
              </a:solidFill>
              <a:effectLst/>
              <a:uLnTx/>
              <a:uFillTx/>
              <a:latin typeface="Arial"/>
              <a:ea typeface="+mn-ea"/>
              <a:cs typeface="Arial"/>
            </a:endParaRPr>
          </a:p>
        </p:txBody>
      </p:sp>
      <p:grpSp>
        <p:nvGrpSpPr>
          <p:cNvPr id="12" name="Group 11">
            <a:extLst>
              <a:ext uri="{FF2B5EF4-FFF2-40B4-BE49-F238E27FC236}">
                <a16:creationId xmlns:a16="http://schemas.microsoft.com/office/drawing/2014/main" id="{40F9DADD-E185-45D8-9C8C-316C62E62A56}"/>
              </a:ext>
            </a:extLst>
          </p:cNvPr>
          <p:cNvGrpSpPr/>
          <p:nvPr/>
        </p:nvGrpSpPr>
        <p:grpSpPr>
          <a:xfrm>
            <a:off x="5663952" y="1760241"/>
            <a:ext cx="5184576" cy="3888432"/>
            <a:chOff x="3247935" y="3671539"/>
            <a:chExt cx="2686134" cy="2339236"/>
          </a:xfrm>
        </p:grpSpPr>
        <p:sp>
          <p:nvSpPr>
            <p:cNvPr id="17" name="Rectangle 16">
              <a:hlinkClick r:id="" action="ppaction://noaction"/>
              <a:extLst>
                <a:ext uri="{FF2B5EF4-FFF2-40B4-BE49-F238E27FC236}">
                  <a16:creationId xmlns:a16="http://schemas.microsoft.com/office/drawing/2014/main" id="{57326D80-33D0-4AE0-89E4-88CA366D6DEB}"/>
                </a:ext>
              </a:extLst>
            </p:cNvPr>
            <p:cNvSpPr/>
            <p:nvPr/>
          </p:nvSpPr>
          <p:spPr bwMode="auto">
            <a:xfrm>
              <a:off x="3247935" y="3671539"/>
              <a:ext cx="2635051" cy="1980220"/>
            </a:xfrm>
            <a:prstGeom prst="rect">
              <a:avLst/>
            </a:prstGeom>
            <a:solidFill>
              <a:schemeClr val="bg1"/>
            </a:solidFill>
            <a:ln w="9525">
              <a:noFill/>
              <a:miter lim="800000"/>
              <a:headEnd/>
              <a:tailEnd/>
            </a:ln>
            <a:effectLst/>
          </p:spPr>
          <p:txBody>
            <a:bodyPr wrap="square" lIns="72000" tIns="72000" rIns="72000" bIns="72000" rtlCol="0" anchor="ctr"/>
            <a:lstStyle/>
            <a:p>
              <a:pPr algn="ctr" defTabSz="914377" eaLnBrk="0" hangingPunct="0">
                <a:defRPr/>
              </a:pPr>
              <a:endParaRPr lang="en-US" sz="1600" dirty="0">
                <a:solidFill>
                  <a:srgbClr val="000000"/>
                </a:solidFill>
                <a:latin typeface="Arial"/>
                <a:ea typeface="Verdana" pitchFamily="34" charset="0"/>
                <a:cs typeface="Verdana" pitchFamily="34" charset="0"/>
              </a:endParaRPr>
            </a:p>
          </p:txBody>
        </p:sp>
        <p:sp>
          <p:nvSpPr>
            <p:cNvPr id="18" name="Content Placeholder 2">
              <a:hlinkClick r:id="" action="ppaction://noaction"/>
              <a:extLst>
                <a:ext uri="{FF2B5EF4-FFF2-40B4-BE49-F238E27FC236}">
                  <a16:creationId xmlns:a16="http://schemas.microsoft.com/office/drawing/2014/main" id="{213A807C-8964-4EC4-BE2D-B29AC5D09FCB}"/>
                </a:ext>
              </a:extLst>
            </p:cNvPr>
            <p:cNvSpPr txBox="1">
              <a:spLocks/>
            </p:cNvSpPr>
            <p:nvPr/>
          </p:nvSpPr>
          <p:spPr>
            <a:xfrm flipV="1">
              <a:off x="3754723" y="5489935"/>
              <a:ext cx="1767311" cy="520840"/>
            </a:xfrm>
            <a:prstGeom prst="downArrowCallout">
              <a:avLst/>
            </a:prstGeom>
            <a:solidFill>
              <a:schemeClr val="accent2"/>
            </a:solidFill>
          </p:spPr>
          <p:txBody>
            <a:bodyPr vert="horz" lIns="45720" tIns="45720" rIns="45720" bIns="45720" rtlCol="0">
              <a:no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pPr marL="0" indent="0" algn="ctr" defTabSz="914377">
                <a:buClr>
                  <a:srgbClr val="E30034"/>
                </a:buClr>
                <a:buNone/>
                <a:defRPr/>
              </a:pPr>
              <a:endParaRPr lang="en-US" sz="1600" kern="0" dirty="0">
                <a:solidFill>
                  <a:srgbClr val="FFFFFF"/>
                </a:solidFill>
                <a:latin typeface="Arial"/>
                <a:cs typeface="Verdana"/>
              </a:endParaRPr>
            </a:p>
          </p:txBody>
        </p:sp>
        <p:sp>
          <p:nvSpPr>
            <p:cNvPr id="19" name="TextBox 18">
              <a:extLst>
                <a:ext uri="{FF2B5EF4-FFF2-40B4-BE49-F238E27FC236}">
                  <a16:creationId xmlns:a16="http://schemas.microsoft.com/office/drawing/2014/main" id="{57CF7907-47BB-4701-9935-ECB43ACF3D92}"/>
                </a:ext>
              </a:extLst>
            </p:cNvPr>
            <p:cNvSpPr txBox="1"/>
            <p:nvPr/>
          </p:nvSpPr>
          <p:spPr bwMode="auto">
            <a:xfrm>
              <a:off x="3306473" y="5823084"/>
              <a:ext cx="2627596" cy="148124"/>
            </a:xfrm>
            <a:prstGeom prst="rect">
              <a:avLst/>
            </a:prstGeom>
            <a:noFill/>
            <a:ln w="9525">
              <a:noFill/>
              <a:miter lim="800000"/>
              <a:headEnd/>
              <a:tailEnd/>
            </a:ln>
            <a:effectLst/>
          </p:spPr>
          <p:txBody>
            <a:bodyPr wrap="square" lIns="0" tIns="0" rIns="0" bIns="0" rtlCol="0" anchor="ctr" anchorCtr="0">
              <a:spAutoFit/>
            </a:bodyPr>
            <a:lstStyle/>
            <a:p>
              <a:pPr algn="ctr" defTabSz="914377" eaLnBrk="0" fontAlgn="auto" hangingPunct="0">
                <a:spcBef>
                  <a:spcPts val="0"/>
                </a:spcBef>
                <a:spcAft>
                  <a:spcPts val="300"/>
                </a:spcAft>
                <a:buClr>
                  <a:srgbClr val="E30034"/>
                </a:buClr>
                <a:defRPr/>
              </a:pPr>
              <a:r>
                <a:rPr lang="en-US" sz="1600" b="1" dirty="0">
                  <a:solidFill>
                    <a:srgbClr val="FFFFFF"/>
                  </a:solidFill>
                  <a:latin typeface="Arial"/>
                  <a:cs typeface="Verdana"/>
                </a:rPr>
                <a:t>3L – NPC2</a:t>
              </a:r>
              <a:endParaRPr lang="en-US" sz="1600" kern="0" baseline="-10000" dirty="0">
                <a:solidFill>
                  <a:srgbClr val="FFFFFF"/>
                </a:solidFill>
                <a:latin typeface="Arial"/>
                <a:cs typeface="Verdana"/>
              </a:endParaRPr>
            </a:p>
          </p:txBody>
        </p:sp>
        <p:grpSp>
          <p:nvGrpSpPr>
            <p:cNvPr id="20" name="Group 19">
              <a:extLst>
                <a:ext uri="{FF2B5EF4-FFF2-40B4-BE49-F238E27FC236}">
                  <a16:creationId xmlns:a16="http://schemas.microsoft.com/office/drawing/2014/main" id="{4A894A74-0A70-4D4B-8BFD-B81C1FA09DEF}"/>
                </a:ext>
              </a:extLst>
            </p:cNvPr>
            <p:cNvGrpSpPr/>
            <p:nvPr/>
          </p:nvGrpSpPr>
          <p:grpSpPr>
            <a:xfrm>
              <a:off x="3775726" y="3706503"/>
              <a:ext cx="1966206" cy="1755157"/>
              <a:chOff x="4658517" y="1927067"/>
              <a:chExt cx="2341840" cy="2146147"/>
            </a:xfrm>
          </p:grpSpPr>
          <p:sp>
            <p:nvSpPr>
              <p:cNvPr id="21" name="Line 45">
                <a:extLst>
                  <a:ext uri="{FF2B5EF4-FFF2-40B4-BE49-F238E27FC236}">
                    <a16:creationId xmlns:a16="http://schemas.microsoft.com/office/drawing/2014/main" id="{F40230CB-B1FF-4B2F-9DE6-378364C81775}"/>
                  </a:ext>
                </a:extLst>
              </p:cNvPr>
              <p:cNvSpPr>
                <a:spLocks noChangeShapeType="1"/>
              </p:cNvSpPr>
              <p:nvPr/>
            </p:nvSpPr>
            <p:spPr bwMode="auto">
              <a:xfrm>
                <a:off x="4854551" y="4028682"/>
                <a:ext cx="1496484" cy="10036"/>
              </a:xfrm>
              <a:prstGeom prst="line">
                <a:avLst/>
              </a:prstGeom>
              <a:noFill/>
              <a:ln w="12700">
                <a:solidFill>
                  <a:srgbClr val="1A1817"/>
                </a:solidFill>
                <a:round/>
                <a:headEnd type="oval" w="med" len="med"/>
                <a:tailEnd type="oval" w="med" len="med"/>
              </a:ln>
              <a:effectLst/>
            </p:spPr>
            <p:txBody>
              <a:bodyPr/>
              <a:lstStyle/>
              <a:p>
                <a:pPr defTabSz="914377">
                  <a:defRPr/>
                </a:pPr>
                <a:endParaRPr lang="en-US" sz="1800" dirty="0">
                  <a:solidFill>
                    <a:srgbClr val="000000"/>
                  </a:solidFill>
                  <a:latin typeface="Arial"/>
                  <a:cs typeface="Verdana"/>
                </a:endParaRPr>
              </a:p>
            </p:txBody>
          </p:sp>
          <p:sp>
            <p:nvSpPr>
              <p:cNvPr id="22" name="Line 47">
                <a:extLst>
                  <a:ext uri="{FF2B5EF4-FFF2-40B4-BE49-F238E27FC236}">
                    <a16:creationId xmlns:a16="http://schemas.microsoft.com/office/drawing/2014/main" id="{8394122B-3A70-4F9A-B1C9-7570747AFC09}"/>
                  </a:ext>
                </a:extLst>
              </p:cNvPr>
              <p:cNvSpPr>
                <a:spLocks noChangeShapeType="1"/>
              </p:cNvSpPr>
              <p:nvPr/>
            </p:nvSpPr>
            <p:spPr bwMode="auto">
              <a:xfrm>
                <a:off x="4843100" y="2030434"/>
                <a:ext cx="1499659" cy="0"/>
              </a:xfrm>
              <a:prstGeom prst="line">
                <a:avLst/>
              </a:prstGeom>
              <a:noFill/>
              <a:ln w="12700">
                <a:solidFill>
                  <a:srgbClr val="1A1817"/>
                </a:solidFill>
                <a:round/>
                <a:headEnd type="oval" w="med" len="med"/>
                <a:tailEnd type="oval" w="med" len="med"/>
              </a:ln>
              <a:effectLst/>
            </p:spPr>
            <p:txBody>
              <a:bodyPr/>
              <a:lstStyle/>
              <a:p>
                <a:pPr defTabSz="914377">
                  <a:defRPr/>
                </a:pPr>
                <a:endParaRPr lang="en-US" sz="1800" dirty="0">
                  <a:solidFill>
                    <a:srgbClr val="000000"/>
                  </a:solidFill>
                  <a:latin typeface="Arial"/>
                  <a:cs typeface="Verdana"/>
                </a:endParaRPr>
              </a:p>
            </p:txBody>
          </p:sp>
          <p:cxnSp>
            <p:nvCxnSpPr>
              <p:cNvPr id="23" name="Straight Connector 22">
                <a:extLst>
                  <a:ext uri="{FF2B5EF4-FFF2-40B4-BE49-F238E27FC236}">
                    <a16:creationId xmlns:a16="http://schemas.microsoft.com/office/drawing/2014/main" id="{014BD7D6-5838-475A-B4B0-AF21E814E95E}"/>
                  </a:ext>
                </a:extLst>
              </p:cNvPr>
              <p:cNvCxnSpPr/>
              <p:nvPr/>
            </p:nvCxnSpPr>
            <p:spPr>
              <a:xfrm>
                <a:off x="4775666" y="2482018"/>
                <a:ext cx="144013"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BC3E41D-76A6-49E6-9651-4E99C6ACA677}"/>
                  </a:ext>
                </a:extLst>
              </p:cNvPr>
              <p:cNvCxnSpPr/>
              <p:nvPr/>
            </p:nvCxnSpPr>
            <p:spPr>
              <a:xfrm>
                <a:off x="4775666" y="2545385"/>
                <a:ext cx="144013"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75D8B6C-AC12-46A2-8094-1BACC909BC7D}"/>
                  </a:ext>
                </a:extLst>
              </p:cNvPr>
              <p:cNvCxnSpPr/>
              <p:nvPr/>
            </p:nvCxnSpPr>
            <p:spPr>
              <a:xfrm>
                <a:off x="4847672" y="2022538"/>
                <a:ext cx="0" cy="473785"/>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1691E99-AAA9-44D9-9C56-C58CD30659BB}"/>
                  </a:ext>
                </a:extLst>
              </p:cNvPr>
              <p:cNvCxnSpPr/>
              <p:nvPr/>
            </p:nvCxnSpPr>
            <p:spPr>
              <a:xfrm>
                <a:off x="4847672" y="2540023"/>
                <a:ext cx="0" cy="473785"/>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A27F431-A74D-4376-A804-2D2ED3AB1BBA}"/>
                  </a:ext>
                </a:extLst>
              </p:cNvPr>
              <p:cNvCxnSpPr/>
              <p:nvPr/>
            </p:nvCxnSpPr>
            <p:spPr>
              <a:xfrm>
                <a:off x="4775666" y="3471374"/>
                <a:ext cx="144013"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6759B2E-445B-447C-A3A4-116A425146E1}"/>
                  </a:ext>
                </a:extLst>
              </p:cNvPr>
              <p:cNvCxnSpPr/>
              <p:nvPr/>
            </p:nvCxnSpPr>
            <p:spPr>
              <a:xfrm>
                <a:off x="4775666" y="3534741"/>
                <a:ext cx="144013"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BEB28C9-C855-474D-A3A0-C8D336B6DE8A}"/>
                  </a:ext>
                </a:extLst>
              </p:cNvPr>
              <p:cNvCxnSpPr/>
              <p:nvPr/>
            </p:nvCxnSpPr>
            <p:spPr>
              <a:xfrm>
                <a:off x="4847672" y="3011894"/>
                <a:ext cx="1" cy="45948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F0B868C-B5A2-4F63-B9A8-C60E53758EBB}"/>
                  </a:ext>
                </a:extLst>
              </p:cNvPr>
              <p:cNvCxnSpPr/>
              <p:nvPr/>
            </p:nvCxnSpPr>
            <p:spPr>
              <a:xfrm>
                <a:off x="4847672" y="3529379"/>
                <a:ext cx="0" cy="473785"/>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A5E4FE2-41A8-43A8-9C09-1953DA279291}"/>
                  </a:ext>
                </a:extLst>
              </p:cNvPr>
              <p:cNvSpPr txBox="1"/>
              <p:nvPr/>
            </p:nvSpPr>
            <p:spPr bwMode="auto">
              <a:xfrm>
                <a:off x="4658517" y="1927067"/>
                <a:ext cx="261163" cy="118955"/>
              </a:xfrm>
              <a:prstGeom prst="rect">
                <a:avLst/>
              </a:prstGeom>
              <a:noFill/>
              <a:ln w="9525">
                <a:noFill/>
                <a:miter lim="800000"/>
                <a:headEnd/>
                <a:tailEnd/>
              </a:ln>
              <a:effectLst/>
            </p:spPr>
            <p:txBody>
              <a:bodyPr wrap="square" lIns="0" tIns="0" rIns="0" bIns="0" rtlCol="0" anchor="ctr" anchorCtr="0">
                <a:spAutoFit/>
              </a:bodyPr>
              <a:lstStyle/>
              <a:p>
                <a:pPr defTabSz="914377" eaLnBrk="0" fontAlgn="auto" hangingPunct="0">
                  <a:spcBef>
                    <a:spcPts val="0"/>
                  </a:spcBef>
                  <a:spcAft>
                    <a:spcPts val="300"/>
                  </a:spcAft>
                  <a:buClr>
                    <a:srgbClr val="E30034"/>
                  </a:buClr>
                  <a:defRPr/>
                </a:pPr>
                <a:r>
                  <a:rPr lang="en-US" sz="1051" kern="0">
                    <a:solidFill>
                      <a:schemeClr val="dk1"/>
                    </a:solidFill>
                    <a:latin typeface="Arial"/>
                    <a:ea typeface="Verdana" pitchFamily="34" charset="0"/>
                    <a:cs typeface="Verdana" pitchFamily="34" charset="0"/>
                  </a:rPr>
                  <a:t>P</a:t>
                </a:r>
                <a:endParaRPr lang="en-US" sz="1051" kern="0" dirty="0">
                  <a:solidFill>
                    <a:schemeClr val="dk1"/>
                  </a:solidFill>
                  <a:latin typeface="Arial"/>
                  <a:ea typeface="Verdana" pitchFamily="34" charset="0"/>
                  <a:cs typeface="Verdana" pitchFamily="34" charset="0"/>
                </a:endParaRPr>
              </a:p>
            </p:txBody>
          </p:sp>
          <p:sp>
            <p:nvSpPr>
              <p:cNvPr id="32" name="TextBox 31">
                <a:extLst>
                  <a:ext uri="{FF2B5EF4-FFF2-40B4-BE49-F238E27FC236}">
                    <a16:creationId xmlns:a16="http://schemas.microsoft.com/office/drawing/2014/main" id="{77652962-F575-4CB0-A644-3AE8B4F769A1}"/>
                  </a:ext>
                </a:extLst>
              </p:cNvPr>
              <p:cNvSpPr txBox="1"/>
              <p:nvPr/>
            </p:nvSpPr>
            <p:spPr bwMode="auto">
              <a:xfrm>
                <a:off x="4680338" y="3954259"/>
                <a:ext cx="261163" cy="118955"/>
              </a:xfrm>
              <a:prstGeom prst="rect">
                <a:avLst/>
              </a:prstGeom>
              <a:noFill/>
              <a:ln w="9525">
                <a:noFill/>
                <a:miter lim="800000"/>
                <a:headEnd/>
                <a:tailEnd/>
              </a:ln>
              <a:effectLst/>
            </p:spPr>
            <p:txBody>
              <a:bodyPr wrap="square" lIns="0" tIns="0" rIns="0" bIns="0" rtlCol="0" anchor="ctr" anchorCtr="0">
                <a:spAutoFit/>
              </a:bodyPr>
              <a:lstStyle/>
              <a:p>
                <a:pPr defTabSz="914377" eaLnBrk="0" fontAlgn="auto" hangingPunct="0">
                  <a:spcBef>
                    <a:spcPts val="0"/>
                  </a:spcBef>
                  <a:spcAft>
                    <a:spcPts val="300"/>
                  </a:spcAft>
                  <a:buClr>
                    <a:srgbClr val="E30034"/>
                  </a:buClr>
                  <a:defRPr/>
                </a:pPr>
                <a:r>
                  <a:rPr lang="en-US" sz="1051" kern="0">
                    <a:solidFill>
                      <a:schemeClr val="dk1"/>
                    </a:solidFill>
                    <a:latin typeface="Arial"/>
                    <a:ea typeface="Verdana" pitchFamily="34" charset="0"/>
                    <a:cs typeface="Verdana" pitchFamily="34" charset="0"/>
                  </a:rPr>
                  <a:t>N</a:t>
                </a:r>
                <a:endParaRPr lang="en-US" sz="1051" kern="0" dirty="0">
                  <a:solidFill>
                    <a:schemeClr val="dk1"/>
                  </a:solidFill>
                  <a:latin typeface="Arial"/>
                  <a:ea typeface="Verdana" pitchFamily="34" charset="0"/>
                  <a:cs typeface="Verdana" pitchFamily="34" charset="0"/>
                </a:endParaRPr>
              </a:p>
            </p:txBody>
          </p:sp>
          <p:sp>
            <p:nvSpPr>
              <p:cNvPr id="33" name="TextBox 32">
                <a:extLst>
                  <a:ext uri="{FF2B5EF4-FFF2-40B4-BE49-F238E27FC236}">
                    <a16:creationId xmlns:a16="http://schemas.microsoft.com/office/drawing/2014/main" id="{0F272881-002E-4BDF-85E6-9A30965DEB26}"/>
                  </a:ext>
                </a:extLst>
              </p:cNvPr>
              <p:cNvSpPr txBox="1"/>
              <p:nvPr/>
            </p:nvSpPr>
            <p:spPr bwMode="auto">
              <a:xfrm>
                <a:off x="4684477" y="2935935"/>
                <a:ext cx="261163" cy="118955"/>
              </a:xfrm>
              <a:prstGeom prst="rect">
                <a:avLst/>
              </a:prstGeom>
              <a:noFill/>
              <a:ln w="9525">
                <a:noFill/>
                <a:miter lim="800000"/>
                <a:headEnd/>
                <a:tailEnd/>
              </a:ln>
              <a:effectLst/>
            </p:spPr>
            <p:txBody>
              <a:bodyPr wrap="square" lIns="0" tIns="0" rIns="0" bIns="0" rtlCol="0" anchor="ctr" anchorCtr="0">
                <a:spAutoFit/>
              </a:bodyPr>
              <a:lstStyle/>
              <a:p>
                <a:pPr defTabSz="914377" eaLnBrk="0" fontAlgn="auto" hangingPunct="0">
                  <a:spcBef>
                    <a:spcPts val="0"/>
                  </a:spcBef>
                  <a:spcAft>
                    <a:spcPts val="300"/>
                  </a:spcAft>
                  <a:buClr>
                    <a:srgbClr val="E30034"/>
                  </a:buClr>
                  <a:defRPr/>
                </a:pPr>
                <a:r>
                  <a:rPr lang="en-US" sz="1051" kern="0">
                    <a:solidFill>
                      <a:schemeClr val="dk1"/>
                    </a:solidFill>
                    <a:latin typeface="Arial"/>
                    <a:ea typeface="Verdana" pitchFamily="34" charset="0"/>
                    <a:cs typeface="Verdana" pitchFamily="34" charset="0"/>
                  </a:rPr>
                  <a:t>0</a:t>
                </a:r>
                <a:endParaRPr lang="en-US" sz="1051" kern="0" dirty="0">
                  <a:solidFill>
                    <a:schemeClr val="dk1"/>
                  </a:solidFill>
                  <a:latin typeface="Arial"/>
                  <a:ea typeface="Verdana" pitchFamily="34" charset="0"/>
                  <a:cs typeface="Verdana" pitchFamily="34" charset="0"/>
                </a:endParaRPr>
              </a:p>
            </p:txBody>
          </p:sp>
          <p:grpSp>
            <p:nvGrpSpPr>
              <p:cNvPr id="34" name="Group 33">
                <a:extLst>
                  <a:ext uri="{FF2B5EF4-FFF2-40B4-BE49-F238E27FC236}">
                    <a16:creationId xmlns:a16="http://schemas.microsoft.com/office/drawing/2014/main" id="{029C66B7-98DE-4DBF-8759-18E6784E477C}"/>
                  </a:ext>
                </a:extLst>
              </p:cNvPr>
              <p:cNvGrpSpPr/>
              <p:nvPr/>
            </p:nvGrpSpPr>
            <p:grpSpPr>
              <a:xfrm>
                <a:off x="6064028" y="2049497"/>
                <a:ext cx="936329" cy="1977556"/>
                <a:chOff x="6064028" y="2049497"/>
                <a:chExt cx="936329" cy="1977556"/>
              </a:xfrm>
            </p:grpSpPr>
            <p:sp>
              <p:nvSpPr>
                <p:cNvPr id="76" name="AutoShape 42">
                  <a:extLst>
                    <a:ext uri="{FF2B5EF4-FFF2-40B4-BE49-F238E27FC236}">
                      <a16:creationId xmlns:a16="http://schemas.microsoft.com/office/drawing/2014/main" id="{F633620B-0271-4830-91E5-75F9B78F9108}"/>
                    </a:ext>
                  </a:extLst>
                </p:cNvPr>
                <p:cNvSpPr>
                  <a:spLocks noChangeAspect="1" noChangeArrowheads="1" noTextEdit="1"/>
                </p:cNvSpPr>
                <p:nvPr/>
              </p:nvSpPr>
              <p:spPr bwMode="auto">
                <a:xfrm>
                  <a:off x="6071501" y="2155518"/>
                  <a:ext cx="526505" cy="1331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de-DE" sz="1800">
                    <a:solidFill>
                      <a:srgbClr val="000000"/>
                    </a:solidFill>
                    <a:latin typeface="Arial"/>
                    <a:cs typeface="Verdana"/>
                  </a:endParaRPr>
                </a:p>
              </p:txBody>
            </p:sp>
            <p:sp>
              <p:nvSpPr>
                <p:cNvPr id="77" name="Line 44">
                  <a:extLst>
                    <a:ext uri="{FF2B5EF4-FFF2-40B4-BE49-F238E27FC236}">
                      <a16:creationId xmlns:a16="http://schemas.microsoft.com/office/drawing/2014/main" id="{09DD095F-EE07-486D-8D1C-446E0A359697}"/>
                    </a:ext>
                  </a:extLst>
                </p:cNvPr>
                <p:cNvSpPr>
                  <a:spLocks noChangeShapeType="1"/>
                </p:cNvSpPr>
                <p:nvPr/>
              </p:nvSpPr>
              <p:spPr bwMode="auto">
                <a:xfrm>
                  <a:off x="6337620" y="2697106"/>
                  <a:ext cx="0" cy="588858"/>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8" name="Line 45">
                  <a:extLst>
                    <a:ext uri="{FF2B5EF4-FFF2-40B4-BE49-F238E27FC236}">
                      <a16:creationId xmlns:a16="http://schemas.microsoft.com/office/drawing/2014/main" id="{CA263A8A-4829-4E5D-B457-72536B506DD2}"/>
                    </a:ext>
                  </a:extLst>
                </p:cNvPr>
                <p:cNvSpPr>
                  <a:spLocks noChangeShapeType="1"/>
                </p:cNvSpPr>
                <p:nvPr/>
              </p:nvSpPr>
              <p:spPr bwMode="auto">
                <a:xfrm>
                  <a:off x="6194265" y="3327600"/>
                  <a:ext cx="0" cy="361691"/>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9" name="Line 46">
                  <a:extLst>
                    <a:ext uri="{FF2B5EF4-FFF2-40B4-BE49-F238E27FC236}">
                      <a16:creationId xmlns:a16="http://schemas.microsoft.com/office/drawing/2014/main" id="{579E8CFC-AB00-4A94-8750-4842AAA38A10}"/>
                    </a:ext>
                  </a:extLst>
                </p:cNvPr>
                <p:cNvSpPr>
                  <a:spLocks noChangeShapeType="1"/>
                </p:cNvSpPr>
                <p:nvPr/>
              </p:nvSpPr>
              <p:spPr bwMode="auto">
                <a:xfrm>
                  <a:off x="6144568" y="3377332"/>
                  <a:ext cx="0" cy="250924"/>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0" name="Line 47">
                  <a:extLst>
                    <a:ext uri="{FF2B5EF4-FFF2-40B4-BE49-F238E27FC236}">
                      <a16:creationId xmlns:a16="http://schemas.microsoft.com/office/drawing/2014/main" id="{3D8B2AB0-AF5F-476C-9B74-745FEAD8CCFD}"/>
                    </a:ext>
                  </a:extLst>
                </p:cNvPr>
                <p:cNvSpPr>
                  <a:spLocks noChangeShapeType="1"/>
                </p:cNvSpPr>
                <p:nvPr/>
              </p:nvSpPr>
              <p:spPr bwMode="auto">
                <a:xfrm flipV="1">
                  <a:off x="6200955" y="3314036"/>
                  <a:ext cx="133798" cy="126592"/>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1" name="Line 48">
                  <a:extLst>
                    <a:ext uri="{FF2B5EF4-FFF2-40B4-BE49-F238E27FC236}">
                      <a16:creationId xmlns:a16="http://schemas.microsoft.com/office/drawing/2014/main" id="{E72B42E0-AF6F-4BE3-A369-19AF365D41A0}"/>
                    </a:ext>
                  </a:extLst>
                </p:cNvPr>
                <p:cNvSpPr>
                  <a:spLocks noChangeShapeType="1"/>
                </p:cNvSpPr>
                <p:nvPr/>
              </p:nvSpPr>
              <p:spPr bwMode="auto">
                <a:xfrm>
                  <a:off x="6069762" y="3628255"/>
                  <a:ext cx="7124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2" name="Line 49">
                  <a:extLst>
                    <a:ext uri="{FF2B5EF4-FFF2-40B4-BE49-F238E27FC236}">
                      <a16:creationId xmlns:a16="http://schemas.microsoft.com/office/drawing/2014/main" id="{3F6DF411-9785-4FDA-B394-5DCEF2644EE9}"/>
                    </a:ext>
                  </a:extLst>
                </p:cNvPr>
                <p:cNvSpPr>
                  <a:spLocks noChangeShapeType="1"/>
                </p:cNvSpPr>
                <p:nvPr/>
              </p:nvSpPr>
              <p:spPr bwMode="auto">
                <a:xfrm flipV="1">
                  <a:off x="6346086" y="3724875"/>
                  <a:ext cx="0" cy="302178"/>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3" name="Line 50">
                  <a:extLst>
                    <a:ext uri="{FF2B5EF4-FFF2-40B4-BE49-F238E27FC236}">
                      <a16:creationId xmlns:a16="http://schemas.microsoft.com/office/drawing/2014/main" id="{AF05AE3A-772C-4BCE-8BAC-425549E17F85}"/>
                    </a:ext>
                  </a:extLst>
                </p:cNvPr>
                <p:cNvSpPr>
                  <a:spLocks noChangeShapeType="1"/>
                </p:cNvSpPr>
                <p:nvPr/>
              </p:nvSpPr>
              <p:spPr bwMode="auto">
                <a:xfrm flipH="1" flipV="1">
                  <a:off x="6198088" y="3564959"/>
                  <a:ext cx="76456" cy="72338"/>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4" name="Freeform 51">
                  <a:extLst>
                    <a:ext uri="{FF2B5EF4-FFF2-40B4-BE49-F238E27FC236}">
                      <a16:creationId xmlns:a16="http://schemas.microsoft.com/office/drawing/2014/main" id="{3BB2BF16-468E-4309-B7F2-5C030FCAA442}"/>
                    </a:ext>
                  </a:extLst>
                </p:cNvPr>
                <p:cNvSpPr>
                  <a:spLocks/>
                </p:cNvSpPr>
                <p:nvPr/>
              </p:nvSpPr>
              <p:spPr bwMode="auto">
                <a:xfrm>
                  <a:off x="6261164" y="3603389"/>
                  <a:ext cx="76456" cy="85902"/>
                </a:xfrm>
                <a:custGeom>
                  <a:avLst/>
                  <a:gdLst>
                    <a:gd name="T0" fmla="*/ 0 w 44"/>
                    <a:gd name="T1" fmla="*/ 26 h 38"/>
                    <a:gd name="T2" fmla="*/ 44 w 44"/>
                    <a:gd name="T3" fmla="*/ 38 h 38"/>
                    <a:gd name="T4" fmla="*/ 16 w 44"/>
                    <a:gd name="T5" fmla="*/ 0 h 38"/>
                    <a:gd name="T6" fmla="*/ 0 w 44"/>
                    <a:gd name="T7" fmla="*/ 26 h 38"/>
                  </a:gdLst>
                  <a:ahLst/>
                  <a:cxnLst>
                    <a:cxn ang="0">
                      <a:pos x="T0" y="T1"/>
                    </a:cxn>
                    <a:cxn ang="0">
                      <a:pos x="T2" y="T3"/>
                    </a:cxn>
                    <a:cxn ang="0">
                      <a:pos x="T4" y="T5"/>
                    </a:cxn>
                    <a:cxn ang="0">
                      <a:pos x="T6" y="T7"/>
                    </a:cxn>
                  </a:cxnLst>
                  <a:rect l="0" t="0" r="r" b="b"/>
                  <a:pathLst>
                    <a:path w="44" h="38">
                      <a:moveTo>
                        <a:pt x="0" y="26"/>
                      </a:moveTo>
                      <a:lnTo>
                        <a:pt x="44" y="38"/>
                      </a:lnTo>
                      <a:lnTo>
                        <a:pt x="16" y="0"/>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5" name="Line 52">
                  <a:extLst>
                    <a:ext uri="{FF2B5EF4-FFF2-40B4-BE49-F238E27FC236}">
                      <a16:creationId xmlns:a16="http://schemas.microsoft.com/office/drawing/2014/main" id="{98351BAB-B98F-4FB3-AC59-E805B9BED53D}"/>
                    </a:ext>
                  </a:extLst>
                </p:cNvPr>
                <p:cNvSpPr>
                  <a:spLocks noChangeShapeType="1"/>
                </p:cNvSpPr>
                <p:nvPr/>
              </p:nvSpPr>
              <p:spPr bwMode="auto">
                <a:xfrm>
                  <a:off x="6350479" y="3689291"/>
                  <a:ext cx="180715"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6" name="Line 53">
                  <a:extLst>
                    <a:ext uri="{FF2B5EF4-FFF2-40B4-BE49-F238E27FC236}">
                      <a16:creationId xmlns:a16="http://schemas.microsoft.com/office/drawing/2014/main" id="{0BCE5FE7-02DF-42FD-B1A2-D86F27432CEB}"/>
                    </a:ext>
                  </a:extLst>
                </p:cNvPr>
                <p:cNvSpPr>
                  <a:spLocks noChangeShapeType="1"/>
                </p:cNvSpPr>
                <p:nvPr/>
              </p:nvSpPr>
              <p:spPr bwMode="auto">
                <a:xfrm>
                  <a:off x="6350479" y="3314036"/>
                  <a:ext cx="180715"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7" name="Line 54">
                  <a:extLst>
                    <a:ext uri="{FF2B5EF4-FFF2-40B4-BE49-F238E27FC236}">
                      <a16:creationId xmlns:a16="http://schemas.microsoft.com/office/drawing/2014/main" id="{9038AA14-7081-4FB6-B177-65D6EB47CEA6}"/>
                    </a:ext>
                  </a:extLst>
                </p:cNvPr>
                <p:cNvSpPr>
                  <a:spLocks noChangeShapeType="1"/>
                </p:cNvSpPr>
                <p:nvPr/>
              </p:nvSpPr>
              <p:spPr bwMode="auto">
                <a:xfrm>
                  <a:off x="6540229" y="3314036"/>
                  <a:ext cx="0" cy="375254"/>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8" name="Oval 55">
                  <a:extLst>
                    <a:ext uri="{FF2B5EF4-FFF2-40B4-BE49-F238E27FC236}">
                      <a16:creationId xmlns:a16="http://schemas.microsoft.com/office/drawing/2014/main" id="{50C897E2-8366-4D2F-9575-5C8AC7BF8402}"/>
                    </a:ext>
                  </a:extLst>
                </p:cNvPr>
                <p:cNvSpPr>
                  <a:spLocks noChangeArrowheads="1"/>
                </p:cNvSpPr>
                <p:nvPr/>
              </p:nvSpPr>
              <p:spPr bwMode="auto">
                <a:xfrm>
                  <a:off x="6324153" y="3289169"/>
                  <a:ext cx="36490" cy="51994"/>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89" name="Oval 56">
                  <a:extLst>
                    <a:ext uri="{FF2B5EF4-FFF2-40B4-BE49-F238E27FC236}">
                      <a16:creationId xmlns:a16="http://schemas.microsoft.com/office/drawing/2014/main" id="{27437B0F-6492-4CD8-BFD4-65FD43E4DCD3}"/>
                    </a:ext>
                  </a:extLst>
                </p:cNvPr>
                <p:cNvSpPr>
                  <a:spLocks noChangeArrowheads="1"/>
                </p:cNvSpPr>
                <p:nvPr/>
              </p:nvSpPr>
              <p:spPr bwMode="auto">
                <a:xfrm>
                  <a:off x="6324153" y="3289169"/>
                  <a:ext cx="36490" cy="51994"/>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0" name="Oval 57">
                  <a:extLst>
                    <a:ext uri="{FF2B5EF4-FFF2-40B4-BE49-F238E27FC236}">
                      <a16:creationId xmlns:a16="http://schemas.microsoft.com/office/drawing/2014/main" id="{585604FA-73BD-43F3-8A93-261BA9583137}"/>
                    </a:ext>
                  </a:extLst>
                </p:cNvPr>
                <p:cNvSpPr>
                  <a:spLocks noChangeArrowheads="1"/>
                </p:cNvSpPr>
                <p:nvPr/>
              </p:nvSpPr>
              <p:spPr bwMode="auto">
                <a:xfrm>
                  <a:off x="6324153" y="3664424"/>
                  <a:ext cx="36490" cy="49732"/>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1" name="Oval 58">
                  <a:extLst>
                    <a:ext uri="{FF2B5EF4-FFF2-40B4-BE49-F238E27FC236}">
                      <a16:creationId xmlns:a16="http://schemas.microsoft.com/office/drawing/2014/main" id="{24B8F2A4-731D-4373-8866-346F75F03800}"/>
                    </a:ext>
                  </a:extLst>
                </p:cNvPr>
                <p:cNvSpPr>
                  <a:spLocks noChangeArrowheads="1"/>
                </p:cNvSpPr>
                <p:nvPr/>
              </p:nvSpPr>
              <p:spPr bwMode="auto">
                <a:xfrm>
                  <a:off x="6324153" y="3664424"/>
                  <a:ext cx="36490" cy="49732"/>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2" name="Freeform 59">
                  <a:extLst>
                    <a:ext uri="{FF2B5EF4-FFF2-40B4-BE49-F238E27FC236}">
                      <a16:creationId xmlns:a16="http://schemas.microsoft.com/office/drawing/2014/main" id="{9E18CF20-EC84-419C-8BF7-8CFD9BE7D4B1}"/>
                    </a:ext>
                  </a:extLst>
                </p:cNvPr>
                <p:cNvSpPr>
                  <a:spLocks/>
                </p:cNvSpPr>
                <p:nvPr/>
              </p:nvSpPr>
              <p:spPr bwMode="auto">
                <a:xfrm>
                  <a:off x="6466727" y="3408980"/>
                  <a:ext cx="135536" cy="187628"/>
                </a:xfrm>
                <a:custGeom>
                  <a:avLst/>
                  <a:gdLst>
                    <a:gd name="T0" fmla="*/ 39 w 78"/>
                    <a:gd name="T1" fmla="*/ 0 h 83"/>
                    <a:gd name="T2" fmla="*/ 78 w 78"/>
                    <a:gd name="T3" fmla="*/ 83 h 83"/>
                    <a:gd name="T4" fmla="*/ 0 w 78"/>
                    <a:gd name="T5" fmla="*/ 83 h 83"/>
                    <a:gd name="T6" fmla="*/ 39 w 78"/>
                    <a:gd name="T7" fmla="*/ 0 h 83"/>
                  </a:gdLst>
                  <a:ahLst/>
                  <a:cxnLst>
                    <a:cxn ang="0">
                      <a:pos x="T0" y="T1"/>
                    </a:cxn>
                    <a:cxn ang="0">
                      <a:pos x="T2" y="T3"/>
                    </a:cxn>
                    <a:cxn ang="0">
                      <a:pos x="T4" y="T5"/>
                    </a:cxn>
                    <a:cxn ang="0">
                      <a:pos x="T6" y="T7"/>
                    </a:cxn>
                  </a:cxnLst>
                  <a:rect l="0" t="0" r="r" b="b"/>
                  <a:pathLst>
                    <a:path w="78" h="83">
                      <a:moveTo>
                        <a:pt x="39" y="0"/>
                      </a:moveTo>
                      <a:lnTo>
                        <a:pt x="78" y="83"/>
                      </a:lnTo>
                      <a:lnTo>
                        <a:pt x="0" y="83"/>
                      </a:ln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3" name="Freeform 60">
                  <a:extLst>
                    <a:ext uri="{FF2B5EF4-FFF2-40B4-BE49-F238E27FC236}">
                      <a16:creationId xmlns:a16="http://schemas.microsoft.com/office/drawing/2014/main" id="{21BC7C00-E6B5-4381-966C-EB2074CB9B9F}"/>
                    </a:ext>
                  </a:extLst>
                </p:cNvPr>
                <p:cNvSpPr>
                  <a:spLocks/>
                </p:cNvSpPr>
                <p:nvPr/>
              </p:nvSpPr>
              <p:spPr bwMode="auto">
                <a:xfrm>
                  <a:off x="6466727" y="3408980"/>
                  <a:ext cx="135536" cy="187628"/>
                </a:xfrm>
                <a:custGeom>
                  <a:avLst/>
                  <a:gdLst>
                    <a:gd name="T0" fmla="*/ 39 w 78"/>
                    <a:gd name="T1" fmla="*/ 0 h 83"/>
                    <a:gd name="T2" fmla="*/ 78 w 78"/>
                    <a:gd name="T3" fmla="*/ 83 h 83"/>
                    <a:gd name="T4" fmla="*/ 0 w 78"/>
                    <a:gd name="T5" fmla="*/ 83 h 83"/>
                    <a:gd name="T6" fmla="*/ 39 w 78"/>
                    <a:gd name="T7" fmla="*/ 0 h 83"/>
                  </a:gdLst>
                  <a:ahLst/>
                  <a:cxnLst>
                    <a:cxn ang="0">
                      <a:pos x="T0" y="T1"/>
                    </a:cxn>
                    <a:cxn ang="0">
                      <a:pos x="T2" y="T3"/>
                    </a:cxn>
                    <a:cxn ang="0">
                      <a:pos x="T4" y="T5"/>
                    </a:cxn>
                    <a:cxn ang="0">
                      <a:pos x="T6" y="T7"/>
                    </a:cxn>
                  </a:cxnLst>
                  <a:rect l="0" t="0" r="r" b="b"/>
                  <a:pathLst>
                    <a:path w="78" h="83">
                      <a:moveTo>
                        <a:pt x="39" y="0"/>
                      </a:moveTo>
                      <a:lnTo>
                        <a:pt x="78" y="83"/>
                      </a:lnTo>
                      <a:lnTo>
                        <a:pt x="0" y="83"/>
                      </a:lnTo>
                      <a:lnTo>
                        <a:pt x="39" y="0"/>
                      </a:ln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4" name="Line 61">
                  <a:extLst>
                    <a:ext uri="{FF2B5EF4-FFF2-40B4-BE49-F238E27FC236}">
                      <a16:creationId xmlns:a16="http://schemas.microsoft.com/office/drawing/2014/main" id="{28B9DFEA-AE49-47BD-A2DA-E89E1CDF57C6}"/>
                    </a:ext>
                  </a:extLst>
                </p:cNvPr>
                <p:cNvSpPr>
                  <a:spLocks noChangeShapeType="1"/>
                </p:cNvSpPr>
                <p:nvPr/>
              </p:nvSpPr>
              <p:spPr bwMode="auto">
                <a:xfrm>
                  <a:off x="6466727" y="3408980"/>
                  <a:ext cx="135536"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5" name="Line 62">
                  <a:extLst>
                    <a:ext uri="{FF2B5EF4-FFF2-40B4-BE49-F238E27FC236}">
                      <a16:creationId xmlns:a16="http://schemas.microsoft.com/office/drawing/2014/main" id="{DC8AAD1D-70C8-412F-BCC4-879EA35E1A6A}"/>
                    </a:ext>
                  </a:extLst>
                </p:cNvPr>
                <p:cNvSpPr>
                  <a:spLocks noChangeShapeType="1"/>
                </p:cNvSpPr>
                <p:nvPr/>
              </p:nvSpPr>
              <p:spPr bwMode="auto">
                <a:xfrm>
                  <a:off x="6337620" y="2049497"/>
                  <a:ext cx="0" cy="249733"/>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6" name="Line 63">
                  <a:extLst>
                    <a:ext uri="{FF2B5EF4-FFF2-40B4-BE49-F238E27FC236}">
                      <a16:creationId xmlns:a16="http://schemas.microsoft.com/office/drawing/2014/main" id="{6566CD4B-EE60-4E54-BD7D-9169DF70AD46}"/>
                    </a:ext>
                  </a:extLst>
                </p:cNvPr>
                <p:cNvSpPr>
                  <a:spLocks noChangeShapeType="1"/>
                </p:cNvSpPr>
                <p:nvPr/>
              </p:nvSpPr>
              <p:spPr bwMode="auto">
                <a:xfrm>
                  <a:off x="6188530" y="2333075"/>
                  <a:ext cx="0" cy="363952"/>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7" name="Line 64">
                  <a:extLst>
                    <a:ext uri="{FF2B5EF4-FFF2-40B4-BE49-F238E27FC236}">
                      <a16:creationId xmlns:a16="http://schemas.microsoft.com/office/drawing/2014/main" id="{828A0D33-4FF9-4297-AF0C-38CA2E6EF910}"/>
                    </a:ext>
                  </a:extLst>
                </p:cNvPr>
                <p:cNvSpPr>
                  <a:spLocks noChangeShapeType="1"/>
                </p:cNvSpPr>
                <p:nvPr/>
              </p:nvSpPr>
              <p:spPr bwMode="auto">
                <a:xfrm>
                  <a:off x="6138833" y="2382808"/>
                  <a:ext cx="0" cy="250924"/>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8" name="Line 65">
                  <a:extLst>
                    <a:ext uri="{FF2B5EF4-FFF2-40B4-BE49-F238E27FC236}">
                      <a16:creationId xmlns:a16="http://schemas.microsoft.com/office/drawing/2014/main" id="{7DBAFABB-AA33-4683-B8B5-505AFDB4B0F4}"/>
                    </a:ext>
                  </a:extLst>
                </p:cNvPr>
                <p:cNvSpPr>
                  <a:spLocks noChangeShapeType="1"/>
                </p:cNvSpPr>
                <p:nvPr/>
              </p:nvSpPr>
              <p:spPr bwMode="auto">
                <a:xfrm flipV="1">
                  <a:off x="6195307" y="2321773"/>
                  <a:ext cx="135536" cy="124332"/>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99" name="Line 66">
                  <a:extLst>
                    <a:ext uri="{FF2B5EF4-FFF2-40B4-BE49-F238E27FC236}">
                      <a16:creationId xmlns:a16="http://schemas.microsoft.com/office/drawing/2014/main" id="{753DC6CB-C984-48A8-977F-E3C5A6587FE9}"/>
                    </a:ext>
                  </a:extLst>
                </p:cNvPr>
                <p:cNvSpPr>
                  <a:spLocks noChangeShapeType="1"/>
                </p:cNvSpPr>
                <p:nvPr/>
              </p:nvSpPr>
              <p:spPr bwMode="auto">
                <a:xfrm>
                  <a:off x="6064028" y="2633732"/>
                  <a:ext cx="7124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0" name="Line 67">
                  <a:extLst>
                    <a:ext uri="{FF2B5EF4-FFF2-40B4-BE49-F238E27FC236}">
                      <a16:creationId xmlns:a16="http://schemas.microsoft.com/office/drawing/2014/main" id="{75C1FE88-D4CA-4B10-801B-9CB94ACF8286}"/>
                    </a:ext>
                  </a:extLst>
                </p:cNvPr>
                <p:cNvSpPr>
                  <a:spLocks noChangeShapeType="1"/>
                </p:cNvSpPr>
                <p:nvPr/>
              </p:nvSpPr>
              <p:spPr bwMode="auto">
                <a:xfrm flipV="1">
                  <a:off x="6337620" y="2708330"/>
                  <a:ext cx="0" cy="187628"/>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1" name="Line 68">
                  <a:extLst>
                    <a:ext uri="{FF2B5EF4-FFF2-40B4-BE49-F238E27FC236}">
                      <a16:creationId xmlns:a16="http://schemas.microsoft.com/office/drawing/2014/main" id="{903A71A5-52C1-4018-A1AB-6018E50DD4C4}"/>
                    </a:ext>
                  </a:extLst>
                </p:cNvPr>
                <p:cNvSpPr>
                  <a:spLocks noChangeShapeType="1"/>
                </p:cNvSpPr>
                <p:nvPr/>
              </p:nvSpPr>
              <p:spPr bwMode="auto">
                <a:xfrm flipH="1" flipV="1">
                  <a:off x="6192439" y="2570436"/>
                  <a:ext cx="78194" cy="72338"/>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2" name="Freeform 69">
                  <a:extLst>
                    <a:ext uri="{FF2B5EF4-FFF2-40B4-BE49-F238E27FC236}">
                      <a16:creationId xmlns:a16="http://schemas.microsoft.com/office/drawing/2014/main" id="{ED34E4A9-E838-4721-8866-B1407CC6A94E}"/>
                    </a:ext>
                  </a:extLst>
                </p:cNvPr>
                <p:cNvSpPr>
                  <a:spLocks/>
                </p:cNvSpPr>
                <p:nvPr/>
              </p:nvSpPr>
              <p:spPr bwMode="auto">
                <a:xfrm>
                  <a:off x="6257341" y="2608865"/>
                  <a:ext cx="76456" cy="88163"/>
                </a:xfrm>
                <a:custGeom>
                  <a:avLst/>
                  <a:gdLst>
                    <a:gd name="T0" fmla="*/ 0 w 44"/>
                    <a:gd name="T1" fmla="*/ 26 h 39"/>
                    <a:gd name="T2" fmla="*/ 44 w 44"/>
                    <a:gd name="T3" fmla="*/ 39 h 39"/>
                    <a:gd name="T4" fmla="*/ 16 w 44"/>
                    <a:gd name="T5" fmla="*/ 0 h 39"/>
                    <a:gd name="T6" fmla="*/ 0 w 44"/>
                    <a:gd name="T7" fmla="*/ 26 h 39"/>
                  </a:gdLst>
                  <a:ahLst/>
                  <a:cxnLst>
                    <a:cxn ang="0">
                      <a:pos x="T0" y="T1"/>
                    </a:cxn>
                    <a:cxn ang="0">
                      <a:pos x="T2" y="T3"/>
                    </a:cxn>
                    <a:cxn ang="0">
                      <a:pos x="T4" y="T5"/>
                    </a:cxn>
                    <a:cxn ang="0">
                      <a:pos x="T6" y="T7"/>
                    </a:cxn>
                  </a:cxnLst>
                  <a:rect l="0" t="0" r="r" b="b"/>
                  <a:pathLst>
                    <a:path w="44" h="39">
                      <a:moveTo>
                        <a:pt x="0" y="26"/>
                      </a:moveTo>
                      <a:lnTo>
                        <a:pt x="44" y="39"/>
                      </a:lnTo>
                      <a:lnTo>
                        <a:pt x="16" y="0"/>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3" name="Line 70">
                  <a:extLst>
                    <a:ext uri="{FF2B5EF4-FFF2-40B4-BE49-F238E27FC236}">
                      <a16:creationId xmlns:a16="http://schemas.microsoft.com/office/drawing/2014/main" id="{EDE53A7C-D633-4132-AF14-2F0413011FC3}"/>
                    </a:ext>
                  </a:extLst>
                </p:cNvPr>
                <p:cNvSpPr>
                  <a:spLocks noChangeShapeType="1"/>
                </p:cNvSpPr>
                <p:nvPr/>
              </p:nvSpPr>
              <p:spPr bwMode="auto">
                <a:xfrm>
                  <a:off x="6346569" y="2697027"/>
                  <a:ext cx="178977"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4" name="Line 71">
                  <a:extLst>
                    <a:ext uri="{FF2B5EF4-FFF2-40B4-BE49-F238E27FC236}">
                      <a16:creationId xmlns:a16="http://schemas.microsoft.com/office/drawing/2014/main" id="{C16B2463-CFB0-4B65-B27A-00B5177D353C}"/>
                    </a:ext>
                  </a:extLst>
                </p:cNvPr>
                <p:cNvSpPr>
                  <a:spLocks noChangeShapeType="1"/>
                </p:cNvSpPr>
                <p:nvPr/>
              </p:nvSpPr>
              <p:spPr bwMode="auto">
                <a:xfrm>
                  <a:off x="6346569" y="2321773"/>
                  <a:ext cx="178977"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5" name="Line 72">
                  <a:extLst>
                    <a:ext uri="{FF2B5EF4-FFF2-40B4-BE49-F238E27FC236}">
                      <a16:creationId xmlns:a16="http://schemas.microsoft.com/office/drawing/2014/main" id="{D35DE44F-E735-4B3F-9C48-3A20F4C4689A}"/>
                    </a:ext>
                  </a:extLst>
                </p:cNvPr>
                <p:cNvSpPr>
                  <a:spLocks noChangeShapeType="1"/>
                </p:cNvSpPr>
                <p:nvPr/>
              </p:nvSpPr>
              <p:spPr bwMode="auto">
                <a:xfrm>
                  <a:off x="6534496" y="2321773"/>
                  <a:ext cx="0" cy="375254"/>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6" name="Oval 73">
                  <a:extLst>
                    <a:ext uri="{FF2B5EF4-FFF2-40B4-BE49-F238E27FC236}">
                      <a16:creationId xmlns:a16="http://schemas.microsoft.com/office/drawing/2014/main" id="{08A0BAFF-BB9F-422C-A239-63CCEC0798BA}"/>
                    </a:ext>
                  </a:extLst>
                </p:cNvPr>
                <p:cNvSpPr>
                  <a:spLocks noChangeArrowheads="1"/>
                </p:cNvSpPr>
                <p:nvPr/>
              </p:nvSpPr>
              <p:spPr bwMode="auto">
                <a:xfrm>
                  <a:off x="6320244" y="2296906"/>
                  <a:ext cx="34753" cy="49732"/>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7" name="Oval 74">
                  <a:extLst>
                    <a:ext uri="{FF2B5EF4-FFF2-40B4-BE49-F238E27FC236}">
                      <a16:creationId xmlns:a16="http://schemas.microsoft.com/office/drawing/2014/main" id="{ED485E43-B870-4358-9A93-B3AD1477DBDE}"/>
                    </a:ext>
                  </a:extLst>
                </p:cNvPr>
                <p:cNvSpPr>
                  <a:spLocks noChangeArrowheads="1"/>
                </p:cNvSpPr>
                <p:nvPr/>
              </p:nvSpPr>
              <p:spPr bwMode="auto">
                <a:xfrm>
                  <a:off x="6320244" y="2296906"/>
                  <a:ext cx="34753" cy="49732"/>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8" name="Oval 75">
                  <a:extLst>
                    <a:ext uri="{FF2B5EF4-FFF2-40B4-BE49-F238E27FC236}">
                      <a16:creationId xmlns:a16="http://schemas.microsoft.com/office/drawing/2014/main" id="{FEAA8210-5E04-447D-9CC1-36D1F0927F50}"/>
                    </a:ext>
                  </a:extLst>
                </p:cNvPr>
                <p:cNvSpPr>
                  <a:spLocks noChangeArrowheads="1"/>
                </p:cNvSpPr>
                <p:nvPr/>
              </p:nvSpPr>
              <p:spPr bwMode="auto">
                <a:xfrm>
                  <a:off x="6320244" y="2672160"/>
                  <a:ext cx="34753" cy="49732"/>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09" name="Oval 76">
                  <a:extLst>
                    <a:ext uri="{FF2B5EF4-FFF2-40B4-BE49-F238E27FC236}">
                      <a16:creationId xmlns:a16="http://schemas.microsoft.com/office/drawing/2014/main" id="{F6589599-DB9C-4021-A298-EE932C2ADEF3}"/>
                    </a:ext>
                  </a:extLst>
                </p:cNvPr>
                <p:cNvSpPr>
                  <a:spLocks noChangeArrowheads="1"/>
                </p:cNvSpPr>
                <p:nvPr/>
              </p:nvSpPr>
              <p:spPr bwMode="auto">
                <a:xfrm>
                  <a:off x="6320244" y="2672160"/>
                  <a:ext cx="34753" cy="49732"/>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10" name="Freeform 77">
                  <a:extLst>
                    <a:ext uri="{FF2B5EF4-FFF2-40B4-BE49-F238E27FC236}">
                      <a16:creationId xmlns:a16="http://schemas.microsoft.com/office/drawing/2014/main" id="{8FBC05F8-DED4-471D-BF18-0B232B903B7C}"/>
                    </a:ext>
                  </a:extLst>
                </p:cNvPr>
                <p:cNvSpPr>
                  <a:spLocks/>
                </p:cNvSpPr>
                <p:nvPr/>
              </p:nvSpPr>
              <p:spPr bwMode="auto">
                <a:xfrm>
                  <a:off x="6462817" y="2414456"/>
                  <a:ext cx="133798" cy="187628"/>
                </a:xfrm>
                <a:custGeom>
                  <a:avLst/>
                  <a:gdLst>
                    <a:gd name="T0" fmla="*/ 39 w 77"/>
                    <a:gd name="T1" fmla="*/ 0 h 83"/>
                    <a:gd name="T2" fmla="*/ 77 w 77"/>
                    <a:gd name="T3" fmla="*/ 83 h 83"/>
                    <a:gd name="T4" fmla="*/ 0 w 77"/>
                    <a:gd name="T5" fmla="*/ 83 h 83"/>
                    <a:gd name="T6" fmla="*/ 39 w 77"/>
                    <a:gd name="T7" fmla="*/ 0 h 83"/>
                  </a:gdLst>
                  <a:ahLst/>
                  <a:cxnLst>
                    <a:cxn ang="0">
                      <a:pos x="T0" y="T1"/>
                    </a:cxn>
                    <a:cxn ang="0">
                      <a:pos x="T2" y="T3"/>
                    </a:cxn>
                    <a:cxn ang="0">
                      <a:pos x="T4" y="T5"/>
                    </a:cxn>
                    <a:cxn ang="0">
                      <a:pos x="T6" y="T7"/>
                    </a:cxn>
                  </a:cxnLst>
                  <a:rect l="0" t="0" r="r" b="b"/>
                  <a:pathLst>
                    <a:path w="77" h="83">
                      <a:moveTo>
                        <a:pt x="39" y="0"/>
                      </a:moveTo>
                      <a:lnTo>
                        <a:pt x="77" y="83"/>
                      </a:lnTo>
                      <a:lnTo>
                        <a:pt x="0" y="83"/>
                      </a:ln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11" name="Freeform 78">
                  <a:extLst>
                    <a:ext uri="{FF2B5EF4-FFF2-40B4-BE49-F238E27FC236}">
                      <a16:creationId xmlns:a16="http://schemas.microsoft.com/office/drawing/2014/main" id="{35710B61-CA09-4785-9EF7-6C42D2266FE3}"/>
                    </a:ext>
                  </a:extLst>
                </p:cNvPr>
                <p:cNvSpPr>
                  <a:spLocks/>
                </p:cNvSpPr>
                <p:nvPr/>
              </p:nvSpPr>
              <p:spPr bwMode="auto">
                <a:xfrm>
                  <a:off x="6462817" y="2414456"/>
                  <a:ext cx="133798" cy="187628"/>
                </a:xfrm>
                <a:custGeom>
                  <a:avLst/>
                  <a:gdLst>
                    <a:gd name="T0" fmla="*/ 39 w 77"/>
                    <a:gd name="T1" fmla="*/ 0 h 83"/>
                    <a:gd name="T2" fmla="*/ 77 w 77"/>
                    <a:gd name="T3" fmla="*/ 83 h 83"/>
                    <a:gd name="T4" fmla="*/ 0 w 77"/>
                    <a:gd name="T5" fmla="*/ 83 h 83"/>
                    <a:gd name="T6" fmla="*/ 39 w 77"/>
                    <a:gd name="T7" fmla="*/ 0 h 83"/>
                  </a:gdLst>
                  <a:ahLst/>
                  <a:cxnLst>
                    <a:cxn ang="0">
                      <a:pos x="T0" y="T1"/>
                    </a:cxn>
                    <a:cxn ang="0">
                      <a:pos x="T2" y="T3"/>
                    </a:cxn>
                    <a:cxn ang="0">
                      <a:pos x="T4" y="T5"/>
                    </a:cxn>
                    <a:cxn ang="0">
                      <a:pos x="T6" y="T7"/>
                    </a:cxn>
                  </a:cxnLst>
                  <a:rect l="0" t="0" r="r" b="b"/>
                  <a:pathLst>
                    <a:path w="77" h="83">
                      <a:moveTo>
                        <a:pt x="39" y="0"/>
                      </a:moveTo>
                      <a:lnTo>
                        <a:pt x="77" y="83"/>
                      </a:lnTo>
                      <a:lnTo>
                        <a:pt x="0" y="83"/>
                      </a:lnTo>
                      <a:lnTo>
                        <a:pt x="39" y="0"/>
                      </a:ln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12" name="Line 79">
                  <a:extLst>
                    <a:ext uri="{FF2B5EF4-FFF2-40B4-BE49-F238E27FC236}">
                      <a16:creationId xmlns:a16="http://schemas.microsoft.com/office/drawing/2014/main" id="{BC372F2A-0D8A-45F3-BFE5-4D04F76CEDBA}"/>
                    </a:ext>
                  </a:extLst>
                </p:cNvPr>
                <p:cNvSpPr>
                  <a:spLocks noChangeShapeType="1"/>
                </p:cNvSpPr>
                <p:nvPr/>
              </p:nvSpPr>
              <p:spPr bwMode="auto">
                <a:xfrm>
                  <a:off x="6462817" y="2414456"/>
                  <a:ext cx="133798"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13" name="Oval 73">
                  <a:extLst>
                    <a:ext uri="{FF2B5EF4-FFF2-40B4-BE49-F238E27FC236}">
                      <a16:creationId xmlns:a16="http://schemas.microsoft.com/office/drawing/2014/main" id="{D95AFAD1-9F01-424F-A033-D17E38B14ADD}"/>
                    </a:ext>
                  </a:extLst>
                </p:cNvPr>
                <p:cNvSpPr>
                  <a:spLocks noChangeArrowheads="1"/>
                </p:cNvSpPr>
                <p:nvPr/>
              </p:nvSpPr>
              <p:spPr bwMode="auto">
                <a:xfrm>
                  <a:off x="6319758" y="2961969"/>
                  <a:ext cx="34753" cy="49732"/>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114" name="TextBox 113">
                  <a:extLst>
                    <a:ext uri="{FF2B5EF4-FFF2-40B4-BE49-F238E27FC236}">
                      <a16:creationId xmlns:a16="http://schemas.microsoft.com/office/drawing/2014/main" id="{3A5613C2-CD1D-4950-8A12-2C0F2546B7AA}"/>
                    </a:ext>
                  </a:extLst>
                </p:cNvPr>
                <p:cNvSpPr txBox="1"/>
                <p:nvPr/>
              </p:nvSpPr>
              <p:spPr bwMode="auto">
                <a:xfrm>
                  <a:off x="6643084" y="2451240"/>
                  <a:ext cx="357273" cy="118955"/>
                </a:xfrm>
                <a:prstGeom prst="rect">
                  <a:avLst/>
                </a:prstGeom>
                <a:noFill/>
                <a:ln w="9525">
                  <a:noFill/>
                  <a:miter lim="800000"/>
                  <a:headEnd/>
                  <a:tailEnd/>
                </a:ln>
                <a:effectLst/>
              </p:spPr>
              <p:txBody>
                <a:bodyPr wrap="square" lIns="0" tIns="0" rIns="0" bIns="0" rtlCol="0" anchor="ctr" anchorCtr="0">
                  <a:spAutoFit/>
                </a:bodyPr>
                <a:lstStyle/>
                <a:p>
                  <a:pPr defTabSz="914377" eaLnBrk="0" fontAlgn="auto" hangingPunct="0">
                    <a:spcBef>
                      <a:spcPts val="0"/>
                    </a:spcBef>
                    <a:spcAft>
                      <a:spcPts val="300"/>
                    </a:spcAft>
                    <a:buClr>
                      <a:srgbClr val="E30034"/>
                    </a:buClr>
                    <a:defRPr/>
                  </a:pPr>
                  <a:r>
                    <a:rPr lang="en-US" sz="1051" b="1" kern="0" dirty="0">
                      <a:solidFill>
                        <a:schemeClr val="tx2"/>
                      </a:solidFill>
                      <a:latin typeface="Arial"/>
                      <a:ea typeface="Verdana" pitchFamily="34" charset="0"/>
                      <a:cs typeface="Verdana" pitchFamily="34" charset="0"/>
                    </a:rPr>
                    <a:t>S1...Sn</a:t>
                  </a:r>
                </a:p>
              </p:txBody>
            </p:sp>
            <p:sp>
              <p:nvSpPr>
                <p:cNvPr id="115" name="TextBox 114">
                  <a:extLst>
                    <a:ext uri="{FF2B5EF4-FFF2-40B4-BE49-F238E27FC236}">
                      <a16:creationId xmlns:a16="http://schemas.microsoft.com/office/drawing/2014/main" id="{590A4791-EC8A-44DD-BB20-98BA62AB4639}"/>
                    </a:ext>
                  </a:extLst>
                </p:cNvPr>
                <p:cNvSpPr txBox="1"/>
                <p:nvPr/>
              </p:nvSpPr>
              <p:spPr bwMode="auto">
                <a:xfrm>
                  <a:off x="6643140" y="3439749"/>
                  <a:ext cx="357214" cy="118955"/>
                </a:xfrm>
                <a:prstGeom prst="rect">
                  <a:avLst/>
                </a:prstGeom>
                <a:noFill/>
                <a:ln w="9525">
                  <a:noFill/>
                  <a:miter lim="800000"/>
                  <a:headEnd/>
                  <a:tailEnd/>
                </a:ln>
                <a:effectLst/>
              </p:spPr>
              <p:txBody>
                <a:bodyPr wrap="square" lIns="0" tIns="0" rIns="0" bIns="0" rtlCol="0" anchor="ctr" anchorCtr="0">
                  <a:spAutoFit/>
                </a:bodyPr>
                <a:lstStyle/>
                <a:p>
                  <a:pPr defTabSz="914377" eaLnBrk="0" fontAlgn="auto" hangingPunct="0">
                    <a:spcBef>
                      <a:spcPts val="0"/>
                    </a:spcBef>
                    <a:spcAft>
                      <a:spcPts val="300"/>
                    </a:spcAft>
                    <a:buClr>
                      <a:srgbClr val="E30034"/>
                    </a:buClr>
                    <a:defRPr/>
                  </a:pPr>
                  <a:r>
                    <a:rPr lang="en-US" sz="1051" b="1" kern="0" dirty="0">
                      <a:solidFill>
                        <a:schemeClr val="tx2"/>
                      </a:solidFill>
                      <a:latin typeface="Arial"/>
                      <a:ea typeface="Verdana" pitchFamily="34" charset="0"/>
                      <a:cs typeface="Verdana" pitchFamily="34" charset="0"/>
                    </a:rPr>
                    <a:t>S4...Sn</a:t>
                  </a:r>
                </a:p>
              </p:txBody>
            </p:sp>
          </p:grpSp>
          <p:grpSp>
            <p:nvGrpSpPr>
              <p:cNvPr id="35" name="Group 34">
                <a:extLst>
                  <a:ext uri="{FF2B5EF4-FFF2-40B4-BE49-F238E27FC236}">
                    <a16:creationId xmlns:a16="http://schemas.microsoft.com/office/drawing/2014/main" id="{09EFB173-8DD1-44C8-AE87-2FE4107C87BE}"/>
                  </a:ext>
                </a:extLst>
              </p:cNvPr>
              <p:cNvGrpSpPr/>
              <p:nvPr/>
            </p:nvGrpSpPr>
            <p:grpSpPr>
              <a:xfrm>
                <a:off x="4859627" y="2470952"/>
                <a:ext cx="1462181" cy="843084"/>
                <a:chOff x="4885025" y="2470952"/>
                <a:chExt cx="1462181" cy="843084"/>
              </a:xfrm>
            </p:grpSpPr>
            <p:grpSp>
              <p:nvGrpSpPr>
                <p:cNvPr id="36" name="Group 35">
                  <a:extLst>
                    <a:ext uri="{FF2B5EF4-FFF2-40B4-BE49-F238E27FC236}">
                      <a16:creationId xmlns:a16="http://schemas.microsoft.com/office/drawing/2014/main" id="{FEB96E34-56BB-48D4-9502-7BC3E3F2E0DF}"/>
                    </a:ext>
                  </a:extLst>
                </p:cNvPr>
                <p:cNvGrpSpPr/>
                <p:nvPr/>
              </p:nvGrpSpPr>
              <p:grpSpPr>
                <a:xfrm>
                  <a:off x="4885025" y="2659977"/>
                  <a:ext cx="1462181" cy="654059"/>
                  <a:chOff x="5477313" y="3355887"/>
                  <a:chExt cx="1393891" cy="459318"/>
                </a:xfrm>
              </p:grpSpPr>
              <p:grpSp>
                <p:nvGrpSpPr>
                  <p:cNvPr id="39" name="Group 38">
                    <a:extLst>
                      <a:ext uri="{FF2B5EF4-FFF2-40B4-BE49-F238E27FC236}">
                        <a16:creationId xmlns:a16="http://schemas.microsoft.com/office/drawing/2014/main" id="{D1AC0DF9-C118-4E97-A82B-F1291E6A0C75}"/>
                      </a:ext>
                    </a:extLst>
                  </p:cNvPr>
                  <p:cNvGrpSpPr/>
                  <p:nvPr/>
                </p:nvGrpSpPr>
                <p:grpSpPr>
                  <a:xfrm rot="16200000">
                    <a:off x="5648855" y="3440555"/>
                    <a:ext cx="450850" cy="298450"/>
                    <a:chOff x="6318250" y="3036888"/>
                    <a:chExt cx="450850" cy="298450"/>
                  </a:xfrm>
                </p:grpSpPr>
                <p:sp>
                  <p:nvSpPr>
                    <p:cNvPr id="60" name="Line 45">
                      <a:extLst>
                        <a:ext uri="{FF2B5EF4-FFF2-40B4-BE49-F238E27FC236}">
                          <a16:creationId xmlns:a16="http://schemas.microsoft.com/office/drawing/2014/main" id="{8B40F7C0-939A-4EFA-8CE6-198C09B7EEBB}"/>
                        </a:ext>
                      </a:extLst>
                    </p:cNvPr>
                    <p:cNvSpPr>
                      <a:spLocks noChangeShapeType="1"/>
                    </p:cNvSpPr>
                    <p:nvPr/>
                  </p:nvSpPr>
                  <p:spPr bwMode="auto">
                    <a:xfrm>
                      <a:off x="6424613" y="3063876"/>
                      <a:ext cx="0" cy="25400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1" name="Line 46">
                      <a:extLst>
                        <a:ext uri="{FF2B5EF4-FFF2-40B4-BE49-F238E27FC236}">
                          <a16:creationId xmlns:a16="http://schemas.microsoft.com/office/drawing/2014/main" id="{67DC7E2D-C29D-4EA3-8CC3-A1B828EC0462}"/>
                        </a:ext>
                      </a:extLst>
                    </p:cNvPr>
                    <p:cNvSpPr>
                      <a:spLocks noChangeShapeType="1"/>
                    </p:cNvSpPr>
                    <p:nvPr/>
                  </p:nvSpPr>
                  <p:spPr bwMode="auto">
                    <a:xfrm>
                      <a:off x="6383338" y="3098801"/>
                      <a:ext cx="0" cy="176213"/>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2" name="Line 47">
                      <a:extLst>
                        <a:ext uri="{FF2B5EF4-FFF2-40B4-BE49-F238E27FC236}">
                          <a16:creationId xmlns:a16="http://schemas.microsoft.com/office/drawing/2014/main" id="{F303F0C5-0507-40B9-90A3-A07196DE29A2}"/>
                        </a:ext>
                      </a:extLst>
                    </p:cNvPr>
                    <p:cNvSpPr>
                      <a:spLocks noChangeShapeType="1"/>
                    </p:cNvSpPr>
                    <p:nvPr/>
                  </p:nvSpPr>
                  <p:spPr bwMode="auto">
                    <a:xfrm flipV="1">
                      <a:off x="6424613" y="3054351"/>
                      <a:ext cx="122237" cy="8890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3" name="Line 48">
                      <a:extLst>
                        <a:ext uri="{FF2B5EF4-FFF2-40B4-BE49-F238E27FC236}">
                          <a16:creationId xmlns:a16="http://schemas.microsoft.com/office/drawing/2014/main" id="{65543105-B687-43AD-A5A1-9A597B7370FE}"/>
                        </a:ext>
                      </a:extLst>
                    </p:cNvPr>
                    <p:cNvSpPr>
                      <a:spLocks noChangeShapeType="1"/>
                    </p:cNvSpPr>
                    <p:nvPr/>
                  </p:nvSpPr>
                  <p:spPr bwMode="auto">
                    <a:xfrm>
                      <a:off x="6318250" y="3275013"/>
                      <a:ext cx="65087"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4" name="Line 50">
                      <a:extLst>
                        <a:ext uri="{FF2B5EF4-FFF2-40B4-BE49-F238E27FC236}">
                          <a16:creationId xmlns:a16="http://schemas.microsoft.com/office/drawing/2014/main" id="{26C855CF-E7DA-490A-9B82-C6AFB7BCC43B}"/>
                        </a:ext>
                      </a:extLst>
                    </p:cNvPr>
                    <p:cNvSpPr>
                      <a:spLocks noChangeShapeType="1"/>
                    </p:cNvSpPr>
                    <p:nvPr/>
                  </p:nvSpPr>
                  <p:spPr bwMode="auto">
                    <a:xfrm flipH="1" flipV="1">
                      <a:off x="6424613" y="3230563"/>
                      <a:ext cx="69850" cy="5080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5" name="Freeform 51">
                      <a:extLst>
                        <a:ext uri="{FF2B5EF4-FFF2-40B4-BE49-F238E27FC236}">
                          <a16:creationId xmlns:a16="http://schemas.microsoft.com/office/drawing/2014/main" id="{3471D3C6-B621-418B-B950-B7FB5220EC8A}"/>
                        </a:ext>
                      </a:extLst>
                    </p:cNvPr>
                    <p:cNvSpPr>
                      <a:spLocks/>
                    </p:cNvSpPr>
                    <p:nvPr/>
                  </p:nvSpPr>
                  <p:spPr bwMode="auto">
                    <a:xfrm>
                      <a:off x="6477000" y="3257551"/>
                      <a:ext cx="69850" cy="60325"/>
                    </a:xfrm>
                    <a:custGeom>
                      <a:avLst/>
                      <a:gdLst>
                        <a:gd name="T0" fmla="*/ 0 w 44"/>
                        <a:gd name="T1" fmla="*/ 26 h 38"/>
                        <a:gd name="T2" fmla="*/ 44 w 44"/>
                        <a:gd name="T3" fmla="*/ 38 h 38"/>
                        <a:gd name="T4" fmla="*/ 16 w 44"/>
                        <a:gd name="T5" fmla="*/ 0 h 38"/>
                        <a:gd name="T6" fmla="*/ 0 w 44"/>
                        <a:gd name="T7" fmla="*/ 26 h 38"/>
                      </a:gdLst>
                      <a:ahLst/>
                      <a:cxnLst>
                        <a:cxn ang="0">
                          <a:pos x="T0" y="T1"/>
                        </a:cxn>
                        <a:cxn ang="0">
                          <a:pos x="T2" y="T3"/>
                        </a:cxn>
                        <a:cxn ang="0">
                          <a:pos x="T4" y="T5"/>
                        </a:cxn>
                        <a:cxn ang="0">
                          <a:pos x="T6" y="T7"/>
                        </a:cxn>
                      </a:cxnLst>
                      <a:rect l="0" t="0" r="r" b="b"/>
                      <a:pathLst>
                        <a:path w="44" h="38">
                          <a:moveTo>
                            <a:pt x="0" y="26"/>
                          </a:moveTo>
                          <a:lnTo>
                            <a:pt x="44" y="38"/>
                          </a:lnTo>
                          <a:lnTo>
                            <a:pt x="16" y="0"/>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6" name="Line 52">
                      <a:extLst>
                        <a:ext uri="{FF2B5EF4-FFF2-40B4-BE49-F238E27FC236}">
                          <a16:creationId xmlns:a16="http://schemas.microsoft.com/office/drawing/2014/main" id="{32901D35-BE51-4610-AF62-E30A42576C97}"/>
                        </a:ext>
                      </a:extLst>
                    </p:cNvPr>
                    <p:cNvSpPr>
                      <a:spLocks noChangeShapeType="1"/>
                    </p:cNvSpPr>
                    <p:nvPr/>
                  </p:nvSpPr>
                  <p:spPr bwMode="auto">
                    <a:xfrm>
                      <a:off x="6546850" y="3317876"/>
                      <a:ext cx="16510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7" name="Line 53">
                      <a:extLst>
                        <a:ext uri="{FF2B5EF4-FFF2-40B4-BE49-F238E27FC236}">
                          <a16:creationId xmlns:a16="http://schemas.microsoft.com/office/drawing/2014/main" id="{065BFC8A-C243-419A-ACD3-AD103AA99B07}"/>
                        </a:ext>
                      </a:extLst>
                    </p:cNvPr>
                    <p:cNvSpPr>
                      <a:spLocks noChangeShapeType="1"/>
                    </p:cNvSpPr>
                    <p:nvPr/>
                  </p:nvSpPr>
                  <p:spPr bwMode="auto">
                    <a:xfrm>
                      <a:off x="6546850" y="3054351"/>
                      <a:ext cx="16510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8" name="Line 54">
                      <a:extLst>
                        <a:ext uri="{FF2B5EF4-FFF2-40B4-BE49-F238E27FC236}">
                          <a16:creationId xmlns:a16="http://schemas.microsoft.com/office/drawing/2014/main" id="{42E0B0D5-4F27-4442-92AE-3C97D58FCCD8}"/>
                        </a:ext>
                      </a:extLst>
                    </p:cNvPr>
                    <p:cNvSpPr>
                      <a:spLocks noChangeShapeType="1"/>
                    </p:cNvSpPr>
                    <p:nvPr/>
                  </p:nvSpPr>
                  <p:spPr bwMode="auto">
                    <a:xfrm>
                      <a:off x="6711950" y="3054351"/>
                      <a:ext cx="0" cy="263525"/>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69" name="Oval 55">
                      <a:extLst>
                        <a:ext uri="{FF2B5EF4-FFF2-40B4-BE49-F238E27FC236}">
                          <a16:creationId xmlns:a16="http://schemas.microsoft.com/office/drawing/2014/main" id="{367AF7C4-6452-4544-B156-46E250B235EF}"/>
                        </a:ext>
                      </a:extLst>
                    </p:cNvPr>
                    <p:cNvSpPr>
                      <a:spLocks noChangeArrowheads="1"/>
                    </p:cNvSpPr>
                    <p:nvPr/>
                  </p:nvSpPr>
                  <p:spPr bwMode="auto">
                    <a:xfrm>
                      <a:off x="6530975" y="3036888"/>
                      <a:ext cx="33337" cy="36513"/>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0" name="Oval 56">
                      <a:extLst>
                        <a:ext uri="{FF2B5EF4-FFF2-40B4-BE49-F238E27FC236}">
                          <a16:creationId xmlns:a16="http://schemas.microsoft.com/office/drawing/2014/main" id="{86479360-FDBB-4CAE-8701-2AA336D4E75E}"/>
                        </a:ext>
                      </a:extLst>
                    </p:cNvPr>
                    <p:cNvSpPr>
                      <a:spLocks noChangeArrowheads="1"/>
                    </p:cNvSpPr>
                    <p:nvPr/>
                  </p:nvSpPr>
                  <p:spPr bwMode="auto">
                    <a:xfrm>
                      <a:off x="6530975" y="3036888"/>
                      <a:ext cx="33337" cy="36513"/>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1" name="Oval 57">
                      <a:extLst>
                        <a:ext uri="{FF2B5EF4-FFF2-40B4-BE49-F238E27FC236}">
                          <a16:creationId xmlns:a16="http://schemas.microsoft.com/office/drawing/2014/main" id="{B461564B-9E68-445F-89A0-B9C990749057}"/>
                        </a:ext>
                      </a:extLst>
                    </p:cNvPr>
                    <p:cNvSpPr>
                      <a:spLocks noChangeArrowheads="1"/>
                    </p:cNvSpPr>
                    <p:nvPr/>
                  </p:nvSpPr>
                  <p:spPr bwMode="auto">
                    <a:xfrm>
                      <a:off x="6530975" y="3300413"/>
                      <a:ext cx="33337" cy="34925"/>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2" name="Oval 58">
                      <a:extLst>
                        <a:ext uri="{FF2B5EF4-FFF2-40B4-BE49-F238E27FC236}">
                          <a16:creationId xmlns:a16="http://schemas.microsoft.com/office/drawing/2014/main" id="{9BDCF23E-25B1-4A35-A792-78F03D1A1AF5}"/>
                        </a:ext>
                      </a:extLst>
                    </p:cNvPr>
                    <p:cNvSpPr>
                      <a:spLocks noChangeArrowheads="1"/>
                    </p:cNvSpPr>
                    <p:nvPr/>
                  </p:nvSpPr>
                  <p:spPr bwMode="auto">
                    <a:xfrm>
                      <a:off x="6530975" y="3300413"/>
                      <a:ext cx="33337" cy="34925"/>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3" name="Freeform 59">
                      <a:extLst>
                        <a:ext uri="{FF2B5EF4-FFF2-40B4-BE49-F238E27FC236}">
                          <a16:creationId xmlns:a16="http://schemas.microsoft.com/office/drawing/2014/main" id="{F531D6F1-8311-4A65-9420-61B727328FDB}"/>
                        </a:ext>
                      </a:extLst>
                    </p:cNvPr>
                    <p:cNvSpPr>
                      <a:spLocks/>
                    </p:cNvSpPr>
                    <p:nvPr/>
                  </p:nvSpPr>
                  <p:spPr bwMode="auto">
                    <a:xfrm>
                      <a:off x="6645275" y="3121026"/>
                      <a:ext cx="123825" cy="131763"/>
                    </a:xfrm>
                    <a:custGeom>
                      <a:avLst/>
                      <a:gdLst>
                        <a:gd name="T0" fmla="*/ 39 w 78"/>
                        <a:gd name="T1" fmla="*/ 0 h 83"/>
                        <a:gd name="T2" fmla="*/ 78 w 78"/>
                        <a:gd name="T3" fmla="*/ 83 h 83"/>
                        <a:gd name="T4" fmla="*/ 0 w 78"/>
                        <a:gd name="T5" fmla="*/ 83 h 83"/>
                        <a:gd name="T6" fmla="*/ 39 w 78"/>
                        <a:gd name="T7" fmla="*/ 0 h 83"/>
                      </a:gdLst>
                      <a:ahLst/>
                      <a:cxnLst>
                        <a:cxn ang="0">
                          <a:pos x="T0" y="T1"/>
                        </a:cxn>
                        <a:cxn ang="0">
                          <a:pos x="T2" y="T3"/>
                        </a:cxn>
                        <a:cxn ang="0">
                          <a:pos x="T4" y="T5"/>
                        </a:cxn>
                        <a:cxn ang="0">
                          <a:pos x="T6" y="T7"/>
                        </a:cxn>
                      </a:cxnLst>
                      <a:rect l="0" t="0" r="r" b="b"/>
                      <a:pathLst>
                        <a:path w="78" h="83">
                          <a:moveTo>
                            <a:pt x="39" y="0"/>
                          </a:moveTo>
                          <a:lnTo>
                            <a:pt x="78" y="83"/>
                          </a:lnTo>
                          <a:lnTo>
                            <a:pt x="0" y="83"/>
                          </a:ln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4" name="Freeform 60">
                      <a:extLst>
                        <a:ext uri="{FF2B5EF4-FFF2-40B4-BE49-F238E27FC236}">
                          <a16:creationId xmlns:a16="http://schemas.microsoft.com/office/drawing/2014/main" id="{8D623307-0429-4746-B7F8-2771188527D1}"/>
                        </a:ext>
                      </a:extLst>
                    </p:cNvPr>
                    <p:cNvSpPr>
                      <a:spLocks/>
                    </p:cNvSpPr>
                    <p:nvPr/>
                  </p:nvSpPr>
                  <p:spPr bwMode="auto">
                    <a:xfrm>
                      <a:off x="6645275" y="3121026"/>
                      <a:ext cx="123825" cy="131763"/>
                    </a:xfrm>
                    <a:custGeom>
                      <a:avLst/>
                      <a:gdLst>
                        <a:gd name="T0" fmla="*/ 39 w 78"/>
                        <a:gd name="T1" fmla="*/ 0 h 83"/>
                        <a:gd name="T2" fmla="*/ 78 w 78"/>
                        <a:gd name="T3" fmla="*/ 83 h 83"/>
                        <a:gd name="T4" fmla="*/ 0 w 78"/>
                        <a:gd name="T5" fmla="*/ 83 h 83"/>
                        <a:gd name="T6" fmla="*/ 39 w 78"/>
                        <a:gd name="T7" fmla="*/ 0 h 83"/>
                      </a:gdLst>
                      <a:ahLst/>
                      <a:cxnLst>
                        <a:cxn ang="0">
                          <a:pos x="T0" y="T1"/>
                        </a:cxn>
                        <a:cxn ang="0">
                          <a:pos x="T2" y="T3"/>
                        </a:cxn>
                        <a:cxn ang="0">
                          <a:pos x="T4" y="T5"/>
                        </a:cxn>
                        <a:cxn ang="0">
                          <a:pos x="T6" y="T7"/>
                        </a:cxn>
                      </a:cxnLst>
                      <a:rect l="0" t="0" r="r" b="b"/>
                      <a:pathLst>
                        <a:path w="78" h="83">
                          <a:moveTo>
                            <a:pt x="39" y="0"/>
                          </a:moveTo>
                          <a:lnTo>
                            <a:pt x="78" y="83"/>
                          </a:lnTo>
                          <a:lnTo>
                            <a:pt x="0" y="83"/>
                          </a:lnTo>
                          <a:lnTo>
                            <a:pt x="39" y="0"/>
                          </a:ln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75" name="Line 61">
                      <a:extLst>
                        <a:ext uri="{FF2B5EF4-FFF2-40B4-BE49-F238E27FC236}">
                          <a16:creationId xmlns:a16="http://schemas.microsoft.com/office/drawing/2014/main" id="{40D3CD62-7CB4-48FD-BC55-F7D2FD8C228D}"/>
                        </a:ext>
                      </a:extLst>
                    </p:cNvPr>
                    <p:cNvSpPr>
                      <a:spLocks noChangeShapeType="1"/>
                    </p:cNvSpPr>
                    <p:nvPr/>
                  </p:nvSpPr>
                  <p:spPr bwMode="auto">
                    <a:xfrm>
                      <a:off x="6645275" y="3121026"/>
                      <a:ext cx="123825"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grpSp>
              <p:grpSp>
                <p:nvGrpSpPr>
                  <p:cNvPr id="40" name="Group 39">
                    <a:extLst>
                      <a:ext uri="{FF2B5EF4-FFF2-40B4-BE49-F238E27FC236}">
                        <a16:creationId xmlns:a16="http://schemas.microsoft.com/office/drawing/2014/main" id="{CFDD3769-7BBE-4825-B8F1-782A15456D4A}"/>
                      </a:ext>
                    </a:extLst>
                  </p:cNvPr>
                  <p:cNvGrpSpPr/>
                  <p:nvPr/>
                </p:nvGrpSpPr>
                <p:grpSpPr>
                  <a:xfrm rot="5400000">
                    <a:off x="6164011" y="3432087"/>
                    <a:ext cx="450850" cy="298450"/>
                    <a:chOff x="6318250" y="3036888"/>
                    <a:chExt cx="450850" cy="298450"/>
                  </a:xfrm>
                </p:grpSpPr>
                <p:sp>
                  <p:nvSpPr>
                    <p:cNvPr id="44" name="Line 45">
                      <a:extLst>
                        <a:ext uri="{FF2B5EF4-FFF2-40B4-BE49-F238E27FC236}">
                          <a16:creationId xmlns:a16="http://schemas.microsoft.com/office/drawing/2014/main" id="{552EF81C-B9A7-423D-A6FE-A897D2F384D3}"/>
                        </a:ext>
                      </a:extLst>
                    </p:cNvPr>
                    <p:cNvSpPr>
                      <a:spLocks noChangeShapeType="1"/>
                    </p:cNvSpPr>
                    <p:nvPr/>
                  </p:nvSpPr>
                  <p:spPr bwMode="auto">
                    <a:xfrm>
                      <a:off x="6424613" y="3063876"/>
                      <a:ext cx="0" cy="25400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45" name="Line 46">
                      <a:extLst>
                        <a:ext uri="{FF2B5EF4-FFF2-40B4-BE49-F238E27FC236}">
                          <a16:creationId xmlns:a16="http://schemas.microsoft.com/office/drawing/2014/main" id="{2541E006-9791-4FEC-9929-F5E1351D4341}"/>
                        </a:ext>
                      </a:extLst>
                    </p:cNvPr>
                    <p:cNvSpPr>
                      <a:spLocks noChangeShapeType="1"/>
                    </p:cNvSpPr>
                    <p:nvPr/>
                  </p:nvSpPr>
                  <p:spPr bwMode="auto">
                    <a:xfrm>
                      <a:off x="6383338" y="3098801"/>
                      <a:ext cx="0" cy="176213"/>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46" name="Line 47">
                      <a:extLst>
                        <a:ext uri="{FF2B5EF4-FFF2-40B4-BE49-F238E27FC236}">
                          <a16:creationId xmlns:a16="http://schemas.microsoft.com/office/drawing/2014/main" id="{5D72E95F-2B26-4B0A-8E65-49645A15A1E5}"/>
                        </a:ext>
                      </a:extLst>
                    </p:cNvPr>
                    <p:cNvSpPr>
                      <a:spLocks noChangeShapeType="1"/>
                    </p:cNvSpPr>
                    <p:nvPr/>
                  </p:nvSpPr>
                  <p:spPr bwMode="auto">
                    <a:xfrm flipV="1">
                      <a:off x="6424613" y="3054351"/>
                      <a:ext cx="122237" cy="8890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47" name="Line 48">
                      <a:extLst>
                        <a:ext uri="{FF2B5EF4-FFF2-40B4-BE49-F238E27FC236}">
                          <a16:creationId xmlns:a16="http://schemas.microsoft.com/office/drawing/2014/main" id="{8AFCB649-C253-494D-A132-EE6C1132C9E3}"/>
                        </a:ext>
                      </a:extLst>
                    </p:cNvPr>
                    <p:cNvSpPr>
                      <a:spLocks noChangeShapeType="1"/>
                    </p:cNvSpPr>
                    <p:nvPr/>
                  </p:nvSpPr>
                  <p:spPr bwMode="auto">
                    <a:xfrm>
                      <a:off x="6318250" y="3275013"/>
                      <a:ext cx="65087"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48" name="Line 50">
                      <a:extLst>
                        <a:ext uri="{FF2B5EF4-FFF2-40B4-BE49-F238E27FC236}">
                          <a16:creationId xmlns:a16="http://schemas.microsoft.com/office/drawing/2014/main" id="{01971E07-BCEE-487E-B523-DD28E8FA729A}"/>
                        </a:ext>
                      </a:extLst>
                    </p:cNvPr>
                    <p:cNvSpPr>
                      <a:spLocks noChangeShapeType="1"/>
                    </p:cNvSpPr>
                    <p:nvPr/>
                  </p:nvSpPr>
                  <p:spPr bwMode="auto">
                    <a:xfrm flipH="1" flipV="1">
                      <a:off x="6424613" y="3230563"/>
                      <a:ext cx="69850" cy="5080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49" name="Freeform 51">
                      <a:extLst>
                        <a:ext uri="{FF2B5EF4-FFF2-40B4-BE49-F238E27FC236}">
                          <a16:creationId xmlns:a16="http://schemas.microsoft.com/office/drawing/2014/main" id="{E01CC38D-3421-4E6C-BE6F-8D003C769122}"/>
                        </a:ext>
                      </a:extLst>
                    </p:cNvPr>
                    <p:cNvSpPr>
                      <a:spLocks/>
                    </p:cNvSpPr>
                    <p:nvPr/>
                  </p:nvSpPr>
                  <p:spPr bwMode="auto">
                    <a:xfrm>
                      <a:off x="6477000" y="3257551"/>
                      <a:ext cx="69850" cy="60325"/>
                    </a:xfrm>
                    <a:custGeom>
                      <a:avLst/>
                      <a:gdLst>
                        <a:gd name="T0" fmla="*/ 0 w 44"/>
                        <a:gd name="T1" fmla="*/ 26 h 38"/>
                        <a:gd name="T2" fmla="*/ 44 w 44"/>
                        <a:gd name="T3" fmla="*/ 38 h 38"/>
                        <a:gd name="T4" fmla="*/ 16 w 44"/>
                        <a:gd name="T5" fmla="*/ 0 h 38"/>
                        <a:gd name="T6" fmla="*/ 0 w 44"/>
                        <a:gd name="T7" fmla="*/ 26 h 38"/>
                      </a:gdLst>
                      <a:ahLst/>
                      <a:cxnLst>
                        <a:cxn ang="0">
                          <a:pos x="T0" y="T1"/>
                        </a:cxn>
                        <a:cxn ang="0">
                          <a:pos x="T2" y="T3"/>
                        </a:cxn>
                        <a:cxn ang="0">
                          <a:pos x="T4" y="T5"/>
                        </a:cxn>
                        <a:cxn ang="0">
                          <a:pos x="T6" y="T7"/>
                        </a:cxn>
                      </a:cxnLst>
                      <a:rect l="0" t="0" r="r" b="b"/>
                      <a:pathLst>
                        <a:path w="44" h="38">
                          <a:moveTo>
                            <a:pt x="0" y="26"/>
                          </a:moveTo>
                          <a:lnTo>
                            <a:pt x="44" y="38"/>
                          </a:lnTo>
                          <a:lnTo>
                            <a:pt x="16" y="0"/>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0" name="Line 52">
                      <a:extLst>
                        <a:ext uri="{FF2B5EF4-FFF2-40B4-BE49-F238E27FC236}">
                          <a16:creationId xmlns:a16="http://schemas.microsoft.com/office/drawing/2014/main" id="{C31AF7A3-0274-4F06-95DD-3794C6DCBA29}"/>
                        </a:ext>
                      </a:extLst>
                    </p:cNvPr>
                    <p:cNvSpPr>
                      <a:spLocks noChangeShapeType="1"/>
                    </p:cNvSpPr>
                    <p:nvPr/>
                  </p:nvSpPr>
                  <p:spPr bwMode="auto">
                    <a:xfrm>
                      <a:off x="6546850" y="3317876"/>
                      <a:ext cx="16510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1" name="Line 53">
                      <a:extLst>
                        <a:ext uri="{FF2B5EF4-FFF2-40B4-BE49-F238E27FC236}">
                          <a16:creationId xmlns:a16="http://schemas.microsoft.com/office/drawing/2014/main" id="{24B0F40D-1A0A-4D51-9A19-494084FE9019}"/>
                        </a:ext>
                      </a:extLst>
                    </p:cNvPr>
                    <p:cNvSpPr>
                      <a:spLocks noChangeShapeType="1"/>
                    </p:cNvSpPr>
                    <p:nvPr/>
                  </p:nvSpPr>
                  <p:spPr bwMode="auto">
                    <a:xfrm>
                      <a:off x="6546850" y="3054351"/>
                      <a:ext cx="16510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2" name="Line 54">
                      <a:extLst>
                        <a:ext uri="{FF2B5EF4-FFF2-40B4-BE49-F238E27FC236}">
                          <a16:creationId xmlns:a16="http://schemas.microsoft.com/office/drawing/2014/main" id="{766FB9AC-1CC0-4257-82BC-3877CA94BA42}"/>
                        </a:ext>
                      </a:extLst>
                    </p:cNvPr>
                    <p:cNvSpPr>
                      <a:spLocks noChangeShapeType="1"/>
                    </p:cNvSpPr>
                    <p:nvPr/>
                  </p:nvSpPr>
                  <p:spPr bwMode="auto">
                    <a:xfrm>
                      <a:off x="6711950" y="3054351"/>
                      <a:ext cx="0" cy="263525"/>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3" name="Oval 55">
                      <a:extLst>
                        <a:ext uri="{FF2B5EF4-FFF2-40B4-BE49-F238E27FC236}">
                          <a16:creationId xmlns:a16="http://schemas.microsoft.com/office/drawing/2014/main" id="{14224312-7634-4109-918D-70BA86B81732}"/>
                        </a:ext>
                      </a:extLst>
                    </p:cNvPr>
                    <p:cNvSpPr>
                      <a:spLocks noChangeArrowheads="1"/>
                    </p:cNvSpPr>
                    <p:nvPr/>
                  </p:nvSpPr>
                  <p:spPr bwMode="auto">
                    <a:xfrm>
                      <a:off x="6530975" y="3036888"/>
                      <a:ext cx="33337" cy="36513"/>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4" name="Oval 56">
                      <a:extLst>
                        <a:ext uri="{FF2B5EF4-FFF2-40B4-BE49-F238E27FC236}">
                          <a16:creationId xmlns:a16="http://schemas.microsoft.com/office/drawing/2014/main" id="{3BC3D910-2BE1-4085-8018-302627411CE3}"/>
                        </a:ext>
                      </a:extLst>
                    </p:cNvPr>
                    <p:cNvSpPr>
                      <a:spLocks noChangeArrowheads="1"/>
                    </p:cNvSpPr>
                    <p:nvPr/>
                  </p:nvSpPr>
                  <p:spPr bwMode="auto">
                    <a:xfrm>
                      <a:off x="6530975" y="3036888"/>
                      <a:ext cx="33337" cy="36513"/>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5" name="Oval 57">
                      <a:extLst>
                        <a:ext uri="{FF2B5EF4-FFF2-40B4-BE49-F238E27FC236}">
                          <a16:creationId xmlns:a16="http://schemas.microsoft.com/office/drawing/2014/main" id="{FBE22A65-5BF3-45AD-AEC0-CEB909858D4C}"/>
                        </a:ext>
                      </a:extLst>
                    </p:cNvPr>
                    <p:cNvSpPr>
                      <a:spLocks noChangeArrowheads="1"/>
                    </p:cNvSpPr>
                    <p:nvPr/>
                  </p:nvSpPr>
                  <p:spPr bwMode="auto">
                    <a:xfrm>
                      <a:off x="6530975" y="3300413"/>
                      <a:ext cx="33337" cy="34925"/>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6" name="Oval 58">
                      <a:extLst>
                        <a:ext uri="{FF2B5EF4-FFF2-40B4-BE49-F238E27FC236}">
                          <a16:creationId xmlns:a16="http://schemas.microsoft.com/office/drawing/2014/main" id="{676669E4-3568-4B83-B202-ED2D47228F6F}"/>
                        </a:ext>
                      </a:extLst>
                    </p:cNvPr>
                    <p:cNvSpPr>
                      <a:spLocks noChangeArrowheads="1"/>
                    </p:cNvSpPr>
                    <p:nvPr/>
                  </p:nvSpPr>
                  <p:spPr bwMode="auto">
                    <a:xfrm>
                      <a:off x="6530975" y="3300413"/>
                      <a:ext cx="33337" cy="34925"/>
                    </a:xfrm>
                    <a:prstGeom prst="ellipse">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7" name="Freeform 59">
                      <a:extLst>
                        <a:ext uri="{FF2B5EF4-FFF2-40B4-BE49-F238E27FC236}">
                          <a16:creationId xmlns:a16="http://schemas.microsoft.com/office/drawing/2014/main" id="{BEE765F8-D48B-4417-B935-69E71B3F890C}"/>
                        </a:ext>
                      </a:extLst>
                    </p:cNvPr>
                    <p:cNvSpPr>
                      <a:spLocks/>
                    </p:cNvSpPr>
                    <p:nvPr/>
                  </p:nvSpPr>
                  <p:spPr bwMode="auto">
                    <a:xfrm>
                      <a:off x="6645275" y="3121026"/>
                      <a:ext cx="123825" cy="131763"/>
                    </a:xfrm>
                    <a:custGeom>
                      <a:avLst/>
                      <a:gdLst>
                        <a:gd name="T0" fmla="*/ 39 w 78"/>
                        <a:gd name="T1" fmla="*/ 0 h 83"/>
                        <a:gd name="T2" fmla="*/ 78 w 78"/>
                        <a:gd name="T3" fmla="*/ 83 h 83"/>
                        <a:gd name="T4" fmla="*/ 0 w 78"/>
                        <a:gd name="T5" fmla="*/ 83 h 83"/>
                        <a:gd name="T6" fmla="*/ 39 w 78"/>
                        <a:gd name="T7" fmla="*/ 0 h 83"/>
                      </a:gdLst>
                      <a:ahLst/>
                      <a:cxnLst>
                        <a:cxn ang="0">
                          <a:pos x="T0" y="T1"/>
                        </a:cxn>
                        <a:cxn ang="0">
                          <a:pos x="T2" y="T3"/>
                        </a:cxn>
                        <a:cxn ang="0">
                          <a:pos x="T4" y="T5"/>
                        </a:cxn>
                        <a:cxn ang="0">
                          <a:pos x="T6" y="T7"/>
                        </a:cxn>
                      </a:cxnLst>
                      <a:rect l="0" t="0" r="r" b="b"/>
                      <a:pathLst>
                        <a:path w="78" h="83">
                          <a:moveTo>
                            <a:pt x="39" y="0"/>
                          </a:moveTo>
                          <a:lnTo>
                            <a:pt x="78" y="83"/>
                          </a:lnTo>
                          <a:lnTo>
                            <a:pt x="0" y="83"/>
                          </a:ln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8" name="Freeform 60">
                      <a:extLst>
                        <a:ext uri="{FF2B5EF4-FFF2-40B4-BE49-F238E27FC236}">
                          <a16:creationId xmlns:a16="http://schemas.microsoft.com/office/drawing/2014/main" id="{7CCB4B0F-90F6-4BC5-89E4-70BC5BB1B4C7}"/>
                        </a:ext>
                      </a:extLst>
                    </p:cNvPr>
                    <p:cNvSpPr>
                      <a:spLocks/>
                    </p:cNvSpPr>
                    <p:nvPr/>
                  </p:nvSpPr>
                  <p:spPr bwMode="auto">
                    <a:xfrm>
                      <a:off x="6645275" y="3121026"/>
                      <a:ext cx="123825" cy="131763"/>
                    </a:xfrm>
                    <a:custGeom>
                      <a:avLst/>
                      <a:gdLst>
                        <a:gd name="T0" fmla="*/ 39 w 78"/>
                        <a:gd name="T1" fmla="*/ 0 h 83"/>
                        <a:gd name="T2" fmla="*/ 78 w 78"/>
                        <a:gd name="T3" fmla="*/ 83 h 83"/>
                        <a:gd name="T4" fmla="*/ 0 w 78"/>
                        <a:gd name="T5" fmla="*/ 83 h 83"/>
                        <a:gd name="T6" fmla="*/ 39 w 78"/>
                        <a:gd name="T7" fmla="*/ 0 h 83"/>
                      </a:gdLst>
                      <a:ahLst/>
                      <a:cxnLst>
                        <a:cxn ang="0">
                          <a:pos x="T0" y="T1"/>
                        </a:cxn>
                        <a:cxn ang="0">
                          <a:pos x="T2" y="T3"/>
                        </a:cxn>
                        <a:cxn ang="0">
                          <a:pos x="T4" y="T5"/>
                        </a:cxn>
                        <a:cxn ang="0">
                          <a:pos x="T6" y="T7"/>
                        </a:cxn>
                      </a:cxnLst>
                      <a:rect l="0" t="0" r="r" b="b"/>
                      <a:pathLst>
                        <a:path w="78" h="83">
                          <a:moveTo>
                            <a:pt x="39" y="0"/>
                          </a:moveTo>
                          <a:lnTo>
                            <a:pt x="78" y="83"/>
                          </a:lnTo>
                          <a:lnTo>
                            <a:pt x="0" y="83"/>
                          </a:lnTo>
                          <a:lnTo>
                            <a:pt x="39" y="0"/>
                          </a:ln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59" name="Line 61">
                      <a:extLst>
                        <a:ext uri="{FF2B5EF4-FFF2-40B4-BE49-F238E27FC236}">
                          <a16:creationId xmlns:a16="http://schemas.microsoft.com/office/drawing/2014/main" id="{B97AC4EE-F2B5-4A7F-B89D-B164EC399248}"/>
                        </a:ext>
                      </a:extLst>
                    </p:cNvPr>
                    <p:cNvSpPr>
                      <a:spLocks noChangeShapeType="1"/>
                    </p:cNvSpPr>
                    <p:nvPr/>
                  </p:nvSpPr>
                  <p:spPr bwMode="auto">
                    <a:xfrm>
                      <a:off x="6645275" y="3121026"/>
                      <a:ext cx="123825"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grpSp>
              <p:sp>
                <p:nvSpPr>
                  <p:cNvPr id="41" name="Line 67">
                    <a:extLst>
                      <a:ext uri="{FF2B5EF4-FFF2-40B4-BE49-F238E27FC236}">
                        <a16:creationId xmlns:a16="http://schemas.microsoft.com/office/drawing/2014/main" id="{C1C4368D-CAF4-468B-90DB-B27813C77425}"/>
                      </a:ext>
                    </a:extLst>
                  </p:cNvPr>
                  <p:cNvSpPr>
                    <a:spLocks noChangeShapeType="1"/>
                  </p:cNvSpPr>
                  <p:nvPr/>
                </p:nvSpPr>
                <p:spPr bwMode="auto">
                  <a:xfrm flipV="1">
                    <a:off x="6007926" y="3588722"/>
                    <a:ext cx="249859"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42" name="Line 67">
                    <a:extLst>
                      <a:ext uri="{FF2B5EF4-FFF2-40B4-BE49-F238E27FC236}">
                        <a16:creationId xmlns:a16="http://schemas.microsoft.com/office/drawing/2014/main" id="{0ABFE9DC-4549-4184-8F6D-53EE567CBF48}"/>
                      </a:ext>
                    </a:extLst>
                  </p:cNvPr>
                  <p:cNvSpPr>
                    <a:spLocks noChangeShapeType="1"/>
                  </p:cNvSpPr>
                  <p:nvPr/>
                </p:nvSpPr>
                <p:spPr bwMode="auto">
                  <a:xfrm flipV="1">
                    <a:off x="6538641" y="3585749"/>
                    <a:ext cx="33256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sp>
                <p:nvSpPr>
                  <p:cNvPr id="43" name="Line 67">
                    <a:extLst>
                      <a:ext uri="{FF2B5EF4-FFF2-40B4-BE49-F238E27FC236}">
                        <a16:creationId xmlns:a16="http://schemas.microsoft.com/office/drawing/2014/main" id="{5E199C07-0F20-481F-9080-A6E5CD21E5B9}"/>
                      </a:ext>
                    </a:extLst>
                  </p:cNvPr>
                  <p:cNvSpPr>
                    <a:spLocks noChangeShapeType="1"/>
                  </p:cNvSpPr>
                  <p:nvPr/>
                </p:nvSpPr>
                <p:spPr bwMode="auto">
                  <a:xfrm flipV="1">
                    <a:off x="5477313" y="3588722"/>
                    <a:ext cx="249859"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1800" dirty="0">
                      <a:solidFill>
                        <a:srgbClr val="000000"/>
                      </a:solidFill>
                      <a:latin typeface="Arial"/>
                      <a:cs typeface="Verdana"/>
                    </a:endParaRPr>
                  </a:p>
                </p:txBody>
              </p:sp>
            </p:grpSp>
            <p:sp>
              <p:nvSpPr>
                <p:cNvPr id="37" name="TextBox 36">
                  <a:extLst>
                    <a:ext uri="{FF2B5EF4-FFF2-40B4-BE49-F238E27FC236}">
                      <a16:creationId xmlns:a16="http://schemas.microsoft.com/office/drawing/2014/main" id="{5D924829-8737-47C8-A642-B1D27CD6A074}"/>
                    </a:ext>
                  </a:extLst>
                </p:cNvPr>
                <p:cNvSpPr txBox="1"/>
                <p:nvPr/>
              </p:nvSpPr>
              <p:spPr bwMode="auto">
                <a:xfrm>
                  <a:off x="5720545" y="2470952"/>
                  <a:ext cx="328797" cy="118955"/>
                </a:xfrm>
                <a:prstGeom prst="rect">
                  <a:avLst/>
                </a:prstGeom>
                <a:noFill/>
                <a:ln w="9525">
                  <a:noFill/>
                  <a:miter lim="800000"/>
                  <a:headEnd/>
                  <a:tailEnd/>
                </a:ln>
                <a:effectLst/>
              </p:spPr>
              <p:txBody>
                <a:bodyPr wrap="square" lIns="0" tIns="0" rIns="0" bIns="0" rtlCol="0" anchor="ctr" anchorCtr="0">
                  <a:spAutoFit/>
                </a:bodyPr>
                <a:lstStyle/>
                <a:p>
                  <a:pPr defTabSz="914377" eaLnBrk="0" fontAlgn="auto" hangingPunct="0">
                    <a:spcBef>
                      <a:spcPts val="0"/>
                    </a:spcBef>
                    <a:spcAft>
                      <a:spcPts val="300"/>
                    </a:spcAft>
                    <a:buClr>
                      <a:srgbClr val="E30034"/>
                    </a:buClr>
                    <a:defRPr/>
                  </a:pPr>
                  <a:r>
                    <a:rPr lang="en-US" sz="1051" b="1" kern="0" dirty="0">
                      <a:solidFill>
                        <a:schemeClr val="tx2"/>
                      </a:solidFill>
                      <a:latin typeface="Arial"/>
                      <a:ea typeface="Verdana" pitchFamily="34" charset="0"/>
                      <a:cs typeface="Verdana" pitchFamily="34" charset="0"/>
                    </a:rPr>
                    <a:t>S3…Sn</a:t>
                  </a:r>
                </a:p>
              </p:txBody>
            </p:sp>
            <p:sp>
              <p:nvSpPr>
                <p:cNvPr id="38" name="TextBox 37">
                  <a:extLst>
                    <a:ext uri="{FF2B5EF4-FFF2-40B4-BE49-F238E27FC236}">
                      <a16:creationId xmlns:a16="http://schemas.microsoft.com/office/drawing/2014/main" id="{B19753FD-A47C-477A-854F-5A3CBA7CBB9F}"/>
                    </a:ext>
                  </a:extLst>
                </p:cNvPr>
                <p:cNvSpPr txBox="1"/>
                <p:nvPr/>
              </p:nvSpPr>
              <p:spPr bwMode="auto">
                <a:xfrm>
                  <a:off x="5217716" y="2485475"/>
                  <a:ext cx="327210" cy="118955"/>
                </a:xfrm>
                <a:prstGeom prst="rect">
                  <a:avLst/>
                </a:prstGeom>
                <a:noFill/>
                <a:ln w="9525">
                  <a:noFill/>
                  <a:miter lim="800000"/>
                  <a:headEnd/>
                  <a:tailEnd/>
                </a:ln>
                <a:effectLst/>
              </p:spPr>
              <p:txBody>
                <a:bodyPr wrap="square" lIns="0" tIns="0" rIns="0" bIns="0" rtlCol="0" anchor="ctr" anchorCtr="0">
                  <a:spAutoFit/>
                </a:bodyPr>
                <a:lstStyle/>
                <a:p>
                  <a:pPr defTabSz="914377" eaLnBrk="0" fontAlgn="auto" hangingPunct="0">
                    <a:spcBef>
                      <a:spcPts val="0"/>
                    </a:spcBef>
                    <a:spcAft>
                      <a:spcPts val="300"/>
                    </a:spcAft>
                    <a:buClr>
                      <a:srgbClr val="E30034"/>
                    </a:buClr>
                    <a:defRPr/>
                  </a:pPr>
                  <a:r>
                    <a:rPr lang="en-US" sz="1051" b="1" kern="0" dirty="0">
                      <a:solidFill>
                        <a:schemeClr val="tx2"/>
                      </a:solidFill>
                      <a:latin typeface="Arial"/>
                      <a:ea typeface="Verdana" pitchFamily="34" charset="0"/>
                      <a:cs typeface="Verdana" pitchFamily="34" charset="0"/>
                    </a:rPr>
                    <a:t>S2…Sn</a:t>
                  </a:r>
                </a:p>
              </p:txBody>
            </p:sp>
          </p:grpSp>
        </p:grpSp>
      </p:grpSp>
      <p:sp>
        <p:nvSpPr>
          <p:cNvPr id="2" name="TextBox 1">
            <a:extLst>
              <a:ext uri="{FF2B5EF4-FFF2-40B4-BE49-F238E27FC236}">
                <a16:creationId xmlns:a16="http://schemas.microsoft.com/office/drawing/2014/main" id="{E36CE51D-96E4-4736-B862-65D862BB7711}"/>
              </a:ext>
            </a:extLst>
          </p:cNvPr>
          <p:cNvSpPr txBox="1"/>
          <p:nvPr/>
        </p:nvSpPr>
        <p:spPr bwMode="auto">
          <a:xfrm>
            <a:off x="10494700" y="3070793"/>
            <a:ext cx="1984807" cy="26827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600" b="1" kern="0" dirty="0">
                <a:solidFill>
                  <a:schemeClr val="tx2"/>
                </a:solidFill>
                <a:latin typeface="+mn-lt"/>
              </a:rPr>
              <a:t>m</a:t>
            </a:r>
            <a:r>
              <a:rPr lang="en-US" sz="1600" b="1" kern="0" baseline="0" dirty="0">
                <a:solidFill>
                  <a:schemeClr val="tx2"/>
                </a:solidFill>
                <a:latin typeface="+mn-lt"/>
                <a:ea typeface="+mn-ea"/>
                <a:cs typeface="+mn-cs"/>
              </a:rPr>
              <a:t>ulti-phases</a:t>
            </a:r>
          </a:p>
        </p:txBody>
      </p:sp>
      <p:sp>
        <p:nvSpPr>
          <p:cNvPr id="4" name="Rectangle 3">
            <a:extLst>
              <a:ext uri="{FF2B5EF4-FFF2-40B4-BE49-F238E27FC236}">
                <a16:creationId xmlns:a16="http://schemas.microsoft.com/office/drawing/2014/main" id="{63FD5E86-C9C1-46FB-9A03-2662DC4A1B2F}"/>
              </a:ext>
            </a:extLst>
          </p:cNvPr>
          <p:cNvSpPr/>
          <p:nvPr/>
        </p:nvSpPr>
        <p:spPr>
          <a:xfrm>
            <a:off x="9799807" y="2745218"/>
            <a:ext cx="755335" cy="707886"/>
          </a:xfrm>
          <a:prstGeom prst="rect">
            <a:avLst/>
          </a:prstGeom>
        </p:spPr>
        <p:txBody>
          <a:bodyPr wrap="none">
            <a:spAutoFit/>
          </a:bodyPr>
          <a:lstStyle/>
          <a:p>
            <a:r>
              <a:rPr lang="en-US" sz="4000" kern="0" dirty="0">
                <a:solidFill>
                  <a:schemeClr val="tx2"/>
                </a:solidFill>
              </a:rPr>
              <a:t>...</a:t>
            </a:r>
            <a:r>
              <a:rPr lang="en-US" sz="4000" kern="0" dirty="0"/>
              <a:t> </a:t>
            </a:r>
            <a:endParaRPr lang="en-US" sz="4000" dirty="0"/>
          </a:p>
        </p:txBody>
      </p:sp>
    </p:spTree>
    <p:extLst>
      <p:ext uri="{BB962C8B-B14F-4D97-AF65-F5344CB8AC3E}">
        <p14:creationId xmlns:p14="http://schemas.microsoft.com/office/powerpoint/2010/main" val="27544918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6EA6DF-E114-49DD-A9A3-4DA9C0F992FF}"/>
              </a:ext>
            </a:extLst>
          </p:cNvPr>
          <p:cNvSpPr>
            <a:spLocks noGrp="1"/>
          </p:cNvSpPr>
          <p:nvPr>
            <p:ph type="title"/>
          </p:nvPr>
        </p:nvSpPr>
        <p:spPr>
          <a:xfrm>
            <a:off x="335360" y="188720"/>
            <a:ext cx="9613068" cy="720000"/>
          </a:xfrm>
        </p:spPr>
        <p:txBody>
          <a:bodyPr/>
          <a:lstStyle/>
          <a:p>
            <a:r>
              <a:rPr lang="en-US" dirty="0"/>
              <a:t>Boost power density and enable size frame jump</a:t>
            </a:r>
          </a:p>
        </p:txBody>
      </p:sp>
      <p:graphicFrame>
        <p:nvGraphicFramePr>
          <p:cNvPr id="5" name="Chart 4">
            <a:extLst>
              <a:ext uri="{FF2B5EF4-FFF2-40B4-BE49-F238E27FC236}">
                <a16:creationId xmlns:a16="http://schemas.microsoft.com/office/drawing/2014/main" id="{ED8A6B22-F67A-4BE8-9B3A-ADB07F06BDDA}"/>
              </a:ext>
            </a:extLst>
          </p:cNvPr>
          <p:cNvGraphicFramePr>
            <a:graphicFrameLocks/>
          </p:cNvGraphicFramePr>
          <p:nvPr>
            <p:extLst>
              <p:ext uri="{D42A27DB-BD31-4B8C-83A1-F6EECF244321}">
                <p14:modId xmlns:p14="http://schemas.microsoft.com/office/powerpoint/2010/main" val="40281384"/>
              </p:ext>
            </p:extLst>
          </p:nvPr>
        </p:nvGraphicFramePr>
        <p:xfrm>
          <a:off x="5742253" y="1268414"/>
          <a:ext cx="6265172" cy="5113336"/>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a:extLst>
              <a:ext uri="{FF2B5EF4-FFF2-40B4-BE49-F238E27FC236}">
                <a16:creationId xmlns:a16="http://schemas.microsoft.com/office/drawing/2014/main" id="{F8E2D8B4-C313-405F-A5A1-A2CDDDCF2E63}"/>
              </a:ext>
            </a:extLst>
          </p:cNvPr>
          <p:cNvSpPr txBox="1"/>
          <p:nvPr/>
        </p:nvSpPr>
        <p:spPr bwMode="auto">
          <a:xfrm>
            <a:off x="5155404" y="5517753"/>
            <a:ext cx="2181966" cy="351604"/>
          </a:xfrm>
          <a:prstGeom prst="rect">
            <a:avLst/>
          </a:prstGeom>
          <a:noFill/>
          <a:ln w="9525">
            <a:noFill/>
            <a:miter lim="800000"/>
            <a:headEnd/>
            <a:tailEnd/>
          </a:ln>
          <a:effectLst/>
        </p:spPr>
        <p:txBody>
          <a:bodyPr wrap="square" lIns="0" tIns="0" rIns="0" bIns="0" rtlCol="0" anchor="ctr" anchorCtr="0">
            <a:noAutofit/>
          </a:bodyPr>
          <a:lstStyle/>
          <a:p>
            <a:pPr marL="0" marR="0" lvl="0" indent="0" algn="ctr" defTabSz="576000" rtl="0" eaLnBrk="0" fontAlgn="auto" latinLnBrk="0" hangingPunct="0">
              <a:lnSpc>
                <a:spcPct val="100000"/>
              </a:lnSpc>
              <a:spcBef>
                <a:spcPts val="0"/>
              </a:spcBef>
              <a:spcAft>
                <a:spcPts val="0"/>
              </a:spcAft>
              <a:buClr>
                <a:srgbClr val="E30034"/>
              </a:buClr>
              <a:buSzTx/>
              <a:buFontTx/>
              <a:buNone/>
              <a:tabLst/>
              <a:defRPr/>
            </a:pPr>
            <a:r>
              <a:rPr kumimoji="0" lang="en-US" sz="900" b="0" i="1" u="none" strike="noStrike" kern="0" cap="none" spc="0" normalizeH="0" baseline="0" noProof="0" dirty="0">
                <a:ln>
                  <a:noFill/>
                </a:ln>
                <a:solidFill>
                  <a:schemeClr val="dk1"/>
                </a:solidFill>
                <a:effectLst/>
                <a:uLnTx/>
                <a:uFillTx/>
                <a:latin typeface="Arial"/>
                <a:ea typeface="+mn-ea"/>
                <a:cs typeface="Arial"/>
              </a:rPr>
              <a:t>Reference: IKW40N120CS7</a:t>
            </a:r>
          </a:p>
          <a:p>
            <a:pPr marL="0" marR="0" lvl="0" indent="0" algn="ctr" defTabSz="576000" rtl="0" eaLnBrk="0" fontAlgn="auto" latinLnBrk="0" hangingPunct="0">
              <a:lnSpc>
                <a:spcPct val="100000"/>
              </a:lnSpc>
              <a:spcBef>
                <a:spcPts val="0"/>
              </a:spcBef>
              <a:spcAft>
                <a:spcPts val="0"/>
              </a:spcAft>
              <a:buClr>
                <a:srgbClr val="E30034"/>
              </a:buClr>
              <a:buSzTx/>
              <a:buFontTx/>
              <a:buNone/>
              <a:tabLst/>
              <a:defRPr/>
            </a:pPr>
            <a:r>
              <a:rPr kumimoji="0" lang="en-US" sz="900" b="0" i="1" u="none" strike="noStrike" kern="0" cap="none" spc="0" normalizeH="0" baseline="0" noProof="0" dirty="0">
                <a:ln>
                  <a:noFill/>
                </a:ln>
                <a:solidFill>
                  <a:schemeClr val="dk1"/>
                </a:solidFill>
                <a:effectLst/>
                <a:uLnTx/>
                <a:uFillTx/>
                <a:latin typeface="Arial"/>
                <a:cs typeface="Arial"/>
              </a:rPr>
              <a:t>With </a:t>
            </a:r>
            <a:r>
              <a:rPr kumimoji="0" lang="en-US" sz="900" b="0" i="1" u="none" strike="noStrike" kern="0" cap="none" spc="0" normalizeH="0" baseline="0" noProof="0">
                <a:ln>
                  <a:noFill/>
                </a:ln>
                <a:solidFill>
                  <a:schemeClr val="dk1"/>
                </a:solidFill>
                <a:effectLst/>
                <a:uLnTx/>
                <a:uFillTx/>
                <a:latin typeface="Arial"/>
                <a:cs typeface="Arial"/>
              </a:rPr>
              <a:t>Sil-Pad K10</a:t>
            </a:r>
            <a:endParaRPr kumimoji="0" lang="en-US" sz="900" b="0" i="1" u="none" strike="noStrike" kern="0" cap="none" spc="0" normalizeH="0" baseline="0" noProof="0" dirty="0">
              <a:ln>
                <a:noFill/>
              </a:ln>
              <a:solidFill>
                <a:schemeClr val="dk1"/>
              </a:solidFill>
              <a:effectLst/>
              <a:uLnTx/>
              <a:uFillTx/>
              <a:latin typeface="Arial"/>
              <a:ea typeface="+mn-ea"/>
              <a:cs typeface="Arial"/>
            </a:endParaRPr>
          </a:p>
        </p:txBody>
      </p:sp>
      <p:graphicFrame>
        <p:nvGraphicFramePr>
          <p:cNvPr id="13" name="Table 12">
            <a:extLst>
              <a:ext uri="{FF2B5EF4-FFF2-40B4-BE49-F238E27FC236}">
                <a16:creationId xmlns:a16="http://schemas.microsoft.com/office/drawing/2014/main" id="{A1ABDE3C-B906-4FA6-9F3E-70E972366DE6}"/>
              </a:ext>
            </a:extLst>
          </p:cNvPr>
          <p:cNvGraphicFramePr>
            <a:graphicFrameLocks noGrp="1"/>
          </p:cNvGraphicFramePr>
          <p:nvPr>
            <p:extLst>
              <p:ext uri="{D42A27DB-BD31-4B8C-83A1-F6EECF244321}">
                <p14:modId xmlns:p14="http://schemas.microsoft.com/office/powerpoint/2010/main" val="3642393176"/>
              </p:ext>
            </p:extLst>
          </p:nvPr>
        </p:nvGraphicFramePr>
        <p:xfrm>
          <a:off x="307757" y="1281470"/>
          <a:ext cx="4420092" cy="2723593"/>
        </p:xfrm>
        <a:graphic>
          <a:graphicData uri="http://schemas.openxmlformats.org/drawingml/2006/table">
            <a:tbl>
              <a:tblPr firstRow="1" bandRow="1">
                <a:tableStyleId>{5C22544A-7EE6-4342-B048-85BDC9FD1C3A}</a:tableStyleId>
              </a:tblPr>
              <a:tblGrid>
                <a:gridCol w="1807120">
                  <a:extLst>
                    <a:ext uri="{9D8B030D-6E8A-4147-A177-3AD203B41FA5}">
                      <a16:colId xmlns:a16="http://schemas.microsoft.com/office/drawing/2014/main" val="1996418904"/>
                    </a:ext>
                  </a:extLst>
                </a:gridCol>
                <a:gridCol w="1621844">
                  <a:extLst>
                    <a:ext uri="{9D8B030D-6E8A-4147-A177-3AD203B41FA5}">
                      <a16:colId xmlns:a16="http://schemas.microsoft.com/office/drawing/2014/main" val="2713706630"/>
                    </a:ext>
                  </a:extLst>
                </a:gridCol>
                <a:gridCol w="991128">
                  <a:extLst>
                    <a:ext uri="{9D8B030D-6E8A-4147-A177-3AD203B41FA5}">
                      <a16:colId xmlns:a16="http://schemas.microsoft.com/office/drawing/2014/main" val="3917187944"/>
                    </a:ext>
                  </a:extLst>
                </a:gridCol>
              </a:tblGrid>
              <a:tr h="369871">
                <a:tc>
                  <a:txBody>
                    <a:bodyPr/>
                    <a:lstStyle/>
                    <a:p>
                      <a:pPr algn="ctr"/>
                      <a:r>
                        <a:rPr lang="en-US" sz="1600"/>
                        <a:t>Parameter</a:t>
                      </a:r>
                      <a:endParaRPr lang="en-US" sz="1600" dirty="0"/>
                    </a:p>
                  </a:txBody>
                  <a:tcPr/>
                </a:tc>
                <a:tc>
                  <a:txBody>
                    <a:bodyPr/>
                    <a:lstStyle/>
                    <a:p>
                      <a:pPr algn="ctr"/>
                      <a:r>
                        <a:rPr lang="en-US" sz="1600"/>
                        <a:t>Value</a:t>
                      </a:r>
                      <a:endParaRPr lang="en-US" sz="1600" dirty="0"/>
                    </a:p>
                  </a:txBody>
                  <a:tcPr/>
                </a:tc>
                <a:tc>
                  <a:txBody>
                    <a:bodyPr/>
                    <a:lstStyle/>
                    <a:p>
                      <a:pPr algn="ctr"/>
                      <a:r>
                        <a:rPr lang="en-US" sz="1600"/>
                        <a:t>Unit</a:t>
                      </a:r>
                      <a:endParaRPr lang="en-US" sz="1600" dirty="0"/>
                    </a:p>
                  </a:txBody>
                  <a:tcPr/>
                </a:tc>
                <a:extLst>
                  <a:ext uri="{0D108BD9-81ED-4DB2-BD59-A6C34878D82A}">
                    <a16:rowId xmlns:a16="http://schemas.microsoft.com/office/drawing/2014/main" val="4068117894"/>
                  </a:ext>
                </a:extLst>
              </a:tr>
              <a:tr h="336246">
                <a:tc>
                  <a:txBody>
                    <a:bodyPr/>
                    <a:lstStyle/>
                    <a:p>
                      <a:pPr algn="ctr"/>
                      <a:r>
                        <a:rPr lang="en-US" sz="1400"/>
                        <a:t>V</a:t>
                      </a:r>
                      <a:r>
                        <a:rPr lang="en-US" sz="1400" baseline="-25000"/>
                        <a:t>DC</a:t>
                      </a:r>
                      <a:endParaRPr lang="en-US" sz="1400" baseline="-25000" dirty="0"/>
                    </a:p>
                  </a:txBody>
                  <a:tcPr/>
                </a:tc>
                <a:tc>
                  <a:txBody>
                    <a:bodyPr/>
                    <a:lstStyle/>
                    <a:p>
                      <a:pPr algn="ctr"/>
                      <a:r>
                        <a:rPr lang="en-US" sz="1400"/>
                        <a:t>600</a:t>
                      </a:r>
                      <a:endParaRPr lang="en-US" sz="1400" dirty="0"/>
                    </a:p>
                  </a:txBody>
                  <a:tcPr/>
                </a:tc>
                <a:tc>
                  <a:txBody>
                    <a:bodyPr/>
                    <a:lstStyle/>
                    <a:p>
                      <a:pPr algn="ctr"/>
                      <a:r>
                        <a:rPr lang="en-US" sz="1400"/>
                        <a:t>V</a:t>
                      </a:r>
                      <a:endParaRPr lang="en-US" sz="1400" dirty="0"/>
                    </a:p>
                  </a:txBody>
                  <a:tcPr/>
                </a:tc>
                <a:extLst>
                  <a:ext uri="{0D108BD9-81ED-4DB2-BD59-A6C34878D82A}">
                    <a16:rowId xmlns:a16="http://schemas.microsoft.com/office/drawing/2014/main" val="781679438"/>
                  </a:ext>
                </a:extLst>
              </a:tr>
              <a:tr h="336246">
                <a:tc>
                  <a:txBody>
                    <a:bodyPr/>
                    <a:lstStyle/>
                    <a:p>
                      <a:pPr algn="ctr"/>
                      <a:r>
                        <a:rPr lang="en-US" sz="1400" dirty="0"/>
                        <a:t>Heat sink temp.</a:t>
                      </a:r>
                    </a:p>
                  </a:txBody>
                  <a:tcPr/>
                </a:tc>
                <a:tc>
                  <a:txBody>
                    <a:bodyPr/>
                    <a:lstStyle/>
                    <a:p>
                      <a:pPr algn="ctr"/>
                      <a:r>
                        <a:rPr lang="en-US" sz="1400"/>
                        <a:t>100</a:t>
                      </a:r>
                      <a:endParaRPr lang="en-US" sz="1400" dirty="0"/>
                    </a:p>
                  </a:txBody>
                  <a:tcPr/>
                </a:tc>
                <a:tc>
                  <a:txBody>
                    <a:bodyPr/>
                    <a:lstStyle/>
                    <a:p>
                      <a:pPr algn="ctr"/>
                      <a:r>
                        <a:rPr lang="en-US" sz="1400"/>
                        <a:t>°C</a:t>
                      </a:r>
                      <a:endParaRPr lang="en-US" sz="1400" dirty="0"/>
                    </a:p>
                  </a:txBody>
                  <a:tcPr/>
                </a:tc>
                <a:extLst>
                  <a:ext uri="{0D108BD9-81ED-4DB2-BD59-A6C34878D82A}">
                    <a16:rowId xmlns:a16="http://schemas.microsoft.com/office/drawing/2014/main" val="1634351323"/>
                  </a:ext>
                </a:extLst>
              </a:tr>
              <a:tr h="336246">
                <a:tc>
                  <a:txBody>
                    <a:bodyPr/>
                    <a:lstStyle/>
                    <a:p>
                      <a:pPr algn="ctr"/>
                      <a:r>
                        <a:rPr lang="en-US" sz="1400" dirty="0"/>
                        <a:t>Switching </a:t>
                      </a:r>
                      <a:r>
                        <a:rPr lang="en-US" sz="1400"/>
                        <a:t>freq.</a:t>
                      </a:r>
                      <a:endParaRPr lang="en-US" sz="1400" dirty="0"/>
                    </a:p>
                  </a:txBody>
                  <a:tcPr/>
                </a:tc>
                <a:tc>
                  <a:txBody>
                    <a:bodyPr/>
                    <a:lstStyle/>
                    <a:p>
                      <a:pPr algn="ctr"/>
                      <a:r>
                        <a:rPr lang="en-US" sz="1400"/>
                        <a:t>6000</a:t>
                      </a:r>
                      <a:endParaRPr lang="en-US" sz="1400" dirty="0"/>
                    </a:p>
                  </a:txBody>
                  <a:tcPr/>
                </a:tc>
                <a:tc>
                  <a:txBody>
                    <a:bodyPr/>
                    <a:lstStyle/>
                    <a:p>
                      <a:pPr algn="ctr"/>
                      <a:r>
                        <a:rPr lang="en-US" sz="1400"/>
                        <a:t>Hz</a:t>
                      </a:r>
                      <a:endParaRPr lang="en-US" sz="1400" dirty="0"/>
                    </a:p>
                  </a:txBody>
                  <a:tcPr/>
                </a:tc>
                <a:extLst>
                  <a:ext uri="{0D108BD9-81ED-4DB2-BD59-A6C34878D82A}">
                    <a16:rowId xmlns:a16="http://schemas.microsoft.com/office/drawing/2014/main" val="3621205553"/>
                  </a:ext>
                </a:extLst>
              </a:tr>
              <a:tr h="336246">
                <a:tc>
                  <a:txBody>
                    <a:bodyPr/>
                    <a:lstStyle/>
                    <a:p>
                      <a:pPr algn="ctr"/>
                      <a:r>
                        <a:rPr lang="en-US" sz="1400" dirty="0"/>
                        <a:t>Output </a:t>
                      </a:r>
                      <a:r>
                        <a:rPr lang="en-US" sz="1400"/>
                        <a:t>freq.</a:t>
                      </a:r>
                      <a:endParaRPr lang="en-US" sz="1400" dirty="0"/>
                    </a:p>
                  </a:txBody>
                  <a:tcPr/>
                </a:tc>
                <a:tc>
                  <a:txBody>
                    <a:bodyPr/>
                    <a:lstStyle/>
                    <a:p>
                      <a:pPr algn="ctr"/>
                      <a:r>
                        <a:rPr lang="en-US" sz="1400"/>
                        <a:t>50</a:t>
                      </a:r>
                      <a:endParaRPr lang="en-US" sz="1400" dirty="0"/>
                    </a:p>
                  </a:txBody>
                  <a:tcPr/>
                </a:tc>
                <a:tc>
                  <a:txBody>
                    <a:bodyPr/>
                    <a:lstStyle/>
                    <a:p>
                      <a:pPr algn="ctr"/>
                      <a:r>
                        <a:rPr lang="en-US" sz="1400"/>
                        <a:t>Hz</a:t>
                      </a:r>
                      <a:endParaRPr lang="en-US" sz="1400" dirty="0"/>
                    </a:p>
                  </a:txBody>
                  <a:tcPr/>
                </a:tc>
                <a:extLst>
                  <a:ext uri="{0D108BD9-81ED-4DB2-BD59-A6C34878D82A}">
                    <a16:rowId xmlns:a16="http://schemas.microsoft.com/office/drawing/2014/main" val="3812176186"/>
                  </a:ext>
                </a:extLst>
              </a:tr>
              <a:tr h="336246">
                <a:tc>
                  <a:txBody>
                    <a:bodyPr/>
                    <a:lstStyle/>
                    <a:p>
                      <a:pPr algn="ctr"/>
                      <a:r>
                        <a:rPr lang="en-US" sz="1400" dirty="0"/>
                        <a:t>Mod</a:t>
                      </a:r>
                      <a:r>
                        <a:rPr lang="en-US" sz="1400"/>
                        <a:t>. index</a:t>
                      </a:r>
                      <a:endParaRPr lang="en-US" sz="1400" dirty="0"/>
                    </a:p>
                  </a:txBody>
                  <a:tcPr/>
                </a:tc>
                <a:tc>
                  <a:txBody>
                    <a:bodyPr/>
                    <a:lstStyle/>
                    <a:p>
                      <a:pPr algn="ctr"/>
                      <a:r>
                        <a:rPr lang="en-US" sz="1400"/>
                        <a:t>100</a:t>
                      </a:r>
                      <a:endParaRPr lang="en-US" sz="1400" dirty="0"/>
                    </a:p>
                  </a:txBody>
                  <a:tcPr/>
                </a:tc>
                <a:tc>
                  <a:txBody>
                    <a:bodyPr/>
                    <a:lstStyle/>
                    <a:p>
                      <a:pPr algn="ctr"/>
                      <a:r>
                        <a:rPr lang="en-US" sz="1400"/>
                        <a:t>%</a:t>
                      </a:r>
                      <a:endParaRPr lang="en-US" sz="1400" dirty="0"/>
                    </a:p>
                  </a:txBody>
                  <a:tcPr/>
                </a:tc>
                <a:extLst>
                  <a:ext uri="{0D108BD9-81ED-4DB2-BD59-A6C34878D82A}">
                    <a16:rowId xmlns:a16="http://schemas.microsoft.com/office/drawing/2014/main" val="3708687263"/>
                  </a:ext>
                </a:extLst>
              </a:tr>
              <a:tr h="336246">
                <a:tc>
                  <a:txBody>
                    <a:bodyPr/>
                    <a:lstStyle/>
                    <a:p>
                      <a:pPr algn="ctr"/>
                      <a:r>
                        <a:rPr lang="en-US" sz="1400" dirty="0"/>
                        <a:t>Cos(</a:t>
                      </a:r>
                      <a:r>
                        <a:rPr lang="en-US" sz="1400"/>
                        <a:t>phi)</a:t>
                      </a:r>
                      <a:endParaRPr lang="en-US" sz="1400" dirty="0"/>
                    </a:p>
                  </a:txBody>
                  <a:tcPr/>
                </a:tc>
                <a:tc>
                  <a:txBody>
                    <a:bodyPr/>
                    <a:lstStyle/>
                    <a:p>
                      <a:pPr algn="ctr"/>
                      <a:r>
                        <a:rPr lang="en-US" sz="1400"/>
                        <a:t>0.9</a:t>
                      </a:r>
                      <a:endParaRPr lang="en-US" sz="1400" dirty="0"/>
                    </a:p>
                  </a:txBody>
                  <a:tcPr/>
                </a:tc>
                <a:tc>
                  <a:txBody>
                    <a:bodyPr/>
                    <a:lstStyle/>
                    <a:p>
                      <a:pPr algn="ctr"/>
                      <a:r>
                        <a:rPr lang="en-US" sz="1400"/>
                        <a:t>-</a:t>
                      </a:r>
                      <a:endParaRPr lang="en-US" sz="1400" dirty="0"/>
                    </a:p>
                  </a:txBody>
                  <a:tcPr/>
                </a:tc>
                <a:extLst>
                  <a:ext uri="{0D108BD9-81ED-4DB2-BD59-A6C34878D82A}">
                    <a16:rowId xmlns:a16="http://schemas.microsoft.com/office/drawing/2014/main" val="4056555770"/>
                  </a:ext>
                </a:extLst>
              </a:tr>
              <a:tr h="336246">
                <a:tc>
                  <a:txBody>
                    <a:bodyPr/>
                    <a:lstStyle/>
                    <a:p>
                      <a:pPr algn="ctr"/>
                      <a:r>
                        <a:rPr lang="en-US" sz="1400"/>
                        <a:t>Rg</a:t>
                      </a:r>
                      <a:endParaRPr lang="en-US" sz="1400" dirty="0"/>
                    </a:p>
                  </a:txBody>
                  <a:tcPr/>
                </a:tc>
                <a:tc gridSpan="2">
                  <a:txBody>
                    <a:bodyPr/>
                    <a:lstStyle/>
                    <a:p>
                      <a:pPr algn="ctr"/>
                      <a:r>
                        <a:rPr lang="en-US" sz="1400" dirty="0"/>
                        <a:t>As per datasheet value</a:t>
                      </a:r>
                    </a:p>
                  </a:txBody>
                  <a:tcPr/>
                </a:tc>
                <a:tc hMerge="1">
                  <a:txBody>
                    <a:bodyPr/>
                    <a:lstStyle/>
                    <a:p>
                      <a:pPr algn="ctr"/>
                      <a:r>
                        <a:rPr lang="en-US" sz="1400" dirty="0"/>
                        <a:t>-</a:t>
                      </a:r>
                      <a:endParaRPr lang="de-AT" sz="1400" dirty="0"/>
                    </a:p>
                  </a:txBody>
                  <a:tcPr/>
                </a:tc>
                <a:extLst>
                  <a:ext uri="{0D108BD9-81ED-4DB2-BD59-A6C34878D82A}">
                    <a16:rowId xmlns:a16="http://schemas.microsoft.com/office/drawing/2014/main" val="2715525975"/>
                  </a:ext>
                </a:extLst>
              </a:tr>
            </a:tbl>
          </a:graphicData>
        </a:graphic>
      </p:graphicFrame>
      <p:grpSp>
        <p:nvGrpSpPr>
          <p:cNvPr id="17" name="15 Takeaway">
            <a:extLst>
              <a:ext uri="{FF2B5EF4-FFF2-40B4-BE49-F238E27FC236}">
                <a16:creationId xmlns:a16="http://schemas.microsoft.com/office/drawing/2014/main" id="{603F95A7-64CB-4A9B-AB9C-1848ECEEF5D6}"/>
              </a:ext>
            </a:extLst>
          </p:cNvPr>
          <p:cNvGrpSpPr>
            <a:grpSpLocks/>
          </p:cNvGrpSpPr>
          <p:nvPr>
            <p:custDataLst>
              <p:tags r:id="rId2"/>
            </p:custDataLst>
          </p:nvPr>
        </p:nvGrpSpPr>
        <p:grpSpPr>
          <a:xfrm>
            <a:off x="322431" y="4077070"/>
            <a:ext cx="4405417" cy="2304680"/>
            <a:chOff x="370046" y="5827644"/>
            <a:chExt cx="11485401" cy="633193"/>
          </a:xfrm>
        </p:grpSpPr>
        <p:sp>
          <p:nvSpPr>
            <p:cNvPr id="15" name="Rechteck 2">
              <a:extLst>
                <a:ext uri="{FF2B5EF4-FFF2-40B4-BE49-F238E27FC236}">
                  <a16:creationId xmlns:a16="http://schemas.microsoft.com/office/drawing/2014/main" id="{0115C644-57C3-4793-8432-3841B75579A1}"/>
                </a:ext>
              </a:extLst>
            </p:cNvPr>
            <p:cNvSpPr/>
            <p:nvPr>
              <p:custDataLst>
                <p:tags r:id="rId3"/>
              </p:custDataLst>
            </p:nvPr>
          </p:nvSpPr>
          <p:spPr>
            <a:xfrm>
              <a:off x="370046" y="5827644"/>
              <a:ext cx="1109007" cy="633193"/>
            </a:xfrm>
            <a:prstGeom prst="rect">
              <a:avLst/>
            </a:prstGeom>
            <a:solidFill>
              <a:schemeClr val="accent3"/>
            </a:solidFill>
            <a:ln>
              <a:noFill/>
            </a:ln>
            <a:extLst>
              <a:ext uri="{91240B29-F687-4F45-9708-019B960494DF}">
                <a14:hiddenLine xmlns:a14="http://schemas.microsoft.com/office/drawing/2010/main" w="9525" cap="flat" cmpd="sng" algn="ctr">
                  <a:solidFill>
                    <a:srgbClr val="666666"/>
                  </a:solidFill>
                  <a:prstDash val="solid"/>
                </a14:hiddenLine>
              </a:ext>
            </a:ex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cs typeface="Arial"/>
                  <a:sym typeface="Wingdings" panose="05000000000000000000" pitchFamily="2" charset="2"/>
                </a:rPr>
                <a:t></a:t>
              </a:r>
              <a:endParaRPr kumimoji="0" lang="en-US" sz="2000" b="1" i="0" u="none" strike="noStrike" kern="1200" cap="none" spc="0" normalizeH="0" baseline="0" noProof="0" dirty="0">
                <a:ln>
                  <a:noFill/>
                </a:ln>
                <a:solidFill>
                  <a:srgbClr val="FFFFFF"/>
                </a:solidFill>
                <a:effectLst/>
                <a:uLnTx/>
                <a:uFillTx/>
                <a:latin typeface="Arial"/>
                <a:cs typeface="Arial"/>
              </a:endParaRPr>
            </a:p>
          </p:txBody>
        </p:sp>
        <p:sp>
          <p:nvSpPr>
            <p:cNvPr id="16" name="Rechteck 3">
              <a:extLst>
                <a:ext uri="{FF2B5EF4-FFF2-40B4-BE49-F238E27FC236}">
                  <a16:creationId xmlns:a16="http://schemas.microsoft.com/office/drawing/2014/main" id="{37767D95-F24B-44DF-9892-539795DD1BE6}"/>
                </a:ext>
              </a:extLst>
            </p:cNvPr>
            <p:cNvSpPr/>
            <p:nvPr>
              <p:custDataLst>
                <p:tags r:id="rId4"/>
              </p:custDataLst>
            </p:nvPr>
          </p:nvSpPr>
          <p:spPr>
            <a:xfrm>
              <a:off x="1479053" y="5827644"/>
              <a:ext cx="10376394" cy="633193"/>
            </a:xfrm>
            <a:prstGeom prst="rect">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altLang="de-DE" sz="1400" b="0" i="0" u="none" strike="noStrike" kern="1200" cap="none" spc="0" normalizeH="0" baseline="0" noProof="0" dirty="0">
                  <a:ln>
                    <a:noFill/>
                  </a:ln>
                  <a:effectLst/>
                  <a:uLnTx/>
                  <a:uFillTx/>
                  <a:ea typeface="Source Sans Pro" panose="020B0503030403020204" pitchFamily="34" charset="0"/>
                  <a:cs typeface="Arial"/>
                </a:rPr>
                <a:t>Main value proposition driven by demand of </a:t>
              </a:r>
              <a:r>
                <a:rPr kumimoji="0" lang="en-US" altLang="de-DE" sz="1400" b="1" i="0" u="none" strike="noStrike" kern="1200" cap="none" spc="0" normalizeH="0" baseline="0" noProof="0" dirty="0">
                  <a:ln>
                    <a:noFill/>
                  </a:ln>
                  <a:effectLst/>
                  <a:uLnTx/>
                  <a:uFillTx/>
                  <a:ea typeface="Source Sans Pro" panose="020B0503030403020204" pitchFamily="34" charset="0"/>
                  <a:cs typeface="Arial"/>
                </a:rPr>
                <a:t>increased power density:</a:t>
              </a: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ea typeface="Source Sans Pro" panose="020B0503030403020204" pitchFamily="34" charset="0"/>
                  <a:cs typeface="Arial"/>
                </a:rPr>
                <a:t>Boost your power density up to:</a:t>
              </a:r>
            </a:p>
            <a:p>
              <a:pPr marL="285750" indent="-285750" algn="just">
                <a:lnSpc>
                  <a:spcPct val="150000"/>
                </a:lnSpc>
                <a:buFont typeface="Arial" panose="020B0604020202020204" pitchFamily="34" charset="0"/>
                <a:buChar char="‒"/>
                <a:defRPr/>
              </a:pPr>
              <a:r>
                <a:rPr kumimoji="0" lang="en-US" b="1" i="0" u="none" strike="noStrike" kern="1200" cap="none" spc="0" normalizeH="0" baseline="0" noProof="0" dirty="0">
                  <a:ln>
                    <a:noFill/>
                  </a:ln>
                  <a:effectLst/>
                  <a:uLnTx/>
                  <a:uFillTx/>
                  <a:ea typeface="Source Sans Pro" panose="020B0503030403020204" pitchFamily="34" charset="0"/>
                  <a:cs typeface="Arial"/>
                </a:rPr>
                <a:t>~75% with the same thermal design</a:t>
              </a:r>
            </a:p>
            <a:p>
              <a:pPr marL="285750" indent="-285750" algn="just">
                <a:lnSpc>
                  <a:spcPct val="150000"/>
                </a:lnSpc>
                <a:buFont typeface="Arial" panose="020B0604020202020204" pitchFamily="34" charset="0"/>
                <a:buChar char="‒"/>
                <a:defRPr/>
              </a:pPr>
              <a:r>
                <a:rPr kumimoji="0" lang="en-US" b="1" i="0" u="none" strike="noStrike" kern="1200" cap="none" spc="0" normalizeH="0" baseline="0" noProof="0" dirty="0">
                  <a:ln>
                    <a:noFill/>
                  </a:ln>
                  <a:effectLst/>
                  <a:uLnTx/>
                  <a:uFillTx/>
                  <a:ea typeface="Source Sans Pro" panose="020B0503030403020204" pitchFamily="34" charset="0"/>
                  <a:cs typeface="Arial"/>
                </a:rPr>
                <a:t>~120% with improved thermal design</a:t>
              </a: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ea typeface="Source Sans Pro" panose="020B0503030403020204" pitchFamily="34" charset="0"/>
                  <a:cs typeface="Arial"/>
                </a:rPr>
                <a:t>Enabling enable frame-size jump</a:t>
              </a:r>
              <a:endParaRPr kumimoji="0" lang="en-US" sz="1200" b="1" i="0" u="none" strike="noStrike" kern="1200" cap="none" spc="0" normalizeH="0" baseline="0" noProof="0" dirty="0">
                <a:ln>
                  <a:noFill/>
                </a:ln>
                <a:effectLst/>
                <a:uLnTx/>
                <a:uFillTx/>
                <a:ea typeface="Source Sans Pro" panose="020B0503030403020204" pitchFamily="34" charset="0"/>
                <a:cs typeface="Arial"/>
              </a:endParaRPr>
            </a:p>
          </p:txBody>
        </p:sp>
      </p:grpSp>
      <p:sp>
        <p:nvSpPr>
          <p:cNvPr id="9" name="Arrow: Pentagon 8">
            <a:extLst>
              <a:ext uri="{FF2B5EF4-FFF2-40B4-BE49-F238E27FC236}">
                <a16:creationId xmlns:a16="http://schemas.microsoft.com/office/drawing/2014/main" id="{2C05348C-BD5B-4AD7-A0BA-D9D622BC2998}"/>
              </a:ext>
            </a:extLst>
          </p:cNvPr>
          <p:cNvSpPr/>
          <p:nvPr/>
        </p:nvSpPr>
        <p:spPr bwMode="auto">
          <a:xfrm rot="16200000">
            <a:off x="3897078" y="3488686"/>
            <a:ext cx="2970349" cy="720000"/>
          </a:xfrm>
          <a:prstGeom prst="homePlate">
            <a:avLst/>
          </a:prstGeom>
          <a:gradFill flip="none" rotWithShape="1">
            <a:gsLst>
              <a:gs pos="0">
                <a:schemeClr val="bg1"/>
              </a:gs>
              <a:gs pos="70000">
                <a:srgbClr val="6CB4AD"/>
              </a:gs>
            </a:gsLst>
            <a:lin ang="0" scaled="0"/>
            <a:tileRect/>
          </a:gradFill>
          <a:ln w="9525">
            <a:noFill/>
            <a:miter lim="800000"/>
            <a:headEnd/>
            <a:tailEnd/>
          </a:ln>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dk1"/>
                </a:solidFill>
                <a:effectLst/>
                <a:uLnTx/>
                <a:uFillTx/>
                <a:latin typeface="Arial"/>
                <a:ea typeface="+mn-ea"/>
                <a:cs typeface="Arial"/>
              </a:rPr>
              <a:t>Boost up to 120%</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sz="1600" dirty="0">
                <a:solidFill>
                  <a:schemeClr val="dk1"/>
                </a:solidFill>
                <a:latin typeface="Arial"/>
                <a:cs typeface="Arial"/>
              </a:rPr>
              <a:t>p</a:t>
            </a:r>
            <a:r>
              <a:rPr kumimoji="0" lang="en-US" sz="1600" b="0" i="0" u="none" strike="noStrike" kern="1200" cap="none" spc="0" normalizeH="0" baseline="0" noProof="0" dirty="0">
                <a:ln>
                  <a:noFill/>
                </a:ln>
                <a:solidFill>
                  <a:schemeClr val="dk1"/>
                </a:solidFill>
                <a:effectLst/>
                <a:uLnTx/>
                <a:uFillTx/>
                <a:latin typeface="Arial"/>
                <a:ea typeface="+mn-ea"/>
                <a:cs typeface="Arial"/>
              </a:rPr>
              <a:t>ower density</a:t>
            </a:r>
          </a:p>
        </p:txBody>
      </p:sp>
      <p:pic>
        <p:nvPicPr>
          <p:cNvPr id="7" name="Picture 6">
            <a:extLst>
              <a:ext uri="{FF2B5EF4-FFF2-40B4-BE49-F238E27FC236}">
                <a16:creationId xmlns:a16="http://schemas.microsoft.com/office/drawing/2014/main" id="{D8881A32-614B-4B9B-AA79-74EBBCA22BA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71864" y="2035505"/>
            <a:ext cx="870389" cy="1145004"/>
          </a:xfrm>
          <a:prstGeom prst="rect">
            <a:avLst/>
          </a:prstGeom>
        </p:spPr>
      </p:pic>
      <p:pic>
        <p:nvPicPr>
          <p:cNvPr id="3" name="Picture 2">
            <a:extLst>
              <a:ext uri="{FF2B5EF4-FFF2-40B4-BE49-F238E27FC236}">
                <a16:creationId xmlns:a16="http://schemas.microsoft.com/office/drawing/2014/main" id="{49AC604F-6F94-4C80-8E0F-46FBBAEB23C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88878" y="4822495"/>
            <a:ext cx="864096" cy="1145004"/>
          </a:xfrm>
          <a:prstGeom prst="rect">
            <a:avLst/>
          </a:prstGeom>
        </p:spPr>
      </p:pic>
    </p:spTree>
    <p:custDataLst>
      <p:tags r:id="rId1"/>
    </p:custDataLst>
    <p:extLst>
      <p:ext uri="{BB962C8B-B14F-4D97-AF65-F5344CB8AC3E}">
        <p14:creationId xmlns:p14="http://schemas.microsoft.com/office/powerpoint/2010/main" val="15421292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F259E-8F79-D5A1-6C16-36DF8ADA7303}"/>
              </a:ext>
            </a:extLst>
          </p:cNvPr>
          <p:cNvSpPr>
            <a:spLocks noGrp="1"/>
          </p:cNvSpPr>
          <p:nvPr>
            <p:ph type="title"/>
          </p:nvPr>
        </p:nvSpPr>
        <p:spPr/>
        <p:txBody>
          <a:bodyPr/>
          <a:lstStyle/>
          <a:p>
            <a:r>
              <a:rPr lang="en-US" dirty="0"/>
              <a:t>Internal and external fighting guide – TO-247 PLUS </a:t>
            </a:r>
          </a:p>
        </p:txBody>
      </p:sp>
      <p:graphicFrame>
        <p:nvGraphicFramePr>
          <p:cNvPr id="6" name="Chart 5">
            <a:extLst>
              <a:ext uri="{FF2B5EF4-FFF2-40B4-BE49-F238E27FC236}">
                <a16:creationId xmlns:a16="http://schemas.microsoft.com/office/drawing/2014/main" id="{8AA0734B-E673-6E22-608B-B89716EFBAF9}"/>
              </a:ext>
            </a:extLst>
          </p:cNvPr>
          <p:cNvGraphicFramePr>
            <a:graphicFrameLocks/>
          </p:cNvGraphicFramePr>
          <p:nvPr>
            <p:extLst>
              <p:ext uri="{D42A27DB-BD31-4B8C-83A1-F6EECF244321}">
                <p14:modId xmlns:p14="http://schemas.microsoft.com/office/powerpoint/2010/main" val="2578770093"/>
              </p:ext>
            </p:extLst>
          </p:nvPr>
        </p:nvGraphicFramePr>
        <p:xfrm>
          <a:off x="6095999" y="1268414"/>
          <a:ext cx="5761039" cy="5113336"/>
        </p:xfrm>
        <a:graphic>
          <a:graphicData uri="http://schemas.openxmlformats.org/drawingml/2006/chart">
            <c:chart xmlns:c="http://schemas.openxmlformats.org/drawingml/2006/chart" xmlns:r="http://schemas.openxmlformats.org/officeDocument/2006/relationships" r:id="rId8"/>
          </a:graphicData>
        </a:graphic>
      </p:graphicFrame>
      <p:sp>
        <p:nvSpPr>
          <p:cNvPr id="10" name="Rectangle: Single Corner Snipped 9">
            <a:extLst>
              <a:ext uri="{FF2B5EF4-FFF2-40B4-BE49-F238E27FC236}">
                <a16:creationId xmlns:a16="http://schemas.microsoft.com/office/drawing/2014/main" id="{7F96D04F-F16F-A5F7-3A15-C9688E27C7ED}"/>
              </a:ext>
            </a:extLst>
          </p:cNvPr>
          <p:cNvSpPr/>
          <p:nvPr/>
        </p:nvSpPr>
        <p:spPr bwMode="auto">
          <a:xfrm>
            <a:off x="346614" y="1428625"/>
            <a:ext cx="4307326" cy="1840163"/>
          </a:xfrm>
          <a:prstGeom prst="snip1Rect">
            <a:avLst>
              <a:gd name="adj" fmla="val 50000"/>
            </a:avLst>
          </a:prstGeom>
          <a:solidFill>
            <a:srgbClr val="84B6A7">
              <a:alpha val="30000"/>
            </a:srgbClr>
          </a:solidFill>
          <a:ln w="9525">
            <a:noFill/>
            <a:miter lim="800000"/>
            <a:headEnd/>
            <a:tailEnd/>
          </a:ln>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mc:AlternateContent xmlns:mc="http://schemas.openxmlformats.org/markup-compatibility/2006" xmlns:am3d="http://schemas.microsoft.com/office/drawing/2017/model3d">
        <mc:Choice Requires="am3d">
          <p:graphicFrame>
            <p:nvGraphicFramePr>
              <p:cNvPr id="12" name="3D Model 11" descr="Light Gray Cuboid">
                <a:extLst>
                  <a:ext uri="{FF2B5EF4-FFF2-40B4-BE49-F238E27FC236}">
                    <a16:creationId xmlns:a16="http://schemas.microsoft.com/office/drawing/2014/main" id="{1ED2D0AD-5CD9-6012-210F-7A0DB3B27AEA}"/>
                  </a:ext>
                </a:extLst>
              </p:cNvPr>
              <p:cNvGraphicFramePr>
                <a:graphicFrameLocks noChangeAspect="1"/>
              </p:cNvGraphicFramePr>
              <p:nvPr/>
            </p:nvGraphicFramePr>
            <p:xfrm>
              <a:off x="475856" y="1252564"/>
              <a:ext cx="1759370" cy="1672380"/>
            </p:xfrm>
            <a:graphic>
              <a:graphicData uri="http://schemas.microsoft.com/office/drawing/2017/model3d">
                <am3d:model3d r:embed="rId9">
                  <am3d:spPr>
                    <a:xfrm>
                      <a:off x="0" y="0"/>
                      <a:ext cx="1759370" cy="1672380"/>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3880806" ay="1579193" az="2588418"/>
                    <am3d:postTrans dx="0" dy="0" dz="0"/>
                  </am3d:trans>
                  <am3d:raster rName="Office3DRenderer" rVer="16.0.8326">
                    <am3d:blip r:embed="rId10"/>
                  </am3d:raster>
                  <am3d:objViewport viewportSz="176459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descr="Light Gray Cuboid">
                <a:extLst>
                  <a:ext uri="{FF2B5EF4-FFF2-40B4-BE49-F238E27FC236}">
                    <a16:creationId xmlns:a16="http://schemas.microsoft.com/office/drawing/2014/main" id="{1ED2D0AD-5CD9-6012-210F-7A0DB3B27AEA}"/>
                  </a:ext>
                </a:extLst>
              </p:cNvPr>
              <p:cNvPicPr>
                <a:picLocks noGrp="1" noRot="1" noChangeAspect="1" noMove="1" noResize="1" noEditPoints="1" noAdjustHandles="1" noChangeArrowheads="1" noChangeShapeType="1" noCrop="1"/>
              </p:cNvPicPr>
              <p:nvPr/>
            </p:nvPicPr>
            <p:blipFill>
              <a:blip r:embed="rId11"/>
              <a:stretch>
                <a:fillRect/>
              </a:stretch>
            </p:blipFill>
            <p:spPr>
              <a:xfrm>
                <a:off x="475856" y="1252564"/>
                <a:ext cx="1759370" cy="1672380"/>
              </a:xfrm>
              <a:prstGeom prst="rect">
                <a:avLst/>
              </a:prstGeom>
            </p:spPr>
          </p:pic>
        </mc:Fallback>
      </mc:AlternateContent>
      <p:sp>
        <p:nvSpPr>
          <p:cNvPr id="14" name="11 Highlight">
            <a:extLst>
              <a:ext uri="{FF2B5EF4-FFF2-40B4-BE49-F238E27FC236}">
                <a16:creationId xmlns:a16="http://schemas.microsoft.com/office/drawing/2014/main" id="{8859A91B-4A35-AC29-5257-DA94B217B0DE}"/>
              </a:ext>
            </a:extLst>
          </p:cNvPr>
          <p:cNvSpPr>
            <a:spLocks/>
          </p:cNvSpPr>
          <p:nvPr>
            <p:custDataLst>
              <p:tags r:id="rId1"/>
            </p:custDataLst>
          </p:nvPr>
        </p:nvSpPr>
        <p:spPr bwMode="gray">
          <a:xfrm>
            <a:off x="4348281" y="1268414"/>
            <a:ext cx="1759370" cy="1217192"/>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0A8276"/>
          </a:solidFill>
          <a:ln w="9525">
            <a:solidFill>
              <a:srgbClr val="0A8276"/>
            </a:solidFill>
            <a:round/>
            <a:headEnd/>
            <a:tailEnd/>
          </a:ln>
        </p:spPr>
        <p:txBody>
          <a:bodyPr tIns="91440" b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dk1"/>
                </a:solidFill>
                <a:effectLst/>
                <a:uLnTx/>
                <a:uFillTx/>
                <a:latin typeface="Arial" panose="020B0604020202020204" pitchFamily="34" charset="0"/>
                <a:cs typeface="Arial"/>
              </a:rPr>
              <a:t>Size reduc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dk1"/>
                </a:solidFill>
                <a:effectLst/>
                <a:uLnTx/>
                <a:uFillTx/>
                <a:latin typeface="Arial" panose="020B0604020202020204" pitchFamily="34" charset="0"/>
                <a:cs typeface="Arial"/>
              </a:rPr>
              <a:t>more power</a:t>
            </a:r>
            <a:endParaRPr kumimoji="0" lang="en-US" sz="1400" b="1" i="0" u="none" strike="noStrike" kern="1200" cap="none" spc="0" normalizeH="0" baseline="0" noProof="0" dirty="0">
              <a:ln>
                <a:noFill/>
              </a:ln>
              <a:solidFill>
                <a:schemeClr val="dk1"/>
              </a:solidFill>
              <a:effectLst/>
              <a:uLnTx/>
              <a:uFillTx/>
              <a:latin typeface="Arial" panose="020B0604020202020204" pitchFamily="34" charset="0"/>
              <a:cs typeface="Arial"/>
            </a:endParaRPr>
          </a:p>
        </p:txBody>
      </p:sp>
      <p:pic>
        <p:nvPicPr>
          <p:cNvPr id="16" name="Picture 15">
            <a:extLst>
              <a:ext uri="{FF2B5EF4-FFF2-40B4-BE49-F238E27FC236}">
                <a16:creationId xmlns:a16="http://schemas.microsoft.com/office/drawing/2014/main" id="{E6A1F867-D9AD-1E8E-A8BA-42401B24F55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27185" y="1999134"/>
            <a:ext cx="515898" cy="515898"/>
          </a:xfrm>
          <a:prstGeom prst="rect">
            <a:avLst/>
          </a:prstGeom>
        </p:spPr>
      </p:pic>
      <p:grpSp>
        <p:nvGrpSpPr>
          <p:cNvPr id="17" name="Group 16">
            <a:extLst>
              <a:ext uri="{FF2B5EF4-FFF2-40B4-BE49-F238E27FC236}">
                <a16:creationId xmlns:a16="http://schemas.microsoft.com/office/drawing/2014/main" id="{C2C1C5A8-C701-A005-F191-011CC98A50DA}"/>
              </a:ext>
            </a:extLst>
          </p:cNvPr>
          <p:cNvGrpSpPr/>
          <p:nvPr/>
        </p:nvGrpSpPr>
        <p:grpSpPr>
          <a:xfrm>
            <a:off x="2474340" y="1814148"/>
            <a:ext cx="1477631" cy="1404157"/>
            <a:chOff x="3351404" y="4905163"/>
            <a:chExt cx="1477631" cy="1404157"/>
          </a:xfrm>
        </p:grpSpPr>
        <mc:AlternateContent xmlns:mc="http://schemas.openxmlformats.org/markup-compatibility/2006" xmlns:am3d="http://schemas.microsoft.com/office/drawing/2017/model3d">
          <mc:Choice Requires="am3d">
            <p:graphicFrame>
              <p:nvGraphicFramePr>
                <p:cNvPr id="18" name="3D Model 17" descr="Light Gray Cuboid">
                  <a:extLst>
                    <a:ext uri="{FF2B5EF4-FFF2-40B4-BE49-F238E27FC236}">
                      <a16:creationId xmlns:a16="http://schemas.microsoft.com/office/drawing/2014/main" id="{543B634C-11F6-7B75-2B7D-F71C4A0B0D26}"/>
                    </a:ext>
                  </a:extLst>
                </p:cNvPr>
                <p:cNvGraphicFramePr>
                  <a:graphicFrameLocks noChangeAspect="1"/>
                </p:cNvGraphicFramePr>
                <p:nvPr/>
              </p:nvGraphicFramePr>
              <p:xfrm>
                <a:off x="3351404" y="4905163"/>
                <a:ext cx="1477631" cy="1404157"/>
              </p:xfrm>
              <a:graphic>
                <a:graphicData uri="http://schemas.microsoft.com/office/drawing/2017/model3d">
                  <am3d:model3d r:embed="rId9">
                    <am3d:spPr>
                      <a:xfrm>
                        <a:off x="0" y="0"/>
                        <a:ext cx="1477631" cy="1404157"/>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3809007" ay="1668493" az="2584509"/>
                      <am3d:postTrans dx="0" dy="0" dz="0"/>
                    </am3d:trans>
                    <am3d:raster rName="Office3DRenderer" rVer="16.0.8326">
                      <am3d:blip r:embed="rId13"/>
                    </am3d:raster>
                    <am3d:objViewport viewportSz="148446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8" name="3D Model 17" descr="Light Gray Cuboid">
                  <a:extLst>
                    <a:ext uri="{FF2B5EF4-FFF2-40B4-BE49-F238E27FC236}">
                      <a16:creationId xmlns:a16="http://schemas.microsoft.com/office/drawing/2014/main" id="{543B634C-11F6-7B75-2B7D-F71C4A0B0D26}"/>
                    </a:ext>
                  </a:extLst>
                </p:cNvPr>
                <p:cNvPicPr>
                  <a:picLocks noGrp="1" noRot="1" noChangeAspect="1" noMove="1" noResize="1" noEditPoints="1" noAdjustHandles="1" noChangeArrowheads="1" noChangeShapeType="1" noCrop="1"/>
                </p:cNvPicPr>
                <p:nvPr/>
              </p:nvPicPr>
              <p:blipFill>
                <a:blip r:embed="rId14"/>
                <a:stretch>
                  <a:fillRect/>
                </a:stretch>
              </p:blipFill>
              <p:spPr>
                <a:xfrm>
                  <a:off x="2474340" y="1814148"/>
                  <a:ext cx="1477631" cy="1404157"/>
                </a:xfrm>
                <a:prstGeom prst="rect">
                  <a:avLst/>
                </a:prstGeom>
              </p:spPr>
            </p:pic>
          </mc:Fallback>
        </mc:AlternateContent>
        <p:pic>
          <p:nvPicPr>
            <p:cNvPr id="19" name="Picture 18">
              <a:extLst>
                <a:ext uri="{FF2B5EF4-FFF2-40B4-BE49-F238E27FC236}">
                  <a16:creationId xmlns:a16="http://schemas.microsoft.com/office/drawing/2014/main" id="{BE9F73D7-D8F7-42FC-F1CD-85D160D1AFA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773682">
              <a:off x="3567403" y="5229857"/>
              <a:ext cx="759342" cy="999134"/>
            </a:xfrm>
            <a:prstGeom prst="rect">
              <a:avLst/>
            </a:prstGeom>
          </p:spPr>
        </p:pic>
      </p:grpSp>
      <p:sp>
        <p:nvSpPr>
          <p:cNvPr id="20" name="TextBox 19">
            <a:extLst>
              <a:ext uri="{FF2B5EF4-FFF2-40B4-BE49-F238E27FC236}">
                <a16:creationId xmlns:a16="http://schemas.microsoft.com/office/drawing/2014/main" id="{20FBD3A9-5419-3F70-4C86-6868481A4377}"/>
              </a:ext>
            </a:extLst>
          </p:cNvPr>
          <p:cNvSpPr txBox="1"/>
          <p:nvPr/>
        </p:nvSpPr>
        <p:spPr bwMode="auto">
          <a:xfrm>
            <a:off x="2022387" y="1478882"/>
            <a:ext cx="1190769" cy="247171"/>
          </a:xfrm>
          <a:prstGeom prst="rect">
            <a:avLst/>
          </a:prstGeom>
          <a:noFill/>
          <a:ln w="9525">
            <a:noFill/>
            <a:miter lim="800000"/>
            <a:headEnd/>
            <a:tailEnd/>
          </a:ln>
          <a:effectLst/>
        </p:spPr>
        <p:txBody>
          <a:bodyPr wrap="square" lIns="0" tIns="0" rIns="0" bIns="0" rtlCol="0" anchor="ctr" anchorCtr="0">
            <a:noAutofit/>
          </a:bodyPr>
          <a:lstStyle/>
          <a:p>
            <a:pPr marL="0" marR="0" lvl="0" indent="0" algn="l" defTabSz="576000" rtl="0" eaLnBrk="0" fontAlgn="auto" latinLnBrk="0" hangingPunct="0">
              <a:lnSpc>
                <a:spcPct val="100000"/>
              </a:lnSpc>
              <a:spcBef>
                <a:spcPts val="0"/>
              </a:spcBef>
              <a:spcAft>
                <a:spcPts val="0"/>
              </a:spcAft>
              <a:buClr>
                <a:srgbClr val="E30034"/>
              </a:buClr>
              <a:buSzTx/>
              <a:buFontTx/>
              <a:buNone/>
              <a:tabLst/>
              <a:defRPr/>
            </a:pPr>
            <a:endParaRPr kumimoji="0" lang="en-US" sz="1400" b="0" i="1" u="none" strike="noStrike" kern="0" cap="none" spc="0" normalizeH="0" baseline="0" noProof="0" dirty="0">
              <a:ln>
                <a:noFill/>
              </a:ln>
              <a:solidFill>
                <a:srgbClr val="000000"/>
              </a:solidFill>
              <a:effectLst/>
              <a:uLnTx/>
              <a:uFillTx/>
              <a:latin typeface="Arial"/>
              <a:ea typeface="+mn-ea"/>
              <a:cs typeface="Arial"/>
            </a:endParaRPr>
          </a:p>
        </p:txBody>
      </p:sp>
      <p:pic>
        <p:nvPicPr>
          <p:cNvPr id="35" name="Picture 34" descr="A picture containing text, electronics&#10;&#10;Description automatically generated">
            <a:extLst>
              <a:ext uri="{FF2B5EF4-FFF2-40B4-BE49-F238E27FC236}">
                <a16:creationId xmlns:a16="http://schemas.microsoft.com/office/drawing/2014/main" id="{99068A3B-8D25-AA6E-E6CA-35A64BA6EA6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793422">
            <a:off x="595973" y="1587739"/>
            <a:ext cx="715544" cy="948159"/>
          </a:xfrm>
          <a:prstGeom prst="rect">
            <a:avLst/>
          </a:prstGeom>
        </p:spPr>
      </p:pic>
      <p:pic>
        <p:nvPicPr>
          <p:cNvPr id="36" name="Picture 35" descr="A picture containing text, electronics&#10;&#10;Description automatically generated">
            <a:extLst>
              <a:ext uri="{FF2B5EF4-FFF2-40B4-BE49-F238E27FC236}">
                <a16:creationId xmlns:a16="http://schemas.microsoft.com/office/drawing/2014/main" id="{A85ED567-5647-EE07-3CD6-69C41C5ADEC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793422">
            <a:off x="1025815" y="1897775"/>
            <a:ext cx="715544" cy="948159"/>
          </a:xfrm>
          <a:prstGeom prst="rect">
            <a:avLst/>
          </a:prstGeom>
        </p:spPr>
      </p:pic>
      <p:grpSp>
        <p:nvGrpSpPr>
          <p:cNvPr id="21" name="Target Square">
            <a:extLst>
              <a:ext uri="{FF2B5EF4-FFF2-40B4-BE49-F238E27FC236}">
                <a16:creationId xmlns:a16="http://schemas.microsoft.com/office/drawing/2014/main" id="{ABFD7DA9-0216-4A7E-9F1B-185A9008A453}"/>
              </a:ext>
            </a:extLst>
          </p:cNvPr>
          <p:cNvGrpSpPr>
            <a:grpSpLocks noChangeAspect="1"/>
          </p:cNvGrpSpPr>
          <p:nvPr>
            <p:custDataLst>
              <p:tags r:id="rId2"/>
            </p:custDataLst>
          </p:nvPr>
        </p:nvGrpSpPr>
        <p:grpSpPr>
          <a:xfrm>
            <a:off x="2013634" y="5190848"/>
            <a:ext cx="589848" cy="543596"/>
            <a:chOff x="1775519" y="1268414"/>
            <a:chExt cx="1172443" cy="1080508"/>
          </a:xfrm>
        </p:grpSpPr>
        <p:sp>
          <p:nvSpPr>
            <p:cNvPr id="22" name="Freihandform: Form 30">
              <a:extLst>
                <a:ext uri="{FF2B5EF4-FFF2-40B4-BE49-F238E27FC236}">
                  <a16:creationId xmlns:a16="http://schemas.microsoft.com/office/drawing/2014/main" id="{0A68B81D-3D93-405E-A1D0-0E4B3AB0478E}"/>
                </a:ext>
              </a:extLst>
            </p:cNvPr>
            <p:cNvSpPr/>
            <p:nvPr/>
          </p:nvSpPr>
          <p:spPr>
            <a:xfrm>
              <a:off x="1775519" y="1268414"/>
              <a:ext cx="1172443" cy="1080508"/>
            </a:xfrm>
            <a:custGeom>
              <a:avLst/>
              <a:gdLst>
                <a:gd name="connsiteX0" fmla="*/ 0 w 1080508"/>
                <a:gd name="connsiteY0" fmla="*/ 0 h 1080508"/>
                <a:gd name="connsiteX1" fmla="*/ 1080508 w 1080508"/>
                <a:gd name="connsiteY1" fmla="*/ 0 h 1080508"/>
                <a:gd name="connsiteX2" fmla="*/ 1080508 w 1080508"/>
                <a:gd name="connsiteY2" fmla="*/ 1080508 h 1080508"/>
                <a:gd name="connsiteX3" fmla="*/ 0 w 1080508"/>
                <a:gd name="connsiteY3" fmla="*/ 1080508 h 1080508"/>
              </a:gdLst>
              <a:ahLst/>
              <a:cxnLst>
                <a:cxn ang="0">
                  <a:pos x="connsiteX0" y="connsiteY0"/>
                </a:cxn>
                <a:cxn ang="0">
                  <a:pos x="connsiteX1" y="connsiteY1"/>
                </a:cxn>
                <a:cxn ang="0">
                  <a:pos x="connsiteX2" y="connsiteY2"/>
                </a:cxn>
                <a:cxn ang="0">
                  <a:pos x="connsiteX3" y="connsiteY3"/>
                </a:cxn>
              </a:cxnLst>
              <a:rect l="l" t="t" r="r" b="b"/>
              <a:pathLst>
                <a:path w="1080508" h="1080508">
                  <a:moveTo>
                    <a:pt x="0" y="0"/>
                  </a:moveTo>
                  <a:lnTo>
                    <a:pt x="1080508" y="0"/>
                  </a:lnTo>
                  <a:lnTo>
                    <a:pt x="1080508" y="1080508"/>
                  </a:lnTo>
                  <a:lnTo>
                    <a:pt x="0" y="1080508"/>
                  </a:lnTo>
                  <a:close/>
                </a:path>
              </a:pathLst>
            </a:custGeom>
            <a:solidFill>
              <a:schemeClr val="accent3"/>
            </a:solidFill>
            <a:ln w="1266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1D1D1D"/>
                </a:solidFill>
                <a:effectLst/>
                <a:uLnTx/>
                <a:uFillTx/>
                <a:latin typeface="Arial" charset="0"/>
                <a:cs typeface="Arial"/>
              </a:endParaRPr>
            </a:p>
          </p:txBody>
        </p:sp>
        <p:sp>
          <p:nvSpPr>
            <p:cNvPr id="23" name="Freihandform: Form 31">
              <a:extLst>
                <a:ext uri="{FF2B5EF4-FFF2-40B4-BE49-F238E27FC236}">
                  <a16:creationId xmlns:a16="http://schemas.microsoft.com/office/drawing/2014/main" id="{C45C1079-2E1A-43D6-BAB8-53D00D30F22D}"/>
                </a:ext>
              </a:extLst>
            </p:cNvPr>
            <p:cNvSpPr/>
            <p:nvPr/>
          </p:nvSpPr>
          <p:spPr>
            <a:xfrm>
              <a:off x="2033817" y="1432728"/>
              <a:ext cx="751716" cy="751754"/>
            </a:xfrm>
            <a:custGeom>
              <a:avLst/>
              <a:gdLst>
                <a:gd name="connsiteX0" fmla="*/ 684772 w 751716"/>
                <a:gd name="connsiteY0" fmla="*/ 161592 h 751753"/>
                <a:gd name="connsiteX1" fmla="*/ 631661 w 751716"/>
                <a:gd name="connsiteY1" fmla="*/ 214703 h 751753"/>
                <a:gd name="connsiteX2" fmla="*/ 623275 w 751716"/>
                <a:gd name="connsiteY2" fmla="*/ 223088 h 751753"/>
                <a:gd name="connsiteX3" fmla="*/ 611586 w 751716"/>
                <a:gd name="connsiteY3" fmla="*/ 221564 h 751753"/>
                <a:gd name="connsiteX4" fmla="*/ 602692 w 751716"/>
                <a:gd name="connsiteY4" fmla="*/ 220293 h 751753"/>
                <a:gd name="connsiteX5" fmla="*/ 531628 w 751716"/>
                <a:gd name="connsiteY5" fmla="*/ 603138 h 751753"/>
                <a:gd name="connsiteX6" fmla="*/ 148783 w 751716"/>
                <a:gd name="connsiteY6" fmla="*/ 532075 h 751753"/>
                <a:gd name="connsiteX7" fmla="*/ 219847 w 751716"/>
                <a:gd name="connsiteY7" fmla="*/ 149230 h 751753"/>
                <a:gd name="connsiteX8" fmla="*/ 529252 w 751716"/>
                <a:gd name="connsiteY8" fmla="*/ 147615 h 751753"/>
                <a:gd name="connsiteX9" fmla="*/ 527981 w 751716"/>
                <a:gd name="connsiteY9" fmla="*/ 137959 h 751753"/>
                <a:gd name="connsiteX10" fmla="*/ 526457 w 751716"/>
                <a:gd name="connsiteY10" fmla="*/ 126143 h 751753"/>
                <a:gd name="connsiteX11" fmla="*/ 534715 w 751716"/>
                <a:gd name="connsiteY11" fmla="*/ 117757 h 751753"/>
                <a:gd name="connsiteX12" fmla="*/ 587318 w 751716"/>
                <a:gd name="connsiteY12" fmla="*/ 65154 h 751753"/>
                <a:gd name="connsiteX13" fmla="*/ 65154 w 751716"/>
                <a:gd name="connsiteY13" fmla="*/ 164436 h 751753"/>
                <a:gd name="connsiteX14" fmla="*/ 164436 w 751716"/>
                <a:gd name="connsiteY14" fmla="*/ 686599 h 751753"/>
                <a:gd name="connsiteX15" fmla="*/ 686599 w 751716"/>
                <a:gd name="connsiteY15" fmla="*/ 587318 h 751753"/>
                <a:gd name="connsiteX16" fmla="*/ 684645 w 751716"/>
                <a:gd name="connsiteY16" fmla="*/ 161592 h 751753"/>
                <a:gd name="connsiteX17" fmla="*/ 375892 w 751716"/>
                <a:gd name="connsiteY17" fmla="*/ 305804 h 751753"/>
                <a:gd name="connsiteX18" fmla="*/ 390631 w 751716"/>
                <a:gd name="connsiteY18" fmla="*/ 307455 h 751753"/>
                <a:gd name="connsiteX19" fmla="*/ 465214 w 751716"/>
                <a:gd name="connsiteY19" fmla="*/ 232872 h 751753"/>
                <a:gd name="connsiteX20" fmla="*/ 376273 w 751716"/>
                <a:gd name="connsiteY20" fmla="*/ 207460 h 751753"/>
                <a:gd name="connsiteX21" fmla="*/ 207521 w 751716"/>
                <a:gd name="connsiteY21" fmla="*/ 375922 h 751753"/>
                <a:gd name="connsiteX22" fmla="*/ 375985 w 751716"/>
                <a:gd name="connsiteY22" fmla="*/ 544674 h 751753"/>
                <a:gd name="connsiteX23" fmla="*/ 544735 w 751716"/>
                <a:gd name="connsiteY23" fmla="*/ 376212 h 751753"/>
                <a:gd name="connsiteX24" fmla="*/ 517181 w 751716"/>
                <a:gd name="connsiteY24" fmla="*/ 283695 h 751753"/>
                <a:gd name="connsiteX25" fmla="*/ 443233 w 751716"/>
                <a:gd name="connsiteY25" fmla="*/ 357390 h 751753"/>
                <a:gd name="connsiteX26" fmla="*/ 445774 w 751716"/>
                <a:gd name="connsiteY26" fmla="*/ 375940 h 751753"/>
                <a:gd name="connsiteX27" fmla="*/ 375638 w 751716"/>
                <a:gd name="connsiteY27" fmla="*/ 445568 h 751753"/>
                <a:gd name="connsiteX28" fmla="*/ 306011 w 751716"/>
                <a:gd name="connsiteY28" fmla="*/ 375432 h 751753"/>
                <a:gd name="connsiteX29" fmla="*/ 375892 w 751716"/>
                <a:gd name="connsiteY29" fmla="*/ 305804 h 751753"/>
                <a:gd name="connsiteX30" fmla="*/ 557078 w 751716"/>
                <a:gd name="connsiteY30" fmla="*/ 175314 h 751753"/>
                <a:gd name="connsiteX31" fmla="*/ 394951 w 751716"/>
                <a:gd name="connsiteY31" fmla="*/ 337950 h 751753"/>
                <a:gd name="connsiteX32" fmla="*/ 379577 w 751716"/>
                <a:gd name="connsiteY32" fmla="*/ 370858 h 751753"/>
                <a:gd name="connsiteX33" fmla="*/ 411977 w 751716"/>
                <a:gd name="connsiteY33" fmla="*/ 354975 h 751753"/>
                <a:gd name="connsiteX34" fmla="*/ 574612 w 751716"/>
                <a:gd name="connsiteY34" fmla="*/ 192340 h 751753"/>
                <a:gd name="connsiteX35" fmla="*/ 615017 w 751716"/>
                <a:gd name="connsiteY35" fmla="*/ 197550 h 751753"/>
                <a:gd name="connsiteX36" fmla="*/ 711581 w 751716"/>
                <a:gd name="connsiteY36" fmla="*/ 100985 h 751753"/>
                <a:gd name="connsiteX37" fmla="*/ 656057 w 751716"/>
                <a:gd name="connsiteY37" fmla="*/ 93743 h 751753"/>
                <a:gd name="connsiteX38" fmla="*/ 649068 w 751716"/>
                <a:gd name="connsiteY38" fmla="*/ 38218 h 751753"/>
                <a:gd name="connsiteX39" fmla="*/ 552504 w 751716"/>
                <a:gd name="connsiteY39" fmla="*/ 134783 h 75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51716" h="751753">
                  <a:moveTo>
                    <a:pt x="684772" y="161592"/>
                  </a:moveTo>
                  <a:lnTo>
                    <a:pt x="631661" y="214703"/>
                  </a:lnTo>
                  <a:lnTo>
                    <a:pt x="623275" y="223088"/>
                  </a:lnTo>
                  <a:lnTo>
                    <a:pt x="611586" y="221564"/>
                  </a:lnTo>
                  <a:lnTo>
                    <a:pt x="602692" y="220293"/>
                  </a:lnTo>
                  <a:cubicBezTo>
                    <a:pt x="688788" y="345637"/>
                    <a:pt x="656971" y="517042"/>
                    <a:pt x="531628" y="603138"/>
                  </a:cubicBezTo>
                  <a:cubicBezTo>
                    <a:pt x="406286" y="689234"/>
                    <a:pt x="234879" y="657419"/>
                    <a:pt x="148783" y="532075"/>
                  </a:cubicBezTo>
                  <a:cubicBezTo>
                    <a:pt x="62687" y="406732"/>
                    <a:pt x="94504" y="235325"/>
                    <a:pt x="219847" y="149230"/>
                  </a:cubicBezTo>
                  <a:cubicBezTo>
                    <a:pt x="312899" y="85313"/>
                    <a:pt x="435538" y="84674"/>
                    <a:pt x="529252" y="147615"/>
                  </a:cubicBezTo>
                  <a:lnTo>
                    <a:pt x="527981" y="137959"/>
                  </a:lnTo>
                  <a:lnTo>
                    <a:pt x="526457" y="126143"/>
                  </a:lnTo>
                  <a:lnTo>
                    <a:pt x="534715" y="117757"/>
                  </a:lnTo>
                  <a:lnTo>
                    <a:pt x="587318" y="65154"/>
                  </a:lnTo>
                  <a:cubicBezTo>
                    <a:pt x="415711" y="-51621"/>
                    <a:pt x="181930" y="-7171"/>
                    <a:pt x="65154" y="164436"/>
                  </a:cubicBezTo>
                  <a:cubicBezTo>
                    <a:pt x="-51621" y="336042"/>
                    <a:pt x="-7171" y="569823"/>
                    <a:pt x="164436" y="686599"/>
                  </a:cubicBezTo>
                  <a:cubicBezTo>
                    <a:pt x="336042" y="803375"/>
                    <a:pt x="569823" y="758925"/>
                    <a:pt x="686599" y="587318"/>
                  </a:cubicBezTo>
                  <a:cubicBezTo>
                    <a:pt x="774131" y="458685"/>
                    <a:pt x="773355" y="289416"/>
                    <a:pt x="684645" y="161592"/>
                  </a:cubicBezTo>
                  <a:close/>
                  <a:moveTo>
                    <a:pt x="375892" y="305804"/>
                  </a:moveTo>
                  <a:cubicBezTo>
                    <a:pt x="380850" y="305830"/>
                    <a:pt x="385790" y="306383"/>
                    <a:pt x="390631" y="307455"/>
                  </a:cubicBezTo>
                  <a:lnTo>
                    <a:pt x="465214" y="232872"/>
                  </a:lnTo>
                  <a:cubicBezTo>
                    <a:pt x="438564" y="216168"/>
                    <a:pt x="407725" y="207357"/>
                    <a:pt x="376273" y="207460"/>
                  </a:cubicBezTo>
                  <a:cubicBezTo>
                    <a:pt x="283154" y="207380"/>
                    <a:pt x="207601" y="282804"/>
                    <a:pt x="207521" y="375922"/>
                  </a:cubicBezTo>
                  <a:cubicBezTo>
                    <a:pt x="207442" y="469043"/>
                    <a:pt x="282866" y="544594"/>
                    <a:pt x="375985" y="544674"/>
                  </a:cubicBezTo>
                  <a:cubicBezTo>
                    <a:pt x="469104" y="544754"/>
                    <a:pt x="544657" y="469331"/>
                    <a:pt x="544735" y="376212"/>
                  </a:cubicBezTo>
                  <a:cubicBezTo>
                    <a:pt x="544765" y="343347"/>
                    <a:pt x="535187" y="311190"/>
                    <a:pt x="517181" y="283695"/>
                  </a:cubicBezTo>
                  <a:lnTo>
                    <a:pt x="443233" y="357390"/>
                  </a:lnTo>
                  <a:cubicBezTo>
                    <a:pt x="444858" y="363441"/>
                    <a:pt x="445712" y="369675"/>
                    <a:pt x="445774" y="375940"/>
                  </a:cubicBezTo>
                  <a:cubicBezTo>
                    <a:pt x="445634" y="414534"/>
                    <a:pt x="414233" y="445708"/>
                    <a:pt x="375638" y="445568"/>
                  </a:cubicBezTo>
                  <a:cubicBezTo>
                    <a:pt x="337044" y="445427"/>
                    <a:pt x="305870" y="414026"/>
                    <a:pt x="306011" y="375432"/>
                  </a:cubicBezTo>
                  <a:cubicBezTo>
                    <a:pt x="306151" y="336937"/>
                    <a:pt x="337397" y="305804"/>
                    <a:pt x="375892" y="305804"/>
                  </a:cubicBezTo>
                  <a:close/>
                  <a:moveTo>
                    <a:pt x="557078" y="175314"/>
                  </a:moveTo>
                  <a:lnTo>
                    <a:pt x="394951" y="337950"/>
                  </a:lnTo>
                  <a:lnTo>
                    <a:pt x="379577" y="370858"/>
                  </a:lnTo>
                  <a:lnTo>
                    <a:pt x="411977" y="354975"/>
                  </a:lnTo>
                  <a:lnTo>
                    <a:pt x="574612" y="192340"/>
                  </a:lnTo>
                  <a:lnTo>
                    <a:pt x="615017" y="197550"/>
                  </a:lnTo>
                  <a:lnTo>
                    <a:pt x="711581" y="100985"/>
                  </a:lnTo>
                  <a:lnTo>
                    <a:pt x="656057" y="93743"/>
                  </a:lnTo>
                  <a:lnTo>
                    <a:pt x="649068" y="38218"/>
                  </a:lnTo>
                  <a:lnTo>
                    <a:pt x="552504" y="134783"/>
                  </a:lnTo>
                  <a:close/>
                </a:path>
              </a:pathLst>
            </a:custGeom>
            <a:solidFill>
              <a:srgbClr val="FFFFFF"/>
            </a:solidFill>
            <a:ln w="1266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1D1D1D"/>
                </a:solidFill>
                <a:effectLst/>
                <a:uLnTx/>
                <a:uFillTx/>
                <a:latin typeface="Arial" charset="0"/>
                <a:cs typeface="Arial"/>
              </a:endParaRPr>
            </a:p>
          </p:txBody>
        </p:sp>
      </p:grpSp>
      <p:sp>
        <p:nvSpPr>
          <p:cNvPr id="24" name="Arrow: Pentagon 23">
            <a:extLst>
              <a:ext uri="{FF2B5EF4-FFF2-40B4-BE49-F238E27FC236}">
                <a16:creationId xmlns:a16="http://schemas.microsoft.com/office/drawing/2014/main" id="{33C75671-929B-4894-BD77-23BEAD4B8A3C}"/>
              </a:ext>
            </a:extLst>
          </p:cNvPr>
          <p:cNvSpPr/>
          <p:nvPr/>
        </p:nvSpPr>
        <p:spPr bwMode="auto">
          <a:xfrm rot="16200000">
            <a:off x="319584" y="4541222"/>
            <a:ext cx="2589437" cy="777025"/>
          </a:xfrm>
          <a:prstGeom prst="homePlate">
            <a:avLst/>
          </a:prstGeom>
          <a:gradFill flip="none" rotWithShape="1">
            <a:gsLst>
              <a:gs pos="0">
                <a:schemeClr val="bg1"/>
              </a:gs>
              <a:gs pos="70000">
                <a:srgbClr val="6CB4AD"/>
              </a:gs>
            </a:gsLst>
            <a:lin ang="0" scaled="0"/>
            <a:tileRect/>
          </a:gradFill>
          <a:ln w="9525">
            <a:noFill/>
            <a:miter lim="800000"/>
            <a:headEnd/>
            <a:tailEnd/>
          </a:ln>
        </p:spPr>
        <p:txBody>
          <a:bodyPr wrap="square" lIns="72000" tIns="72000" rIns="72000" bIns="72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1D1D1D"/>
                </a:solidFill>
                <a:effectLst/>
                <a:uLnTx/>
                <a:uFillTx/>
                <a:latin typeface="Arial"/>
                <a:cs typeface="Arial"/>
              </a:rPr>
              <a:t>TRENCHSTOP™ IGBT7</a:t>
            </a:r>
            <a:endParaRPr kumimoji="0" lang="en-US" sz="1600" b="0" i="0" u="none" strike="noStrike" kern="1200" cap="none" spc="0" normalizeH="0" baseline="0" noProof="0" dirty="0">
              <a:ln>
                <a:noFill/>
              </a:ln>
              <a:solidFill>
                <a:srgbClr val="1D1D1D"/>
              </a:solidFill>
              <a:effectLst/>
              <a:uLnTx/>
              <a:uFillTx/>
              <a:latin typeface="Arial"/>
              <a:cs typeface="Arial"/>
            </a:endParaRPr>
          </a:p>
        </p:txBody>
      </p:sp>
      <p:pic>
        <p:nvPicPr>
          <p:cNvPr id="25" name="Picture 24">
            <a:extLst>
              <a:ext uri="{FF2B5EF4-FFF2-40B4-BE49-F238E27FC236}">
                <a16:creationId xmlns:a16="http://schemas.microsoft.com/office/drawing/2014/main" id="{50277EFC-03F2-4BEE-B7ED-89D8940EC13D}"/>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92018" y="3397109"/>
            <a:ext cx="777024" cy="1022182"/>
          </a:xfrm>
          <a:prstGeom prst="rect">
            <a:avLst/>
          </a:prstGeom>
        </p:spPr>
      </p:pic>
      <p:pic>
        <p:nvPicPr>
          <p:cNvPr id="26" name="Picture 25">
            <a:extLst>
              <a:ext uri="{FF2B5EF4-FFF2-40B4-BE49-F238E27FC236}">
                <a16:creationId xmlns:a16="http://schemas.microsoft.com/office/drawing/2014/main" id="{3A021FA1-9828-4605-B322-A81E4DB02850}"/>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47680" y="5343395"/>
            <a:ext cx="777024" cy="1029626"/>
          </a:xfrm>
          <a:prstGeom prst="rect">
            <a:avLst/>
          </a:prstGeom>
        </p:spPr>
      </p:pic>
      <p:sp>
        <p:nvSpPr>
          <p:cNvPr id="27" name="Rechteck 2">
            <a:extLst>
              <a:ext uri="{FF2B5EF4-FFF2-40B4-BE49-F238E27FC236}">
                <a16:creationId xmlns:a16="http://schemas.microsoft.com/office/drawing/2014/main" id="{EAAD5741-BFF6-4121-B669-58659273E0DD}"/>
              </a:ext>
            </a:extLst>
          </p:cNvPr>
          <p:cNvSpPr/>
          <p:nvPr>
            <p:custDataLst>
              <p:tags r:id="rId3"/>
            </p:custDataLst>
          </p:nvPr>
        </p:nvSpPr>
        <p:spPr>
          <a:xfrm>
            <a:off x="2662533" y="5025080"/>
            <a:ext cx="3204356" cy="1065018"/>
          </a:xfrm>
          <a:prstGeom prst="rect">
            <a:avLst/>
          </a:prstGeom>
          <a:solidFill>
            <a:srgbClr val="0A827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b="1" i="0" u="none" strike="noStrike" kern="1200" cap="none" spc="0" normalizeH="0" baseline="0" noProof="0" dirty="0">
                <a:ln>
                  <a:noFill/>
                </a:ln>
                <a:solidFill>
                  <a:srgbClr val="FFFFFF"/>
                </a:solidFill>
                <a:effectLst/>
                <a:uLnTx/>
                <a:uFillTx/>
                <a:ea typeface="Source Sans Pro" panose="020B0503030403020204" pitchFamily="34" charset="0"/>
                <a:cs typeface="Arial"/>
                <a:sym typeface="Wingdings" panose="05000000000000000000" pitchFamily="2" charset="2"/>
              </a:rPr>
              <a:t>Increased power density</a:t>
            </a:r>
          </a:p>
          <a:p>
            <a:pPr marL="285750" marR="0" lvl="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b="1" i="0" u="none" strike="noStrike" kern="1200" cap="none" spc="0" normalizeH="0" baseline="0" noProof="0" dirty="0">
                <a:ln>
                  <a:noFill/>
                </a:ln>
                <a:solidFill>
                  <a:srgbClr val="FFFFFF"/>
                </a:solidFill>
                <a:effectLst/>
                <a:uLnTx/>
                <a:uFillTx/>
                <a:ea typeface="Source Sans Pro" panose="020B0503030403020204" pitchFamily="34" charset="0"/>
                <a:cs typeface="Arial"/>
                <a:sym typeface="Wingdings" panose="05000000000000000000" pitchFamily="2" charset="2"/>
              </a:rPr>
              <a:t>Size reduction more power</a:t>
            </a:r>
          </a:p>
        </p:txBody>
      </p:sp>
      <p:sp>
        <p:nvSpPr>
          <p:cNvPr id="28" name="Rechteck 2">
            <a:extLst>
              <a:ext uri="{FF2B5EF4-FFF2-40B4-BE49-F238E27FC236}">
                <a16:creationId xmlns:a16="http://schemas.microsoft.com/office/drawing/2014/main" id="{CA7331E9-F526-49BB-B634-4F1B29ADD1C1}"/>
              </a:ext>
            </a:extLst>
          </p:cNvPr>
          <p:cNvSpPr/>
          <p:nvPr>
            <p:custDataLst>
              <p:tags r:id="rId4"/>
            </p:custDataLst>
          </p:nvPr>
        </p:nvSpPr>
        <p:spPr>
          <a:xfrm>
            <a:off x="2027427" y="4042152"/>
            <a:ext cx="589848" cy="543596"/>
          </a:xfrm>
          <a:prstGeom prst="rect">
            <a:avLst/>
          </a:prstGeom>
          <a:solidFill>
            <a:srgbClr val="0A827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cs typeface="Arial"/>
                <a:sym typeface="Wingdings" panose="05000000000000000000" pitchFamily="2" charset="2"/>
              </a:rPr>
              <a:t></a:t>
            </a:r>
            <a:endParaRPr kumimoji="0" lang="en-US" sz="2000" b="1" i="0" u="none" strike="noStrike" kern="1200" cap="none" spc="0" normalizeH="0" baseline="0" noProof="0" dirty="0">
              <a:ln>
                <a:noFill/>
              </a:ln>
              <a:solidFill>
                <a:srgbClr val="FFFFFF"/>
              </a:solidFill>
              <a:effectLst/>
              <a:uLnTx/>
              <a:uFillTx/>
              <a:latin typeface="Arial"/>
              <a:cs typeface="Arial"/>
            </a:endParaRPr>
          </a:p>
        </p:txBody>
      </p:sp>
      <p:sp>
        <p:nvSpPr>
          <p:cNvPr id="29" name="Rechteck 3">
            <a:extLst>
              <a:ext uri="{FF2B5EF4-FFF2-40B4-BE49-F238E27FC236}">
                <a16:creationId xmlns:a16="http://schemas.microsoft.com/office/drawing/2014/main" id="{75723D0E-9EBE-4143-B113-8A91315D025F}"/>
              </a:ext>
            </a:extLst>
          </p:cNvPr>
          <p:cNvSpPr/>
          <p:nvPr>
            <p:custDataLst>
              <p:tags r:id="rId5"/>
            </p:custDataLst>
          </p:nvPr>
        </p:nvSpPr>
        <p:spPr>
          <a:xfrm>
            <a:off x="2662535" y="3734994"/>
            <a:ext cx="3204355" cy="1065018"/>
          </a:xfrm>
          <a:prstGeom prst="rect">
            <a:avLst/>
          </a:pr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b="1" i="0" u="none" strike="noStrike" kern="1200" cap="none" spc="0" normalizeH="0" baseline="0" noProof="0" dirty="0">
                <a:ln>
                  <a:noFill/>
                </a:ln>
                <a:solidFill>
                  <a:srgbClr val="FFFFFF"/>
                </a:solidFill>
                <a:effectLst/>
                <a:uLnTx/>
                <a:uFillTx/>
                <a:ea typeface="Source Sans Pro" panose="020B0503030403020204" pitchFamily="34" charset="0"/>
                <a:cs typeface="Arial"/>
              </a:rPr>
              <a:t>IGBT7:</a:t>
            </a:r>
          </a:p>
          <a:p>
            <a:pPr marL="285750" marR="0" lvl="0" indent="-285750" algn="l" defTabSz="914400" rtl="0" eaLnBrk="1" fontAlgn="base" latinLnBrk="0" hangingPunct="1">
              <a:spcBef>
                <a:spcPct val="0"/>
              </a:spcBef>
              <a:spcAft>
                <a:spcPct val="0"/>
              </a:spcAft>
              <a:buClrTx/>
              <a:buSzTx/>
              <a:buFont typeface="Arial" panose="020B0604020202020204" pitchFamily="34" charset="0"/>
              <a:buChar char="‒"/>
              <a:tabLst/>
              <a:defRPr/>
            </a:pPr>
            <a:r>
              <a:rPr kumimoji="0" lang="en-US" b="1" i="0" u="none" strike="noStrike" kern="1200" cap="none" spc="0" normalizeH="0" baseline="0" noProof="0" dirty="0">
                <a:ln>
                  <a:noFill/>
                </a:ln>
                <a:solidFill>
                  <a:srgbClr val="FFFFFF"/>
                </a:solidFill>
                <a:effectLst/>
                <a:uLnTx/>
                <a:uFillTx/>
                <a:ea typeface="Source Sans Pro" panose="020B0503030403020204" pitchFamily="34" charset="0"/>
                <a:cs typeface="Arial"/>
              </a:rPr>
              <a:t>Can replace 2 parallel 40 A rated</a:t>
            </a:r>
            <a:br>
              <a:rPr kumimoji="0" lang="en-US" b="1" i="0" u="none" strike="noStrike" kern="1200" cap="none" spc="0" normalizeH="0" baseline="0" noProof="0" dirty="0">
                <a:ln>
                  <a:noFill/>
                </a:ln>
                <a:solidFill>
                  <a:srgbClr val="FFFFFF"/>
                </a:solidFill>
                <a:effectLst/>
                <a:uLnTx/>
                <a:uFillTx/>
                <a:ea typeface="Source Sans Pro" panose="020B0503030403020204" pitchFamily="34" charset="0"/>
                <a:cs typeface="Arial"/>
              </a:rPr>
            </a:br>
            <a:r>
              <a:rPr kumimoji="0" lang="en-US" b="1" i="0" u="none" strike="noStrike" kern="1200" cap="none" spc="0" normalizeH="0" baseline="0" noProof="0" dirty="0">
                <a:ln>
                  <a:noFill/>
                </a:ln>
                <a:solidFill>
                  <a:srgbClr val="FFFFFF"/>
                </a:solidFill>
                <a:effectLst/>
                <a:uLnTx/>
                <a:uFillTx/>
                <a:ea typeface="Source Sans Pro" panose="020B0503030403020204" pitchFamily="34" charset="0"/>
                <a:cs typeface="Arial"/>
              </a:rPr>
              <a:t>devices </a:t>
            </a:r>
            <a:r>
              <a:rPr kumimoji="0" lang="en-US" b="0" i="0" u="none" strike="noStrike" kern="1200" cap="none" spc="0" normalizeH="0" baseline="0" noProof="0" dirty="0">
                <a:ln>
                  <a:noFill/>
                </a:ln>
                <a:solidFill>
                  <a:srgbClr val="FFFFFF"/>
                </a:solidFill>
                <a:effectLst/>
                <a:uLnTx/>
                <a:uFillTx/>
                <a:ea typeface="Source Sans Pro" panose="020B0503030403020204" pitchFamily="34" charset="0"/>
                <a:cs typeface="Arial"/>
              </a:rPr>
              <a:t>from competitor </a:t>
            </a:r>
          </a:p>
        </p:txBody>
      </p:sp>
    </p:spTree>
    <p:extLst>
      <p:ext uri="{BB962C8B-B14F-4D97-AF65-F5344CB8AC3E}">
        <p14:creationId xmlns:p14="http://schemas.microsoft.com/office/powerpoint/2010/main" val="17180880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89E2F0E-5ED0-46F8-9869-28531FCC2AF6}"/>
              </a:ext>
            </a:extLst>
          </p:cNvPr>
          <p:cNvPicPr>
            <a:picLocks noChangeAspect="1"/>
          </p:cNvPicPr>
          <p:nvPr/>
        </p:nvPicPr>
        <p:blipFill rotWithShape="1">
          <a:blip r:embed="rId3">
            <a:extLst>
              <a:ext uri="{28A0092B-C50C-407E-A947-70E740481C1C}">
                <a14:useLocalDpi xmlns:a14="http://schemas.microsoft.com/office/drawing/2010/main" val="0"/>
              </a:ext>
            </a:extLst>
          </a:blip>
          <a:srcRect t="9050"/>
          <a:stretch/>
        </p:blipFill>
        <p:spPr>
          <a:xfrm>
            <a:off x="3359697" y="1502672"/>
            <a:ext cx="8832304" cy="5355327"/>
          </a:xfrm>
          <a:prstGeom prst="rect">
            <a:avLst/>
          </a:prstGeom>
        </p:spPr>
      </p:pic>
      <p:sp>
        <p:nvSpPr>
          <p:cNvPr id="12" name="Pentagon 4">
            <a:extLst>
              <a:ext uri="{FF2B5EF4-FFF2-40B4-BE49-F238E27FC236}">
                <a16:creationId xmlns:a16="http://schemas.microsoft.com/office/drawing/2014/main" id="{08A28A8B-FF08-09F5-EDBD-595B20E7771E}"/>
              </a:ext>
            </a:extLst>
          </p:cNvPr>
          <p:cNvSpPr/>
          <p:nvPr/>
        </p:nvSpPr>
        <p:spPr bwMode="auto">
          <a:xfrm>
            <a:off x="0" y="1502674"/>
            <a:ext cx="4511824" cy="5355327"/>
          </a:xfrm>
          <a:custGeom>
            <a:avLst/>
            <a:gdLst>
              <a:gd name="connsiteX0" fmla="*/ 0 w 9484522"/>
              <a:gd name="connsiteY0" fmla="*/ 0 h 5111404"/>
              <a:gd name="connsiteX1" fmla="*/ 6928820 w 9484522"/>
              <a:gd name="connsiteY1" fmla="*/ 0 h 5111404"/>
              <a:gd name="connsiteX2" fmla="*/ 9484522 w 9484522"/>
              <a:gd name="connsiteY2" fmla="*/ 2555702 h 5111404"/>
              <a:gd name="connsiteX3" fmla="*/ 6928820 w 9484522"/>
              <a:gd name="connsiteY3" fmla="*/ 5111404 h 5111404"/>
              <a:gd name="connsiteX4" fmla="*/ 0 w 9484522"/>
              <a:gd name="connsiteY4" fmla="*/ 5111404 h 5111404"/>
              <a:gd name="connsiteX5" fmla="*/ 0 w 9484522"/>
              <a:gd name="connsiteY5" fmla="*/ 0 h 5111404"/>
              <a:gd name="connsiteX0" fmla="*/ 0 w 8220166"/>
              <a:gd name="connsiteY0" fmla="*/ 0 h 5111404"/>
              <a:gd name="connsiteX1" fmla="*/ 6928820 w 8220166"/>
              <a:gd name="connsiteY1" fmla="*/ 0 h 5111404"/>
              <a:gd name="connsiteX2" fmla="*/ 8220166 w 8220166"/>
              <a:gd name="connsiteY2" fmla="*/ 1765480 h 5111404"/>
              <a:gd name="connsiteX3" fmla="*/ 6928820 w 8220166"/>
              <a:gd name="connsiteY3" fmla="*/ 5111404 h 5111404"/>
              <a:gd name="connsiteX4" fmla="*/ 0 w 8220166"/>
              <a:gd name="connsiteY4" fmla="*/ 5111404 h 5111404"/>
              <a:gd name="connsiteX5" fmla="*/ 0 w 8220166"/>
              <a:gd name="connsiteY5" fmla="*/ 0 h 5111404"/>
              <a:gd name="connsiteX0" fmla="*/ 0 w 8605867"/>
              <a:gd name="connsiteY0" fmla="*/ 0 h 5111404"/>
              <a:gd name="connsiteX1" fmla="*/ 6928820 w 8605867"/>
              <a:gd name="connsiteY1" fmla="*/ 0 h 5111404"/>
              <a:gd name="connsiteX2" fmla="*/ 8605867 w 8605867"/>
              <a:gd name="connsiteY2" fmla="*/ 1745867 h 5111404"/>
              <a:gd name="connsiteX3" fmla="*/ 6928820 w 8605867"/>
              <a:gd name="connsiteY3" fmla="*/ 5111404 h 5111404"/>
              <a:gd name="connsiteX4" fmla="*/ 0 w 8605867"/>
              <a:gd name="connsiteY4" fmla="*/ 5111404 h 5111404"/>
              <a:gd name="connsiteX5" fmla="*/ 0 w 8605867"/>
              <a:gd name="connsiteY5" fmla="*/ 0 h 5111404"/>
              <a:gd name="connsiteX0" fmla="*/ 0 w 8605867"/>
              <a:gd name="connsiteY0" fmla="*/ 0 h 5131017"/>
              <a:gd name="connsiteX1" fmla="*/ 6928820 w 8605867"/>
              <a:gd name="connsiteY1" fmla="*/ 0 h 5131017"/>
              <a:gd name="connsiteX2" fmla="*/ 8605867 w 8605867"/>
              <a:gd name="connsiteY2" fmla="*/ 1745867 h 5131017"/>
              <a:gd name="connsiteX3" fmla="*/ 6446693 w 8605867"/>
              <a:gd name="connsiteY3" fmla="*/ 5131017 h 5131017"/>
              <a:gd name="connsiteX4" fmla="*/ 0 w 8605867"/>
              <a:gd name="connsiteY4" fmla="*/ 5111404 h 5131017"/>
              <a:gd name="connsiteX5" fmla="*/ 0 w 8605867"/>
              <a:gd name="connsiteY5" fmla="*/ 0 h 5131017"/>
              <a:gd name="connsiteX0" fmla="*/ 0 w 8686222"/>
              <a:gd name="connsiteY0" fmla="*/ 0 h 5131017"/>
              <a:gd name="connsiteX1" fmla="*/ 6928820 w 8686222"/>
              <a:gd name="connsiteY1" fmla="*/ 0 h 5131017"/>
              <a:gd name="connsiteX2" fmla="*/ 8686222 w 8686222"/>
              <a:gd name="connsiteY2" fmla="*/ 1677224 h 5131017"/>
              <a:gd name="connsiteX3" fmla="*/ 6446693 w 8686222"/>
              <a:gd name="connsiteY3" fmla="*/ 5131017 h 5131017"/>
              <a:gd name="connsiteX4" fmla="*/ 0 w 8686222"/>
              <a:gd name="connsiteY4" fmla="*/ 5111404 h 5131017"/>
              <a:gd name="connsiteX5" fmla="*/ 0 w 8686222"/>
              <a:gd name="connsiteY5" fmla="*/ 0 h 5131017"/>
              <a:gd name="connsiteX0" fmla="*/ 0 w 8686222"/>
              <a:gd name="connsiteY0" fmla="*/ 0 h 5111404"/>
              <a:gd name="connsiteX1" fmla="*/ 6928820 w 8686222"/>
              <a:gd name="connsiteY1" fmla="*/ 0 h 5111404"/>
              <a:gd name="connsiteX2" fmla="*/ 8686222 w 8686222"/>
              <a:gd name="connsiteY2" fmla="*/ 1677224 h 5111404"/>
              <a:gd name="connsiteX3" fmla="*/ 6768111 w 8686222"/>
              <a:gd name="connsiteY3" fmla="*/ 5111404 h 5111404"/>
              <a:gd name="connsiteX4" fmla="*/ 0 w 8686222"/>
              <a:gd name="connsiteY4" fmla="*/ 5111404 h 5111404"/>
              <a:gd name="connsiteX5" fmla="*/ 0 w 8686222"/>
              <a:gd name="connsiteY5" fmla="*/ 0 h 5111404"/>
              <a:gd name="connsiteX0" fmla="*/ 0 w 8766577"/>
              <a:gd name="connsiteY0" fmla="*/ 0 h 5111404"/>
              <a:gd name="connsiteX1" fmla="*/ 6928820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8766577"/>
              <a:gd name="connsiteY0" fmla="*/ 0 h 5111404"/>
              <a:gd name="connsiteX1" fmla="*/ 7153813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7153813"/>
              <a:gd name="connsiteY0" fmla="*/ 0 h 5111404"/>
              <a:gd name="connsiteX1" fmla="*/ 7153813 w 7153813"/>
              <a:gd name="connsiteY1" fmla="*/ 0 h 5111404"/>
              <a:gd name="connsiteX2" fmla="*/ 4952408 w 7153813"/>
              <a:gd name="connsiteY2" fmla="*/ 3237608 h 5111404"/>
              <a:gd name="connsiteX3" fmla="*/ 6768111 w 7153813"/>
              <a:gd name="connsiteY3" fmla="*/ 5111404 h 5111404"/>
              <a:gd name="connsiteX4" fmla="*/ 0 w 7153813"/>
              <a:gd name="connsiteY4" fmla="*/ 5111404 h 5111404"/>
              <a:gd name="connsiteX5" fmla="*/ 0 w 7153813"/>
              <a:gd name="connsiteY5" fmla="*/ 0 h 5111404"/>
              <a:gd name="connsiteX0" fmla="*/ 0 w 7153813"/>
              <a:gd name="connsiteY0" fmla="*/ 0 h 5111404"/>
              <a:gd name="connsiteX1" fmla="*/ 7153813 w 7153813"/>
              <a:gd name="connsiteY1" fmla="*/ 0 h 5111404"/>
              <a:gd name="connsiteX2" fmla="*/ 5775513 w 7153813"/>
              <a:gd name="connsiteY2" fmla="*/ 3245842 h 5111404"/>
              <a:gd name="connsiteX3" fmla="*/ 6768111 w 7153813"/>
              <a:gd name="connsiteY3" fmla="*/ 5111404 h 5111404"/>
              <a:gd name="connsiteX4" fmla="*/ 0 w 7153813"/>
              <a:gd name="connsiteY4" fmla="*/ 5111404 h 5111404"/>
              <a:gd name="connsiteX5" fmla="*/ 0 w 7153813"/>
              <a:gd name="connsiteY5" fmla="*/ 0 h 5111404"/>
              <a:gd name="connsiteX0" fmla="*/ 0 w 8063489"/>
              <a:gd name="connsiteY0" fmla="*/ 0 h 5111404"/>
              <a:gd name="connsiteX1" fmla="*/ 715381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6261280 w 8063489"/>
              <a:gd name="connsiteY2" fmla="*/ 3583415 h 5111404"/>
              <a:gd name="connsiteX3" fmla="*/ 8063489 w 8063489"/>
              <a:gd name="connsiteY3" fmla="*/ 5111404 h 5111404"/>
              <a:gd name="connsiteX4" fmla="*/ 0 w 8063489"/>
              <a:gd name="connsiteY4" fmla="*/ 5111404 h 5111404"/>
              <a:gd name="connsiteX5" fmla="*/ 0 w 8063489"/>
              <a:gd name="connsiteY5" fmla="*/ 0 h 511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3489" h="5111404">
                <a:moveTo>
                  <a:pt x="0" y="0"/>
                </a:moveTo>
                <a:lnTo>
                  <a:pt x="7693553" y="0"/>
                </a:lnTo>
                <a:lnTo>
                  <a:pt x="6261280" y="3583415"/>
                </a:lnTo>
                <a:lnTo>
                  <a:pt x="8063489" y="5111404"/>
                </a:lnTo>
                <a:lnTo>
                  <a:pt x="0" y="5111404"/>
                </a:lnTo>
                <a:lnTo>
                  <a:pt x="0" y="0"/>
                </a:lnTo>
                <a:close/>
              </a:path>
            </a:pathLst>
          </a:custGeom>
          <a:solidFill>
            <a:schemeClr val="tx2"/>
          </a:solidFill>
          <a:ln w="9525">
            <a:noFill/>
            <a:miter lim="800000"/>
            <a:headEnd/>
            <a:tailEnd/>
          </a:ln>
        </p:spPr>
        <p:txBody>
          <a:bodyPr wrap="square" lIns="72000" tIns="72000" rIns="72000" bIns="72000" rtlCol="0" anchor="ctr"/>
          <a:lstStyle/>
          <a:p>
            <a:pPr algn="ctr" defTabSz="575986" eaLnBrk="0" hangingPunct="0">
              <a:lnSpc>
                <a:spcPct val="120000"/>
              </a:lnSpc>
            </a:pPr>
            <a:endParaRPr lang="en-US" sz="1600" dirty="0">
              <a:solidFill>
                <a:srgbClr val="FFFFFF"/>
              </a:solidFill>
              <a:latin typeface="Arial"/>
              <a:ea typeface="Arial Unicode MS"/>
              <a:cs typeface="Arial"/>
            </a:endParaRPr>
          </a:p>
        </p:txBody>
      </p:sp>
      <p:sp>
        <p:nvSpPr>
          <p:cNvPr id="64" name="Title 63"/>
          <p:cNvSpPr>
            <a:spLocks noGrp="1"/>
          </p:cNvSpPr>
          <p:nvPr>
            <p:ph type="title"/>
          </p:nvPr>
        </p:nvSpPr>
        <p:spPr/>
        <p:txBody>
          <a:bodyPr/>
          <a:lstStyle/>
          <a:p>
            <a:br>
              <a:rPr lang="en-US" dirty="0"/>
            </a:br>
            <a:r>
              <a:rPr lang="en-US" dirty="0"/>
              <a:t>Efficiency – „Optimization“ </a:t>
            </a:r>
          </a:p>
        </p:txBody>
      </p:sp>
      <p:grpSp>
        <p:nvGrpSpPr>
          <p:cNvPr id="2" name="Group 1">
            <a:extLst>
              <a:ext uri="{FF2B5EF4-FFF2-40B4-BE49-F238E27FC236}">
                <a16:creationId xmlns:a16="http://schemas.microsoft.com/office/drawing/2014/main" id="{52EB02F0-3A15-353A-2696-98B0D22E4770}"/>
              </a:ext>
            </a:extLst>
          </p:cNvPr>
          <p:cNvGrpSpPr/>
          <p:nvPr/>
        </p:nvGrpSpPr>
        <p:grpSpPr>
          <a:xfrm>
            <a:off x="5110294" y="1973179"/>
            <a:ext cx="1495248" cy="1495248"/>
            <a:chOff x="4974455" y="2704594"/>
            <a:chExt cx="2240977" cy="2240977"/>
          </a:xfrm>
        </p:grpSpPr>
        <p:sp>
          <p:nvSpPr>
            <p:cNvPr id="3" name="Flowchart: Connector 2">
              <a:extLst>
                <a:ext uri="{FF2B5EF4-FFF2-40B4-BE49-F238E27FC236}">
                  <a16:creationId xmlns:a16="http://schemas.microsoft.com/office/drawing/2014/main" id="{FD4AED98-34E7-93B5-EAC4-71914E43F2A5}"/>
                </a:ext>
              </a:extLst>
            </p:cNvPr>
            <p:cNvSpPr/>
            <p:nvPr/>
          </p:nvSpPr>
          <p:spPr bwMode="auto">
            <a:xfrm>
              <a:off x="5055119" y="2780966"/>
              <a:ext cx="2088232" cy="2088232"/>
            </a:xfrm>
            <a:prstGeom prst="flowChartConnector">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4" name="Picture 3">
              <a:extLst>
                <a:ext uri="{FF2B5EF4-FFF2-40B4-BE49-F238E27FC236}">
                  <a16:creationId xmlns:a16="http://schemas.microsoft.com/office/drawing/2014/main" id="{AFCFD61A-E421-CB76-4233-2D5B79C4FA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4455" y="2704594"/>
              <a:ext cx="2240977" cy="2240977"/>
            </a:xfrm>
            <a:prstGeom prst="rect">
              <a:avLst/>
            </a:prstGeom>
          </p:spPr>
        </p:pic>
      </p:grpSp>
      <p:sp>
        <p:nvSpPr>
          <p:cNvPr id="5" name="Pentagon 4">
            <a:extLst>
              <a:ext uri="{FF2B5EF4-FFF2-40B4-BE49-F238E27FC236}">
                <a16:creationId xmlns:a16="http://schemas.microsoft.com/office/drawing/2014/main" id="{5DA6C2F4-BB5E-F394-A273-2CAA90C424CA}"/>
              </a:ext>
            </a:extLst>
          </p:cNvPr>
          <p:cNvSpPr/>
          <p:nvPr/>
        </p:nvSpPr>
        <p:spPr bwMode="auto">
          <a:xfrm>
            <a:off x="0" y="1502674"/>
            <a:ext cx="5154992" cy="5355327"/>
          </a:xfrm>
          <a:custGeom>
            <a:avLst/>
            <a:gdLst>
              <a:gd name="connsiteX0" fmla="*/ 0 w 9484522"/>
              <a:gd name="connsiteY0" fmla="*/ 0 h 5111404"/>
              <a:gd name="connsiteX1" fmla="*/ 6928820 w 9484522"/>
              <a:gd name="connsiteY1" fmla="*/ 0 h 5111404"/>
              <a:gd name="connsiteX2" fmla="*/ 9484522 w 9484522"/>
              <a:gd name="connsiteY2" fmla="*/ 2555702 h 5111404"/>
              <a:gd name="connsiteX3" fmla="*/ 6928820 w 9484522"/>
              <a:gd name="connsiteY3" fmla="*/ 5111404 h 5111404"/>
              <a:gd name="connsiteX4" fmla="*/ 0 w 9484522"/>
              <a:gd name="connsiteY4" fmla="*/ 5111404 h 5111404"/>
              <a:gd name="connsiteX5" fmla="*/ 0 w 9484522"/>
              <a:gd name="connsiteY5" fmla="*/ 0 h 5111404"/>
              <a:gd name="connsiteX0" fmla="*/ 0 w 8220166"/>
              <a:gd name="connsiteY0" fmla="*/ 0 h 5111404"/>
              <a:gd name="connsiteX1" fmla="*/ 6928820 w 8220166"/>
              <a:gd name="connsiteY1" fmla="*/ 0 h 5111404"/>
              <a:gd name="connsiteX2" fmla="*/ 8220166 w 8220166"/>
              <a:gd name="connsiteY2" fmla="*/ 1765480 h 5111404"/>
              <a:gd name="connsiteX3" fmla="*/ 6928820 w 8220166"/>
              <a:gd name="connsiteY3" fmla="*/ 5111404 h 5111404"/>
              <a:gd name="connsiteX4" fmla="*/ 0 w 8220166"/>
              <a:gd name="connsiteY4" fmla="*/ 5111404 h 5111404"/>
              <a:gd name="connsiteX5" fmla="*/ 0 w 8220166"/>
              <a:gd name="connsiteY5" fmla="*/ 0 h 5111404"/>
              <a:gd name="connsiteX0" fmla="*/ 0 w 8605867"/>
              <a:gd name="connsiteY0" fmla="*/ 0 h 5111404"/>
              <a:gd name="connsiteX1" fmla="*/ 6928820 w 8605867"/>
              <a:gd name="connsiteY1" fmla="*/ 0 h 5111404"/>
              <a:gd name="connsiteX2" fmla="*/ 8605867 w 8605867"/>
              <a:gd name="connsiteY2" fmla="*/ 1745867 h 5111404"/>
              <a:gd name="connsiteX3" fmla="*/ 6928820 w 8605867"/>
              <a:gd name="connsiteY3" fmla="*/ 5111404 h 5111404"/>
              <a:gd name="connsiteX4" fmla="*/ 0 w 8605867"/>
              <a:gd name="connsiteY4" fmla="*/ 5111404 h 5111404"/>
              <a:gd name="connsiteX5" fmla="*/ 0 w 8605867"/>
              <a:gd name="connsiteY5" fmla="*/ 0 h 5111404"/>
              <a:gd name="connsiteX0" fmla="*/ 0 w 8605867"/>
              <a:gd name="connsiteY0" fmla="*/ 0 h 5131017"/>
              <a:gd name="connsiteX1" fmla="*/ 6928820 w 8605867"/>
              <a:gd name="connsiteY1" fmla="*/ 0 h 5131017"/>
              <a:gd name="connsiteX2" fmla="*/ 8605867 w 8605867"/>
              <a:gd name="connsiteY2" fmla="*/ 1745867 h 5131017"/>
              <a:gd name="connsiteX3" fmla="*/ 6446693 w 8605867"/>
              <a:gd name="connsiteY3" fmla="*/ 5131017 h 5131017"/>
              <a:gd name="connsiteX4" fmla="*/ 0 w 8605867"/>
              <a:gd name="connsiteY4" fmla="*/ 5111404 h 5131017"/>
              <a:gd name="connsiteX5" fmla="*/ 0 w 8605867"/>
              <a:gd name="connsiteY5" fmla="*/ 0 h 5131017"/>
              <a:gd name="connsiteX0" fmla="*/ 0 w 8686222"/>
              <a:gd name="connsiteY0" fmla="*/ 0 h 5131017"/>
              <a:gd name="connsiteX1" fmla="*/ 6928820 w 8686222"/>
              <a:gd name="connsiteY1" fmla="*/ 0 h 5131017"/>
              <a:gd name="connsiteX2" fmla="*/ 8686222 w 8686222"/>
              <a:gd name="connsiteY2" fmla="*/ 1677224 h 5131017"/>
              <a:gd name="connsiteX3" fmla="*/ 6446693 w 8686222"/>
              <a:gd name="connsiteY3" fmla="*/ 5131017 h 5131017"/>
              <a:gd name="connsiteX4" fmla="*/ 0 w 8686222"/>
              <a:gd name="connsiteY4" fmla="*/ 5111404 h 5131017"/>
              <a:gd name="connsiteX5" fmla="*/ 0 w 8686222"/>
              <a:gd name="connsiteY5" fmla="*/ 0 h 5131017"/>
              <a:gd name="connsiteX0" fmla="*/ 0 w 8686222"/>
              <a:gd name="connsiteY0" fmla="*/ 0 h 5111404"/>
              <a:gd name="connsiteX1" fmla="*/ 6928820 w 8686222"/>
              <a:gd name="connsiteY1" fmla="*/ 0 h 5111404"/>
              <a:gd name="connsiteX2" fmla="*/ 8686222 w 8686222"/>
              <a:gd name="connsiteY2" fmla="*/ 1677224 h 5111404"/>
              <a:gd name="connsiteX3" fmla="*/ 6768111 w 8686222"/>
              <a:gd name="connsiteY3" fmla="*/ 5111404 h 5111404"/>
              <a:gd name="connsiteX4" fmla="*/ 0 w 8686222"/>
              <a:gd name="connsiteY4" fmla="*/ 5111404 h 5111404"/>
              <a:gd name="connsiteX5" fmla="*/ 0 w 8686222"/>
              <a:gd name="connsiteY5" fmla="*/ 0 h 5111404"/>
              <a:gd name="connsiteX0" fmla="*/ 0 w 8766577"/>
              <a:gd name="connsiteY0" fmla="*/ 0 h 5111404"/>
              <a:gd name="connsiteX1" fmla="*/ 6928820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8766577"/>
              <a:gd name="connsiteY0" fmla="*/ 0 h 5111404"/>
              <a:gd name="connsiteX1" fmla="*/ 7153813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7153813"/>
              <a:gd name="connsiteY0" fmla="*/ 0 h 5111404"/>
              <a:gd name="connsiteX1" fmla="*/ 7153813 w 7153813"/>
              <a:gd name="connsiteY1" fmla="*/ 0 h 5111404"/>
              <a:gd name="connsiteX2" fmla="*/ 4952408 w 7153813"/>
              <a:gd name="connsiteY2" fmla="*/ 3237608 h 5111404"/>
              <a:gd name="connsiteX3" fmla="*/ 6768111 w 7153813"/>
              <a:gd name="connsiteY3" fmla="*/ 5111404 h 5111404"/>
              <a:gd name="connsiteX4" fmla="*/ 0 w 7153813"/>
              <a:gd name="connsiteY4" fmla="*/ 5111404 h 5111404"/>
              <a:gd name="connsiteX5" fmla="*/ 0 w 7153813"/>
              <a:gd name="connsiteY5" fmla="*/ 0 h 5111404"/>
              <a:gd name="connsiteX0" fmla="*/ 0 w 7153813"/>
              <a:gd name="connsiteY0" fmla="*/ 0 h 5111404"/>
              <a:gd name="connsiteX1" fmla="*/ 7153813 w 7153813"/>
              <a:gd name="connsiteY1" fmla="*/ 0 h 5111404"/>
              <a:gd name="connsiteX2" fmla="*/ 5775513 w 7153813"/>
              <a:gd name="connsiteY2" fmla="*/ 3245842 h 5111404"/>
              <a:gd name="connsiteX3" fmla="*/ 6768111 w 7153813"/>
              <a:gd name="connsiteY3" fmla="*/ 5111404 h 5111404"/>
              <a:gd name="connsiteX4" fmla="*/ 0 w 7153813"/>
              <a:gd name="connsiteY4" fmla="*/ 5111404 h 5111404"/>
              <a:gd name="connsiteX5" fmla="*/ 0 w 7153813"/>
              <a:gd name="connsiteY5" fmla="*/ 0 h 5111404"/>
              <a:gd name="connsiteX0" fmla="*/ 0 w 8063489"/>
              <a:gd name="connsiteY0" fmla="*/ 0 h 5111404"/>
              <a:gd name="connsiteX1" fmla="*/ 715381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6261280 w 8063489"/>
              <a:gd name="connsiteY2" fmla="*/ 3583415 h 5111404"/>
              <a:gd name="connsiteX3" fmla="*/ 8063489 w 8063489"/>
              <a:gd name="connsiteY3" fmla="*/ 5111404 h 5111404"/>
              <a:gd name="connsiteX4" fmla="*/ 0 w 8063489"/>
              <a:gd name="connsiteY4" fmla="*/ 5111404 h 5111404"/>
              <a:gd name="connsiteX5" fmla="*/ 0 w 8063489"/>
              <a:gd name="connsiteY5" fmla="*/ 0 h 511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3489" h="5111404">
                <a:moveTo>
                  <a:pt x="0" y="0"/>
                </a:moveTo>
                <a:lnTo>
                  <a:pt x="7693553" y="0"/>
                </a:lnTo>
                <a:lnTo>
                  <a:pt x="6261280" y="3583415"/>
                </a:lnTo>
                <a:lnTo>
                  <a:pt x="8063489" y="5111404"/>
                </a:lnTo>
                <a:lnTo>
                  <a:pt x="0" y="5111404"/>
                </a:lnTo>
                <a:lnTo>
                  <a:pt x="0" y="0"/>
                </a:lnTo>
                <a:close/>
              </a:path>
            </a:pathLst>
          </a:custGeom>
          <a:solidFill>
            <a:schemeClr val="tx2"/>
          </a:solidFill>
          <a:ln w="9525">
            <a:noFill/>
            <a:miter lim="800000"/>
            <a:headEnd/>
            <a:tailEnd/>
          </a:ln>
        </p:spPr>
        <p:txBody>
          <a:bodyPr wrap="square" lIns="72000" tIns="72000" rIns="72000" bIns="72000" rtlCol="0" anchor="ctr"/>
          <a:lstStyle/>
          <a:p>
            <a:pPr algn="ctr" defTabSz="575986" eaLnBrk="0" hangingPunct="0">
              <a:lnSpc>
                <a:spcPct val="120000"/>
              </a:lnSpc>
            </a:pPr>
            <a:endParaRPr lang="en-US" sz="1600" dirty="0">
              <a:solidFill>
                <a:srgbClr val="FFFFFF"/>
              </a:solidFill>
              <a:latin typeface="Arial"/>
              <a:ea typeface="Arial Unicode MS"/>
              <a:cs typeface="Arial"/>
            </a:endParaRPr>
          </a:p>
        </p:txBody>
      </p:sp>
    </p:spTree>
    <p:extLst>
      <p:ext uri="{BB962C8B-B14F-4D97-AF65-F5344CB8AC3E}">
        <p14:creationId xmlns:p14="http://schemas.microsoft.com/office/powerpoint/2010/main" val="33780865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45E4F-73AA-87AF-E4F5-78862EEAF4FD}"/>
            </a:ext>
          </a:extLst>
        </p:cNvPr>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D596E8FB-35E1-D61A-B8AB-F9A4EBED9D17}"/>
              </a:ext>
            </a:extLst>
          </p:cNvPr>
          <p:cNvGraphicFramePr>
            <a:graphicFrameLocks/>
          </p:cNvGraphicFramePr>
          <p:nvPr>
            <p:extLst>
              <p:ext uri="{D42A27DB-BD31-4B8C-83A1-F6EECF244321}">
                <p14:modId xmlns:p14="http://schemas.microsoft.com/office/powerpoint/2010/main" val="2114408581"/>
              </p:ext>
            </p:extLst>
          </p:nvPr>
        </p:nvGraphicFramePr>
        <p:xfrm>
          <a:off x="406515" y="1280902"/>
          <a:ext cx="6350025" cy="4838058"/>
        </p:xfrm>
        <a:graphic>
          <a:graphicData uri="http://schemas.openxmlformats.org/drawingml/2006/chart">
            <c:chart xmlns:c="http://schemas.openxmlformats.org/drawingml/2006/chart" xmlns:r="http://schemas.openxmlformats.org/officeDocument/2006/relationships" r:id="rId4"/>
          </a:graphicData>
        </a:graphic>
      </p:graphicFrame>
      <p:sp>
        <p:nvSpPr>
          <p:cNvPr id="3" name="Titel 2">
            <a:extLst>
              <a:ext uri="{FF2B5EF4-FFF2-40B4-BE49-F238E27FC236}">
                <a16:creationId xmlns:a16="http://schemas.microsoft.com/office/drawing/2014/main" id="{E56EB3FE-9CE1-D1EA-59C3-204F9E42E371}"/>
              </a:ext>
            </a:extLst>
          </p:cNvPr>
          <p:cNvSpPr>
            <a:spLocks noGrp="1"/>
          </p:cNvSpPr>
          <p:nvPr>
            <p:ph type="title"/>
          </p:nvPr>
        </p:nvSpPr>
        <p:spPr/>
        <p:txBody>
          <a:bodyPr/>
          <a:lstStyle/>
          <a:p>
            <a:r>
              <a:rPr lang="en-US" dirty="0"/>
              <a:t>Trade-off chart</a:t>
            </a:r>
            <a:br>
              <a:rPr lang="en-US" dirty="0"/>
            </a:br>
            <a:r>
              <a:rPr lang="en-US" dirty="0"/>
              <a:t>Key parameters – comparison</a:t>
            </a:r>
          </a:p>
        </p:txBody>
      </p:sp>
      <p:sp>
        <p:nvSpPr>
          <p:cNvPr id="21" name="Arrow: Down 20">
            <a:extLst>
              <a:ext uri="{FF2B5EF4-FFF2-40B4-BE49-F238E27FC236}">
                <a16:creationId xmlns:a16="http://schemas.microsoft.com/office/drawing/2014/main" id="{FF454ADB-11BA-8683-A628-A984A5F1DA9D}"/>
              </a:ext>
            </a:extLst>
          </p:cNvPr>
          <p:cNvSpPr/>
          <p:nvPr/>
        </p:nvSpPr>
        <p:spPr bwMode="auto">
          <a:xfrm>
            <a:off x="9511086" y="4228986"/>
            <a:ext cx="687727" cy="910253"/>
          </a:xfrm>
          <a:prstGeom prst="downArrow">
            <a:avLst/>
          </a:prstGeom>
          <a:solidFill>
            <a:schemeClr val="bg1"/>
          </a:solidFill>
          <a:ln w="28575">
            <a:solidFill>
              <a:schemeClr val="tx2"/>
            </a:solidFill>
            <a:prstDash val="sysDash"/>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4" name="TextBox 3">
            <a:extLst>
              <a:ext uri="{FF2B5EF4-FFF2-40B4-BE49-F238E27FC236}">
                <a16:creationId xmlns:a16="http://schemas.microsoft.com/office/drawing/2014/main" id="{FF18A487-4F19-E513-58C3-93731FFC779C}"/>
              </a:ext>
            </a:extLst>
          </p:cNvPr>
          <p:cNvSpPr txBox="1"/>
          <p:nvPr/>
        </p:nvSpPr>
        <p:spPr bwMode="auto">
          <a:xfrm>
            <a:off x="7803626" y="3405653"/>
            <a:ext cx="3981859" cy="634276"/>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kern="0" dirty="0">
                <a:latin typeface="+mn-lt"/>
              </a:rPr>
              <a:t>down to </a:t>
            </a:r>
            <a:r>
              <a:rPr lang="en-US" sz="1800" b="1" kern="0" dirty="0">
                <a:solidFill>
                  <a:schemeClr val="tx2"/>
                </a:solidFill>
                <a:latin typeface="+mn-lt"/>
              </a:rPr>
              <a:t>~50% </a:t>
            </a:r>
            <a:r>
              <a:rPr lang="en-US" sz="1800" kern="0" dirty="0">
                <a:latin typeface="+mn-lt"/>
              </a:rPr>
              <a:t>lower switching losses</a:t>
            </a:r>
          </a:p>
          <a:p>
            <a:pPr marR="0" algn="l" defTabSz="576000" eaLnBrk="0" fontAlgn="auto" latinLnBrk="0" hangingPunct="0">
              <a:lnSpc>
                <a:spcPct val="120000"/>
              </a:lnSpc>
              <a:spcBef>
                <a:spcPts val="0"/>
              </a:spcBef>
              <a:spcAft>
                <a:spcPts val="0"/>
              </a:spcAft>
              <a:buClr>
                <a:schemeClr val="tx2"/>
              </a:buClr>
              <a:buSzTx/>
              <a:tabLst/>
            </a:pPr>
            <a:r>
              <a:rPr lang="en-US" sz="1800" kern="0" dirty="0">
                <a:latin typeface="+mn-lt"/>
              </a:rPr>
              <a:t>down to </a:t>
            </a:r>
            <a:r>
              <a:rPr lang="en-US" sz="1800" b="1" kern="0" baseline="0" dirty="0">
                <a:solidFill>
                  <a:schemeClr val="tx2"/>
                </a:solidFill>
                <a:latin typeface="+mn-lt"/>
                <a:ea typeface="+mn-ea"/>
                <a:cs typeface="+mn-cs"/>
              </a:rPr>
              <a:t>~20% </a:t>
            </a:r>
            <a:r>
              <a:rPr lang="en-US" sz="1800" kern="0" baseline="0" dirty="0">
                <a:latin typeface="+mn-lt"/>
                <a:ea typeface="+mn-ea"/>
                <a:cs typeface="+mn-cs"/>
              </a:rPr>
              <a:t>lower conduction losses</a:t>
            </a:r>
          </a:p>
        </p:txBody>
      </p:sp>
      <p:sp>
        <p:nvSpPr>
          <p:cNvPr id="22" name="TextBox 21">
            <a:extLst>
              <a:ext uri="{FF2B5EF4-FFF2-40B4-BE49-F238E27FC236}">
                <a16:creationId xmlns:a16="http://schemas.microsoft.com/office/drawing/2014/main" id="{44EE2901-AB04-381D-0B26-3ACD709F66B5}"/>
              </a:ext>
            </a:extLst>
          </p:cNvPr>
          <p:cNvSpPr txBox="1"/>
          <p:nvPr/>
        </p:nvSpPr>
        <p:spPr bwMode="auto">
          <a:xfrm>
            <a:off x="9067295" y="5266019"/>
            <a:ext cx="1936428" cy="966675"/>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kern="0" dirty="0">
                <a:latin typeface="+mn-lt"/>
              </a:rPr>
              <a:t>Higher efficiency</a:t>
            </a:r>
          </a:p>
          <a:p>
            <a:pPr marR="0" algn="l" defTabSz="576000" eaLnBrk="0" fontAlgn="auto" latinLnBrk="0" hangingPunct="0">
              <a:lnSpc>
                <a:spcPct val="120000"/>
              </a:lnSpc>
              <a:spcBef>
                <a:spcPts val="0"/>
              </a:spcBef>
              <a:spcAft>
                <a:spcPts val="0"/>
              </a:spcAft>
              <a:buClr>
                <a:schemeClr val="tx2"/>
              </a:buClr>
              <a:buSzTx/>
              <a:tabLst/>
            </a:pPr>
            <a:r>
              <a:rPr lang="en-US" sz="1800" kern="0" baseline="0" dirty="0">
                <a:latin typeface="+mn-lt"/>
                <a:ea typeface="+mn-ea"/>
                <a:cs typeface="+mn-cs"/>
              </a:rPr>
              <a:t>Output power</a:t>
            </a:r>
          </a:p>
          <a:p>
            <a:pPr marR="0" algn="l" defTabSz="576000" eaLnBrk="0" fontAlgn="auto" latinLnBrk="0" hangingPunct="0">
              <a:lnSpc>
                <a:spcPct val="120000"/>
              </a:lnSpc>
              <a:spcBef>
                <a:spcPts val="0"/>
              </a:spcBef>
              <a:spcAft>
                <a:spcPts val="0"/>
              </a:spcAft>
              <a:buClr>
                <a:schemeClr val="tx2"/>
              </a:buClr>
              <a:buSzTx/>
              <a:tabLst/>
            </a:pPr>
            <a:r>
              <a:rPr lang="en-US" sz="1800" kern="0" baseline="0" dirty="0">
                <a:latin typeface="+mn-lt"/>
                <a:ea typeface="+mn-ea"/>
                <a:cs typeface="+mn-cs"/>
              </a:rPr>
              <a:t>Lower temperature</a:t>
            </a:r>
          </a:p>
        </p:txBody>
      </p:sp>
      <p:sp>
        <p:nvSpPr>
          <p:cNvPr id="31" name="TextBox 30">
            <a:extLst>
              <a:ext uri="{FF2B5EF4-FFF2-40B4-BE49-F238E27FC236}">
                <a16:creationId xmlns:a16="http://schemas.microsoft.com/office/drawing/2014/main" id="{5CE97918-1B41-B0B0-0B4C-F9F0A1017513}"/>
              </a:ext>
            </a:extLst>
          </p:cNvPr>
          <p:cNvSpPr txBox="1"/>
          <p:nvPr/>
        </p:nvSpPr>
        <p:spPr bwMode="auto">
          <a:xfrm>
            <a:off x="8911841" y="1389622"/>
            <a:ext cx="2077492" cy="855875"/>
          </a:xfrm>
          <a:prstGeom prst="rect">
            <a:avLst/>
          </a:prstGeom>
          <a:noFill/>
          <a:ln w="9525">
            <a:noFill/>
            <a:miter lim="800000"/>
            <a:headEnd/>
            <a:tailEnd/>
          </a:ln>
          <a:effectLst/>
        </p:spPr>
        <p:txBody>
          <a:bodyPr wrap="none" lIns="0" tIns="0" rIns="0" bIns="0" rtlCol="0" anchor="t" anchorCtr="0">
            <a:spAutoFit/>
          </a:bodyPr>
          <a:lstStyle/>
          <a:p>
            <a:r>
              <a:rPr lang="en-US" sz="1800"/>
              <a:t>Micro-pattern-trench</a:t>
            </a:r>
          </a:p>
          <a:p>
            <a:r>
              <a:rPr lang="en-US" sz="1800"/>
              <a:t>Qrr vs VF </a:t>
            </a:r>
          </a:p>
          <a:p>
            <a:pPr marR="0" algn="l" defTabSz="576000" eaLnBrk="0" fontAlgn="auto" latinLnBrk="0" hangingPunct="0">
              <a:lnSpc>
                <a:spcPct val="120000"/>
              </a:lnSpc>
              <a:spcBef>
                <a:spcPts val="0"/>
              </a:spcBef>
              <a:spcAft>
                <a:spcPts val="0"/>
              </a:spcAft>
              <a:buClr>
                <a:schemeClr val="tx2"/>
              </a:buClr>
              <a:buSzTx/>
              <a:tabLst/>
            </a:pPr>
            <a:r>
              <a:rPr lang="en-US" sz="1800" kern="0" baseline="0">
                <a:latin typeface="+mn-lt"/>
                <a:ea typeface="+mn-ea"/>
                <a:cs typeface="+mn-cs"/>
              </a:rPr>
              <a:t>No </a:t>
            </a:r>
            <a:r>
              <a:rPr lang="en-US" sz="1800" kern="0" baseline="0" dirty="0">
                <a:latin typeface="+mn-lt"/>
                <a:ea typeface="+mn-ea"/>
                <a:cs typeface="+mn-cs"/>
              </a:rPr>
              <a:t>saturation</a:t>
            </a:r>
          </a:p>
        </p:txBody>
      </p:sp>
      <p:sp>
        <p:nvSpPr>
          <p:cNvPr id="32" name="Arrow: Down 31">
            <a:extLst>
              <a:ext uri="{FF2B5EF4-FFF2-40B4-BE49-F238E27FC236}">
                <a16:creationId xmlns:a16="http://schemas.microsoft.com/office/drawing/2014/main" id="{79F27D9C-1FF3-E79D-C4BD-7A7B6C524237}"/>
              </a:ext>
            </a:extLst>
          </p:cNvPr>
          <p:cNvSpPr/>
          <p:nvPr/>
        </p:nvSpPr>
        <p:spPr bwMode="auto">
          <a:xfrm>
            <a:off x="9511085" y="2425288"/>
            <a:ext cx="687727" cy="902671"/>
          </a:xfrm>
          <a:prstGeom prst="downArrow">
            <a:avLst/>
          </a:prstGeom>
          <a:solidFill>
            <a:schemeClr val="bg1"/>
          </a:solidFill>
          <a:ln w="28575">
            <a:solidFill>
              <a:schemeClr val="tx2"/>
            </a:solidFill>
            <a:prstDash val="sysDash"/>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33" name="Picture 32" descr="A question mark in a circle&#10;&#10;Description automatically generated">
            <a:extLst>
              <a:ext uri="{FF2B5EF4-FFF2-40B4-BE49-F238E27FC236}">
                <a16:creationId xmlns:a16="http://schemas.microsoft.com/office/drawing/2014/main" id="{7EEA1F07-76C2-6AC1-0AF3-EE4D92407A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93136" y="1422033"/>
            <a:ext cx="814842" cy="814842"/>
          </a:xfrm>
          <a:prstGeom prst="rect">
            <a:avLst/>
          </a:prstGeom>
        </p:spPr>
      </p:pic>
      <p:pic>
        <p:nvPicPr>
          <p:cNvPr id="34" name="Picture 33">
            <a:extLst>
              <a:ext uri="{FF2B5EF4-FFF2-40B4-BE49-F238E27FC236}">
                <a16:creationId xmlns:a16="http://schemas.microsoft.com/office/drawing/2014/main" id="{F49A8280-45EC-8FD5-06EC-C5FFCAEB8A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1267" y="3358962"/>
            <a:ext cx="697632" cy="697632"/>
          </a:xfrm>
          <a:prstGeom prst="rect">
            <a:avLst/>
          </a:prstGeom>
        </p:spPr>
      </p:pic>
      <p:pic>
        <p:nvPicPr>
          <p:cNvPr id="35" name="Thumb up">
            <a:extLst>
              <a:ext uri="{FF2B5EF4-FFF2-40B4-BE49-F238E27FC236}">
                <a16:creationId xmlns:a16="http://schemas.microsoft.com/office/drawing/2014/main" id="{E2C1D442-E4C7-BA16-4E28-574474F3B14B}"/>
              </a:ext>
            </a:extLst>
          </p:cNvPr>
          <p:cNvPicPr>
            <a:picLocks noChangeAspect="1"/>
          </p:cNvPicPr>
          <p:nvPr>
            <p:custDataLst>
              <p:tags r:id="rId1"/>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11483" y="5208707"/>
            <a:ext cx="910253" cy="910253"/>
          </a:xfrm>
          <a:prstGeom prst="rect">
            <a:avLst/>
          </a:prstGeom>
        </p:spPr>
      </p:pic>
      <p:sp>
        <p:nvSpPr>
          <p:cNvPr id="24" name="TextBox 23">
            <a:extLst>
              <a:ext uri="{FF2B5EF4-FFF2-40B4-BE49-F238E27FC236}">
                <a16:creationId xmlns:a16="http://schemas.microsoft.com/office/drawing/2014/main" id="{B17D0B05-E885-836C-C764-6E6EA2749348}"/>
              </a:ext>
            </a:extLst>
          </p:cNvPr>
          <p:cNvSpPr txBox="1"/>
          <p:nvPr/>
        </p:nvSpPr>
        <p:spPr bwMode="auto">
          <a:xfrm>
            <a:off x="379418" y="6146224"/>
            <a:ext cx="2385268" cy="236027"/>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latin typeface="Times New Roman" panose="02020603050405020304" pitchFamily="18" charset="0"/>
                <a:cs typeface="Times New Roman" panose="02020603050405020304" pitchFamily="18" charset="0"/>
              </a:rPr>
              <a:t>*note – DUT – 75A 3pin devices</a:t>
            </a:r>
            <a:endParaRPr lang="en-US" kern="0" baseline="0" dirty="0">
              <a:latin typeface="Times New Roman" panose="02020603050405020304" pitchFamily="18" charset="0"/>
              <a:cs typeface="Times New Roman" panose="02020603050405020304" pitchFamily="18" charset="0"/>
            </a:endParaRPr>
          </a:p>
        </p:txBody>
      </p:sp>
      <p:cxnSp>
        <p:nvCxnSpPr>
          <p:cNvPr id="13" name="Straight Connector 12">
            <a:extLst>
              <a:ext uri="{FF2B5EF4-FFF2-40B4-BE49-F238E27FC236}">
                <a16:creationId xmlns:a16="http://schemas.microsoft.com/office/drawing/2014/main" id="{DA4464AC-8D1E-38DA-477D-0A0B38005FAB}"/>
              </a:ext>
            </a:extLst>
          </p:cNvPr>
          <p:cNvCxnSpPr>
            <a:cxnSpLocks/>
          </p:cNvCxnSpPr>
          <p:nvPr/>
        </p:nvCxnSpPr>
        <p:spPr>
          <a:xfrm>
            <a:off x="1249989" y="1801193"/>
            <a:ext cx="5277415" cy="3653735"/>
          </a:xfrm>
          <a:prstGeom prst="line">
            <a:avLst/>
          </a:prstGeom>
          <a:ln w="19050">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FA49E08-92B2-FDC1-C597-E992353353B7}"/>
              </a:ext>
            </a:extLst>
          </p:cNvPr>
          <p:cNvSpPr txBox="1"/>
          <p:nvPr/>
        </p:nvSpPr>
        <p:spPr bwMode="auto">
          <a:xfrm>
            <a:off x="5680578" y="4251097"/>
            <a:ext cx="769242" cy="286326"/>
          </a:xfrm>
          <a:prstGeom prst="rect">
            <a:avLst/>
          </a:prstGeom>
          <a:solidFill>
            <a:schemeClr val="bg1"/>
          </a:solidFill>
          <a:ln w="9525">
            <a:solidFill>
              <a:schemeClr val="tx1"/>
            </a:solidFill>
            <a:prstDash val="sysDash"/>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1800" kern="0" baseline="0" dirty="0">
                <a:solidFill>
                  <a:schemeClr val="tx2"/>
                </a:solidFill>
                <a:latin typeface="+mn-lt"/>
                <a:ea typeface="+mn-ea"/>
                <a:cs typeface="+mn-cs"/>
              </a:rPr>
              <a:t>1200 V</a:t>
            </a:r>
          </a:p>
        </p:txBody>
      </p:sp>
      <p:sp>
        <p:nvSpPr>
          <p:cNvPr id="27" name="TextBox 26">
            <a:extLst>
              <a:ext uri="{FF2B5EF4-FFF2-40B4-BE49-F238E27FC236}">
                <a16:creationId xmlns:a16="http://schemas.microsoft.com/office/drawing/2014/main" id="{CF27CBD6-9E64-69FA-5AA2-FF2769F1EF99}"/>
              </a:ext>
            </a:extLst>
          </p:cNvPr>
          <p:cNvSpPr txBox="1"/>
          <p:nvPr/>
        </p:nvSpPr>
        <p:spPr bwMode="auto">
          <a:xfrm>
            <a:off x="1249989" y="2601703"/>
            <a:ext cx="865740" cy="634276"/>
          </a:xfrm>
          <a:prstGeom prst="rect">
            <a:avLst/>
          </a:prstGeom>
          <a:solidFill>
            <a:schemeClr val="bg1"/>
          </a:solidFill>
          <a:ln w="9525">
            <a:solidFill>
              <a:schemeClr val="tx1"/>
            </a:solidFill>
            <a:prstDash val="sysDash"/>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1800" kern="0" baseline="0" dirty="0">
                <a:solidFill>
                  <a:schemeClr val="tx2"/>
                </a:solidFill>
                <a:latin typeface="+mn-lt"/>
                <a:ea typeface="+mn-ea"/>
                <a:cs typeface="+mn-cs"/>
              </a:rPr>
              <a:t>650 V</a:t>
            </a:r>
          </a:p>
          <a:p>
            <a:pPr marR="0" algn="ctr" defTabSz="576000" eaLnBrk="0" fontAlgn="auto" latinLnBrk="0" hangingPunct="0">
              <a:lnSpc>
                <a:spcPct val="120000"/>
              </a:lnSpc>
              <a:spcBef>
                <a:spcPts val="0"/>
              </a:spcBef>
              <a:spcAft>
                <a:spcPts val="0"/>
              </a:spcAft>
              <a:buClr>
                <a:schemeClr val="tx2"/>
              </a:buClr>
              <a:buSzTx/>
              <a:tabLst/>
            </a:pPr>
            <a:r>
              <a:rPr lang="en-US" sz="1800" kern="0" baseline="0" dirty="0">
                <a:solidFill>
                  <a:schemeClr val="accent6"/>
                </a:solidFill>
                <a:latin typeface="+mn-lt"/>
                <a:ea typeface="+mn-ea"/>
                <a:cs typeface="+mn-cs"/>
              </a:rPr>
              <a:t>750 V</a:t>
            </a:r>
          </a:p>
        </p:txBody>
      </p:sp>
      <p:sp>
        <p:nvSpPr>
          <p:cNvPr id="28" name="TextBox 10">
            <a:extLst>
              <a:ext uri="{FF2B5EF4-FFF2-40B4-BE49-F238E27FC236}">
                <a16:creationId xmlns:a16="http://schemas.microsoft.com/office/drawing/2014/main" id="{5615CB37-9269-5880-87A9-9A6CD7BC851E}"/>
              </a:ext>
            </a:extLst>
          </p:cNvPr>
          <p:cNvSpPr txBox="1"/>
          <p:nvPr/>
        </p:nvSpPr>
        <p:spPr bwMode="auto">
          <a:xfrm>
            <a:off x="1655354" y="5016128"/>
            <a:ext cx="1025922" cy="246221"/>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dirty="0">
                <a:solidFill>
                  <a:schemeClr val="dk1"/>
                </a:solidFill>
                <a:latin typeface="Arial" panose="020B0604020202020204" pitchFamily="34" charset="0"/>
                <a:ea typeface="Verdana" pitchFamily="34" charset="0"/>
                <a:cs typeface="Times New Roman" panose="02020603050405020304" pitchFamily="18" charset="0"/>
              </a:rPr>
              <a:t>H7 – </a:t>
            </a:r>
            <a:r>
              <a:rPr lang="en-US" sz="1600" dirty="0">
                <a:solidFill>
                  <a:schemeClr val="tx2"/>
                </a:solidFill>
                <a:latin typeface="Arial" panose="020B0604020202020204" pitchFamily="34" charset="0"/>
                <a:ea typeface="Verdana" pitchFamily="34" charset="0"/>
                <a:cs typeface="Times New Roman" panose="02020603050405020304" pitchFamily="18" charset="0"/>
              </a:rPr>
              <a:t>650 V</a:t>
            </a:r>
            <a:endParaRPr lang="en-US" sz="1600" kern="0" dirty="0">
              <a:solidFill>
                <a:schemeClr val="tx2"/>
              </a:solidFill>
              <a:latin typeface="Arial" panose="020B0604020202020204" pitchFamily="34" charset="0"/>
              <a:ea typeface="Verdana" pitchFamily="34" charset="0"/>
              <a:cs typeface="Times New Roman" panose="02020603050405020304" pitchFamily="18" charset="0"/>
            </a:endParaRPr>
          </a:p>
        </p:txBody>
      </p:sp>
      <p:sp>
        <p:nvSpPr>
          <p:cNvPr id="29" name="TextBox 10">
            <a:extLst>
              <a:ext uri="{FF2B5EF4-FFF2-40B4-BE49-F238E27FC236}">
                <a16:creationId xmlns:a16="http://schemas.microsoft.com/office/drawing/2014/main" id="{FBAEA665-E408-0A92-A0C0-E9556FCCBA35}"/>
              </a:ext>
            </a:extLst>
          </p:cNvPr>
          <p:cNvSpPr txBox="1"/>
          <p:nvPr/>
        </p:nvSpPr>
        <p:spPr bwMode="auto">
          <a:xfrm>
            <a:off x="3512577" y="4529707"/>
            <a:ext cx="243464"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S5</a:t>
            </a:r>
          </a:p>
        </p:txBody>
      </p:sp>
      <p:sp>
        <p:nvSpPr>
          <p:cNvPr id="30" name="TextBox 10">
            <a:extLst>
              <a:ext uri="{FF2B5EF4-FFF2-40B4-BE49-F238E27FC236}">
                <a16:creationId xmlns:a16="http://schemas.microsoft.com/office/drawing/2014/main" id="{7CFEB4D5-0167-4651-BF50-E2DB32C0C4AD}"/>
              </a:ext>
            </a:extLst>
          </p:cNvPr>
          <p:cNvSpPr txBox="1"/>
          <p:nvPr/>
        </p:nvSpPr>
        <p:spPr bwMode="auto">
          <a:xfrm>
            <a:off x="4243811" y="4714405"/>
            <a:ext cx="254389"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H5</a:t>
            </a:r>
          </a:p>
        </p:txBody>
      </p:sp>
      <p:sp>
        <p:nvSpPr>
          <p:cNvPr id="36" name="TextBox 10">
            <a:extLst>
              <a:ext uri="{FF2B5EF4-FFF2-40B4-BE49-F238E27FC236}">
                <a16:creationId xmlns:a16="http://schemas.microsoft.com/office/drawing/2014/main" id="{7B503055-3A9E-A4BE-38F1-10A4D20FD5FB}"/>
              </a:ext>
            </a:extLst>
          </p:cNvPr>
          <p:cNvSpPr txBox="1"/>
          <p:nvPr/>
        </p:nvSpPr>
        <p:spPr bwMode="auto">
          <a:xfrm>
            <a:off x="3055203" y="4303887"/>
            <a:ext cx="232540"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T7</a:t>
            </a:r>
          </a:p>
        </p:txBody>
      </p:sp>
      <p:sp>
        <p:nvSpPr>
          <p:cNvPr id="37" name="TextBox 10">
            <a:extLst>
              <a:ext uri="{FF2B5EF4-FFF2-40B4-BE49-F238E27FC236}">
                <a16:creationId xmlns:a16="http://schemas.microsoft.com/office/drawing/2014/main" id="{0AC4FFAC-23E5-DF0D-0FA9-87AEB15F7597}"/>
              </a:ext>
            </a:extLst>
          </p:cNvPr>
          <p:cNvSpPr txBox="1"/>
          <p:nvPr/>
        </p:nvSpPr>
        <p:spPr bwMode="auto">
          <a:xfrm>
            <a:off x="6065199" y="2559485"/>
            <a:ext cx="254389"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H3</a:t>
            </a:r>
          </a:p>
        </p:txBody>
      </p:sp>
      <p:sp>
        <p:nvSpPr>
          <p:cNvPr id="38" name="TextBox 10">
            <a:extLst>
              <a:ext uri="{FF2B5EF4-FFF2-40B4-BE49-F238E27FC236}">
                <a16:creationId xmlns:a16="http://schemas.microsoft.com/office/drawing/2014/main" id="{E1C90B77-DDA3-DBE8-DA62-7444023B0918}"/>
              </a:ext>
            </a:extLst>
          </p:cNvPr>
          <p:cNvSpPr txBox="1"/>
          <p:nvPr/>
        </p:nvSpPr>
        <p:spPr bwMode="auto">
          <a:xfrm>
            <a:off x="4407906" y="3475933"/>
            <a:ext cx="254389"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H7</a:t>
            </a:r>
          </a:p>
        </p:txBody>
      </p:sp>
      <p:sp>
        <p:nvSpPr>
          <p:cNvPr id="39" name="TextBox 10">
            <a:extLst>
              <a:ext uri="{FF2B5EF4-FFF2-40B4-BE49-F238E27FC236}">
                <a16:creationId xmlns:a16="http://schemas.microsoft.com/office/drawing/2014/main" id="{528AD934-9B1B-251B-6FBB-DC984D218F80}"/>
              </a:ext>
            </a:extLst>
          </p:cNvPr>
          <p:cNvSpPr txBox="1"/>
          <p:nvPr/>
        </p:nvSpPr>
        <p:spPr bwMode="auto">
          <a:xfrm>
            <a:off x="4397740" y="2438761"/>
            <a:ext cx="243464"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S7</a:t>
            </a:r>
          </a:p>
        </p:txBody>
      </p:sp>
      <p:sp>
        <p:nvSpPr>
          <p:cNvPr id="40" name="TextBox 10">
            <a:extLst>
              <a:ext uri="{FF2B5EF4-FFF2-40B4-BE49-F238E27FC236}">
                <a16:creationId xmlns:a16="http://schemas.microsoft.com/office/drawing/2014/main" id="{3514C5DB-CD6D-7DF3-3B7A-9A46EBFF8F4E}"/>
              </a:ext>
            </a:extLst>
          </p:cNvPr>
          <p:cNvSpPr txBox="1"/>
          <p:nvPr/>
        </p:nvSpPr>
        <p:spPr bwMode="auto">
          <a:xfrm>
            <a:off x="5211048" y="2960225"/>
            <a:ext cx="243464"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S6</a:t>
            </a:r>
          </a:p>
        </p:txBody>
      </p:sp>
      <p:sp>
        <p:nvSpPr>
          <p:cNvPr id="41" name="TextBox 10">
            <a:extLst>
              <a:ext uri="{FF2B5EF4-FFF2-40B4-BE49-F238E27FC236}">
                <a16:creationId xmlns:a16="http://schemas.microsoft.com/office/drawing/2014/main" id="{FDE1E6A9-45CD-BEB5-8620-285162DB0D3F}"/>
              </a:ext>
            </a:extLst>
          </p:cNvPr>
          <p:cNvSpPr txBox="1"/>
          <p:nvPr/>
        </p:nvSpPr>
        <p:spPr bwMode="auto">
          <a:xfrm>
            <a:off x="1572051" y="3931482"/>
            <a:ext cx="221615"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L5</a:t>
            </a:r>
          </a:p>
        </p:txBody>
      </p:sp>
      <p:sp>
        <p:nvSpPr>
          <p:cNvPr id="42" name="TextBox 41">
            <a:extLst>
              <a:ext uri="{FF2B5EF4-FFF2-40B4-BE49-F238E27FC236}">
                <a16:creationId xmlns:a16="http://schemas.microsoft.com/office/drawing/2014/main" id="{7E126247-FF2B-E84D-3EDA-6ADA74B7C80C}"/>
              </a:ext>
            </a:extLst>
          </p:cNvPr>
          <p:cNvSpPr txBox="1"/>
          <p:nvPr/>
        </p:nvSpPr>
        <p:spPr bwMode="auto">
          <a:xfrm>
            <a:off x="5384868" y="2002280"/>
            <a:ext cx="232540" cy="233536"/>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kern="0" dirty="0">
                <a:solidFill>
                  <a:schemeClr val="dk1"/>
                </a:solidFill>
                <a:latin typeface="Arial" panose="020B0604020202020204" pitchFamily="34" charset="0"/>
                <a:ea typeface="Verdana" pitchFamily="34" charset="0"/>
                <a:cs typeface="Times New Roman" panose="02020603050405020304" pitchFamily="18" charset="0"/>
              </a:rPr>
              <a:t>T2</a:t>
            </a:r>
          </a:p>
        </p:txBody>
      </p:sp>
      <p:sp>
        <p:nvSpPr>
          <p:cNvPr id="43" name="TextBox 10">
            <a:extLst>
              <a:ext uri="{FF2B5EF4-FFF2-40B4-BE49-F238E27FC236}">
                <a16:creationId xmlns:a16="http://schemas.microsoft.com/office/drawing/2014/main" id="{623333F8-DD12-9779-A1CE-2FF0CA3E1D75}"/>
              </a:ext>
            </a:extLst>
          </p:cNvPr>
          <p:cNvSpPr txBox="1"/>
          <p:nvPr/>
        </p:nvSpPr>
        <p:spPr bwMode="auto">
          <a:xfrm>
            <a:off x="3601418" y="5208707"/>
            <a:ext cx="1025922" cy="246221"/>
          </a:xfrm>
          <a:prstGeom prst="rect">
            <a:avLst/>
          </a:prstGeom>
          <a:noFill/>
          <a:ln w="9525">
            <a:noFill/>
            <a:miter lim="800000"/>
            <a:headEnd/>
            <a:tailEnd/>
          </a:ln>
          <a:effectLst/>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78" eaLnBrk="0" fontAlgn="auto" hangingPunct="0">
              <a:spcBef>
                <a:spcPts val="0"/>
              </a:spcBef>
              <a:spcAft>
                <a:spcPts val="300"/>
              </a:spcAft>
              <a:buClr>
                <a:srgbClr val="E30034"/>
              </a:buClr>
              <a:defRPr/>
            </a:pPr>
            <a:r>
              <a:rPr lang="en-US" sz="1600" dirty="0">
                <a:solidFill>
                  <a:schemeClr val="dk1"/>
                </a:solidFill>
                <a:latin typeface="Arial" panose="020B0604020202020204" pitchFamily="34" charset="0"/>
                <a:ea typeface="Verdana" pitchFamily="34" charset="0"/>
                <a:cs typeface="Times New Roman" panose="02020603050405020304" pitchFamily="18" charset="0"/>
              </a:rPr>
              <a:t>H7 – </a:t>
            </a:r>
            <a:r>
              <a:rPr lang="en-US" sz="1600" dirty="0">
                <a:solidFill>
                  <a:schemeClr val="accent6"/>
                </a:solidFill>
                <a:latin typeface="Arial" panose="020B0604020202020204" pitchFamily="34" charset="0"/>
                <a:ea typeface="Verdana" pitchFamily="34" charset="0"/>
                <a:cs typeface="Times New Roman" panose="02020603050405020304" pitchFamily="18" charset="0"/>
              </a:rPr>
              <a:t>750 V</a:t>
            </a:r>
            <a:endParaRPr lang="en-US" sz="1600" kern="0" dirty="0">
              <a:solidFill>
                <a:schemeClr val="accent6"/>
              </a:solidFill>
              <a:latin typeface="Arial" panose="020B0604020202020204" pitchFamily="34" charset="0"/>
              <a:ea typeface="Verdana" pitchFamily="34" charset="0"/>
              <a:cs typeface="Times New Roman" panose="02020603050405020304" pitchFamily="18" charset="0"/>
            </a:endParaRPr>
          </a:p>
        </p:txBody>
      </p:sp>
      <p:cxnSp>
        <p:nvCxnSpPr>
          <p:cNvPr id="45" name="Straight Arrow Connector 44">
            <a:extLst>
              <a:ext uri="{FF2B5EF4-FFF2-40B4-BE49-F238E27FC236}">
                <a16:creationId xmlns:a16="http://schemas.microsoft.com/office/drawing/2014/main" id="{556A7077-6BC4-598F-A02A-05700DD9F9FE}"/>
              </a:ext>
            </a:extLst>
          </p:cNvPr>
          <p:cNvCxnSpPr/>
          <p:nvPr/>
        </p:nvCxnSpPr>
        <p:spPr>
          <a:xfrm flipV="1">
            <a:off x="3364542" y="4728773"/>
            <a:ext cx="136103" cy="166881"/>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6" name="Straight Arrow Connector 45">
            <a:extLst>
              <a:ext uri="{FF2B5EF4-FFF2-40B4-BE49-F238E27FC236}">
                <a16:creationId xmlns:a16="http://schemas.microsoft.com/office/drawing/2014/main" id="{5B66457F-38FD-54CB-AA6D-892F911687D3}"/>
              </a:ext>
            </a:extLst>
          </p:cNvPr>
          <p:cNvCxnSpPr>
            <a:cxnSpLocks/>
          </p:cNvCxnSpPr>
          <p:nvPr/>
        </p:nvCxnSpPr>
        <p:spPr>
          <a:xfrm>
            <a:off x="3364542" y="5157762"/>
            <a:ext cx="148035" cy="174055"/>
          </a:xfrm>
          <a:prstGeom prst="straightConnector1">
            <a:avLst/>
          </a:prstGeom>
          <a:ln>
            <a:solidFill>
              <a:schemeClr val="accent6"/>
            </a:solidFill>
            <a:tailEnd type="triangle"/>
          </a:ln>
        </p:spPr>
        <p:style>
          <a:lnRef idx="1">
            <a:schemeClr val="accent3"/>
          </a:lnRef>
          <a:fillRef idx="0">
            <a:schemeClr val="accent3"/>
          </a:fillRef>
          <a:effectRef idx="0">
            <a:schemeClr val="accent3"/>
          </a:effectRef>
          <a:fontRef idx="minor">
            <a:schemeClr val="tx1"/>
          </a:fontRef>
        </p:style>
      </p:cxnSp>
      <p:cxnSp>
        <p:nvCxnSpPr>
          <p:cNvPr id="50" name="Straight Arrow Connector 49">
            <a:extLst>
              <a:ext uri="{FF2B5EF4-FFF2-40B4-BE49-F238E27FC236}">
                <a16:creationId xmlns:a16="http://schemas.microsoft.com/office/drawing/2014/main" id="{EBCF000A-D359-AB83-4F49-CBFFFE64A106}"/>
              </a:ext>
            </a:extLst>
          </p:cNvPr>
          <p:cNvCxnSpPr>
            <a:cxnSpLocks/>
          </p:cNvCxnSpPr>
          <p:nvPr/>
        </p:nvCxnSpPr>
        <p:spPr>
          <a:xfrm flipH="1">
            <a:off x="2758906" y="5139238"/>
            <a:ext cx="296297" cy="1"/>
          </a:xfrm>
          <a:prstGeom prst="straightConnector1">
            <a:avLst/>
          </a:prstGeom>
          <a:ln>
            <a:solidFill>
              <a:schemeClr val="tx2"/>
            </a:solidFill>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491739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CB8E6-3E86-4FB3-93B4-30F775E857BB}"/>
              </a:ext>
            </a:extLst>
          </p:cNvPr>
          <p:cNvSpPr>
            <a:spLocks noGrp="1"/>
          </p:cNvSpPr>
          <p:nvPr>
            <p:ph type="title"/>
          </p:nvPr>
        </p:nvSpPr>
        <p:spPr/>
        <p:txBody>
          <a:bodyPr/>
          <a:lstStyle/>
          <a:p>
            <a:r>
              <a:rPr lang="en-US" dirty="0"/>
              <a:t>New vs. old technology</a:t>
            </a:r>
          </a:p>
        </p:txBody>
      </p:sp>
      <p:graphicFrame>
        <p:nvGraphicFramePr>
          <p:cNvPr id="6" name="Chart 5">
            <a:extLst>
              <a:ext uri="{FF2B5EF4-FFF2-40B4-BE49-F238E27FC236}">
                <a16:creationId xmlns:a16="http://schemas.microsoft.com/office/drawing/2014/main" id="{EAC118EE-BA2A-490A-8BE3-A1A81A016BCA}"/>
              </a:ext>
            </a:extLst>
          </p:cNvPr>
          <p:cNvGraphicFramePr>
            <a:graphicFrameLocks noGrp="1"/>
          </p:cNvGraphicFramePr>
          <p:nvPr/>
        </p:nvGraphicFramePr>
        <p:xfrm>
          <a:off x="6106584" y="1484784"/>
          <a:ext cx="5761566" cy="4708970"/>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descr="A question mark in a circle&#10;&#10;Description automatically generated">
            <a:extLst>
              <a:ext uri="{FF2B5EF4-FFF2-40B4-BE49-F238E27FC236}">
                <a16:creationId xmlns:a16="http://schemas.microsoft.com/office/drawing/2014/main" id="{33A06E5B-F06A-4D71-96AB-0725273E1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3581" y="1971153"/>
            <a:ext cx="814842" cy="814842"/>
          </a:xfrm>
          <a:prstGeom prst="rect">
            <a:avLst/>
          </a:prstGeom>
        </p:spPr>
      </p:pic>
      <p:sp>
        <p:nvSpPr>
          <p:cNvPr id="8" name="TextBox 7">
            <a:extLst>
              <a:ext uri="{FF2B5EF4-FFF2-40B4-BE49-F238E27FC236}">
                <a16:creationId xmlns:a16="http://schemas.microsoft.com/office/drawing/2014/main" id="{AF9F8679-9DA1-466C-B927-DBBFC9C09483}"/>
              </a:ext>
            </a:extLst>
          </p:cNvPr>
          <p:cNvSpPr txBox="1"/>
          <p:nvPr/>
        </p:nvSpPr>
        <p:spPr bwMode="auto">
          <a:xfrm>
            <a:off x="516303" y="1420345"/>
            <a:ext cx="5579698" cy="563744"/>
          </a:xfrm>
          <a:prstGeom prst="rect">
            <a:avLst/>
          </a:prstGeom>
          <a:noFill/>
          <a:ln w="9525">
            <a:noFill/>
            <a:miter lim="800000"/>
            <a:headEnd/>
            <a:tailEnd/>
          </a:ln>
          <a:effectLst/>
        </p:spPr>
        <p:txBody>
          <a:bodyPr wrap="squar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lang="en-US" sz="1600" b="1" kern="0" dirty="0">
                <a:solidFill>
                  <a:srgbClr val="1D1D1D"/>
                </a:solidFill>
                <a:latin typeface="Arial"/>
                <a:cs typeface="Arial"/>
              </a:rPr>
              <a:t>How does new discrete IGBT7 compare to predecessor generations</a:t>
            </a:r>
            <a:endParaRPr kumimoji="0" lang="en-US" sz="1600" b="1" i="0" u="none" strike="noStrike" kern="0" cap="none" spc="0" normalizeH="0" baseline="0" noProof="0" dirty="0">
              <a:ln>
                <a:noFill/>
              </a:ln>
              <a:solidFill>
                <a:srgbClr val="1D1D1D"/>
              </a:solidFill>
              <a:effectLst/>
              <a:uLnTx/>
              <a:uFillTx/>
              <a:latin typeface="Arial"/>
              <a:ea typeface="+mn-ea"/>
              <a:cs typeface="Arial"/>
            </a:endParaRPr>
          </a:p>
        </p:txBody>
      </p:sp>
      <p:sp>
        <p:nvSpPr>
          <p:cNvPr id="9" name="TextBox 8">
            <a:extLst>
              <a:ext uri="{FF2B5EF4-FFF2-40B4-BE49-F238E27FC236}">
                <a16:creationId xmlns:a16="http://schemas.microsoft.com/office/drawing/2014/main" id="{32A27D12-9D49-4099-BD07-4E14381E750D}"/>
              </a:ext>
            </a:extLst>
          </p:cNvPr>
          <p:cNvSpPr txBox="1"/>
          <p:nvPr/>
        </p:nvSpPr>
        <p:spPr bwMode="auto">
          <a:xfrm>
            <a:off x="2904963" y="1844824"/>
            <a:ext cx="3263045" cy="1299074"/>
          </a:xfrm>
          <a:prstGeom prst="rect">
            <a:avLst/>
          </a:prstGeom>
          <a:noFill/>
          <a:ln w="9525">
            <a:noFill/>
            <a:miter lim="800000"/>
            <a:headEnd/>
            <a:tailEnd/>
          </a:ln>
          <a:effectLst/>
        </p:spPr>
        <p:txBody>
          <a:bodyPr wrap="square" lIns="0" tIns="0" rIns="0" bIns="0" rtlCol="0" anchor="t" anchorCtr="0">
            <a:spAutoFit/>
          </a:bodyPr>
          <a:lstStyle/>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ea typeface="+mn-ea"/>
                <a:cs typeface="Arial"/>
              </a:rPr>
              <a:t>Lower temperature</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cs typeface="Arial"/>
              </a:rPr>
              <a:t>Higher efficiency</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1" i="0" u="none" strike="noStrike" kern="0" cap="none" spc="0" normalizeH="0" baseline="0" noProof="0" dirty="0">
                <a:ln>
                  <a:noFill/>
                </a:ln>
                <a:solidFill>
                  <a:srgbClr val="0A8276"/>
                </a:solidFill>
                <a:effectLst/>
                <a:uLnTx/>
                <a:uFillTx/>
                <a:latin typeface="Arial"/>
                <a:cs typeface="Arial"/>
              </a:rPr>
              <a:t>Higher power output</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1D1D1D"/>
              </a:solidFill>
              <a:effectLst/>
              <a:uLnTx/>
              <a:uFillTx/>
              <a:latin typeface="Arial"/>
              <a:ea typeface="+mn-ea"/>
              <a:cs typeface="Arial"/>
            </a:endParaRPr>
          </a:p>
        </p:txBody>
      </p:sp>
      <p:cxnSp>
        <p:nvCxnSpPr>
          <p:cNvPr id="10" name="Straight Arrow Connector 9">
            <a:extLst>
              <a:ext uri="{FF2B5EF4-FFF2-40B4-BE49-F238E27FC236}">
                <a16:creationId xmlns:a16="http://schemas.microsoft.com/office/drawing/2014/main" id="{06211F8D-F7E2-4856-ACC7-D07E1B726D4A}"/>
              </a:ext>
            </a:extLst>
          </p:cNvPr>
          <p:cNvCxnSpPr/>
          <p:nvPr/>
        </p:nvCxnSpPr>
        <p:spPr>
          <a:xfrm flipV="1">
            <a:off x="8616280" y="2108229"/>
            <a:ext cx="0" cy="1032739"/>
          </a:xfrm>
          <a:prstGeom prst="straightConnector1">
            <a:avLst/>
          </a:prstGeom>
          <a:ln w="53975">
            <a:solidFill>
              <a:schemeClr val="accent3"/>
            </a:solidFill>
            <a:headEnd type="stealth"/>
            <a:tailEnd type="stealth"/>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D5CC5519-3531-4979-B561-0F3A12E5D2EA}"/>
              </a:ext>
            </a:extLst>
          </p:cNvPr>
          <p:cNvGraphicFramePr>
            <a:graphicFrameLocks/>
          </p:cNvGraphicFramePr>
          <p:nvPr/>
        </p:nvGraphicFramePr>
        <p:xfrm>
          <a:off x="325120" y="2991706"/>
          <a:ext cx="5760297" cy="3390044"/>
        </p:xfrm>
        <a:graphic>
          <a:graphicData uri="http://schemas.openxmlformats.org/drawingml/2006/chart">
            <c:chart xmlns:c="http://schemas.openxmlformats.org/drawingml/2006/chart" xmlns:r="http://schemas.openxmlformats.org/officeDocument/2006/relationships" r:id="rId5"/>
          </a:graphicData>
        </a:graphic>
      </p:graphicFrame>
      <p:grpSp>
        <p:nvGrpSpPr>
          <p:cNvPr id="35" name="Group 34">
            <a:extLst>
              <a:ext uri="{FF2B5EF4-FFF2-40B4-BE49-F238E27FC236}">
                <a16:creationId xmlns:a16="http://schemas.microsoft.com/office/drawing/2014/main" id="{405ACC19-9406-4110-8DD0-9B29CDF2B9DE}"/>
              </a:ext>
            </a:extLst>
          </p:cNvPr>
          <p:cNvGrpSpPr/>
          <p:nvPr/>
        </p:nvGrpSpPr>
        <p:grpSpPr>
          <a:xfrm>
            <a:off x="1765160" y="3861047"/>
            <a:ext cx="1597635" cy="1298467"/>
            <a:chOff x="1765160" y="3861047"/>
            <a:chExt cx="1597635" cy="1298467"/>
          </a:xfrm>
        </p:grpSpPr>
        <p:cxnSp>
          <p:nvCxnSpPr>
            <p:cNvPr id="24" name="Connector: Elbow 23">
              <a:extLst>
                <a:ext uri="{FF2B5EF4-FFF2-40B4-BE49-F238E27FC236}">
                  <a16:creationId xmlns:a16="http://schemas.microsoft.com/office/drawing/2014/main" id="{31A6291C-7B96-4952-A864-9CFCD5C74AD4}"/>
                </a:ext>
              </a:extLst>
            </p:cNvPr>
            <p:cNvCxnSpPr>
              <a:cxnSpLocks/>
            </p:cNvCxnSpPr>
            <p:nvPr/>
          </p:nvCxnSpPr>
          <p:spPr>
            <a:xfrm rot="10800000" flipV="1">
              <a:off x="1765160" y="3861047"/>
              <a:ext cx="1597635" cy="1298467"/>
            </a:xfrm>
            <a:prstGeom prst="bentConnector3">
              <a:avLst>
                <a:gd name="adj1" fmla="val 100080"/>
              </a:avLst>
            </a:prstGeom>
            <a:ln w="19050">
              <a:solidFill>
                <a:srgbClr val="F9741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B39059A-620E-48B1-A066-62F0307CFE40}"/>
                </a:ext>
              </a:extLst>
            </p:cNvPr>
            <p:cNvCxnSpPr>
              <a:cxnSpLocks/>
            </p:cNvCxnSpPr>
            <p:nvPr/>
          </p:nvCxnSpPr>
          <p:spPr>
            <a:xfrm>
              <a:off x="3362795" y="3861047"/>
              <a:ext cx="0" cy="216025"/>
            </a:xfrm>
            <a:prstGeom prst="line">
              <a:avLst/>
            </a:prstGeom>
            <a:ln w="19050">
              <a:solidFill>
                <a:srgbClr val="F97414"/>
              </a:solidFill>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5F579FC-1A77-4B08-B3CD-020AD0631189}"/>
              </a:ext>
            </a:extLst>
          </p:cNvPr>
          <p:cNvGrpSpPr/>
          <p:nvPr/>
        </p:nvGrpSpPr>
        <p:grpSpPr>
          <a:xfrm>
            <a:off x="1294218" y="3503331"/>
            <a:ext cx="3793670" cy="1656184"/>
            <a:chOff x="1294218" y="3503331"/>
            <a:chExt cx="3793670" cy="1656184"/>
          </a:xfrm>
        </p:grpSpPr>
        <p:cxnSp>
          <p:nvCxnSpPr>
            <p:cNvPr id="19" name="Connector: Elbow 18">
              <a:extLst>
                <a:ext uri="{FF2B5EF4-FFF2-40B4-BE49-F238E27FC236}">
                  <a16:creationId xmlns:a16="http://schemas.microsoft.com/office/drawing/2014/main" id="{4E1A67BA-D057-46EC-84B0-4B27E143B3B1}"/>
                </a:ext>
              </a:extLst>
            </p:cNvPr>
            <p:cNvCxnSpPr>
              <a:cxnSpLocks/>
            </p:cNvCxnSpPr>
            <p:nvPr/>
          </p:nvCxnSpPr>
          <p:spPr>
            <a:xfrm rot="10800000" flipV="1">
              <a:off x="1294218" y="3503331"/>
              <a:ext cx="3793670" cy="1656184"/>
            </a:xfrm>
            <a:prstGeom prst="bentConnector3">
              <a:avLst>
                <a:gd name="adj1" fmla="val 100014"/>
              </a:avLst>
            </a:prstGeom>
            <a:ln w="19050">
              <a:solidFill>
                <a:srgbClr val="F97414"/>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AED0EF7-F37C-4962-A4D8-0495CF949767}"/>
                </a:ext>
              </a:extLst>
            </p:cNvPr>
            <p:cNvCxnSpPr/>
            <p:nvPr/>
          </p:nvCxnSpPr>
          <p:spPr>
            <a:xfrm>
              <a:off x="5087888" y="3503331"/>
              <a:ext cx="0" cy="69685"/>
            </a:xfrm>
            <a:prstGeom prst="line">
              <a:avLst/>
            </a:prstGeom>
            <a:ln w="19050">
              <a:solidFill>
                <a:srgbClr val="F97414"/>
              </a:solidFill>
              <a:tailEnd type="none"/>
            </a:ln>
          </p:spPr>
          <p:style>
            <a:lnRef idx="1">
              <a:schemeClr val="accent1"/>
            </a:lnRef>
            <a:fillRef idx="0">
              <a:schemeClr val="accent1"/>
            </a:fillRef>
            <a:effectRef idx="0">
              <a:schemeClr val="accent1"/>
            </a:effectRef>
            <a:fontRef idx="minor">
              <a:schemeClr val="tx1"/>
            </a:fontRef>
          </p:style>
        </p:cxnSp>
      </p:grpSp>
      <p:sp>
        <p:nvSpPr>
          <p:cNvPr id="37" name="Oval 36">
            <a:extLst>
              <a:ext uri="{FF2B5EF4-FFF2-40B4-BE49-F238E27FC236}">
                <a16:creationId xmlns:a16="http://schemas.microsoft.com/office/drawing/2014/main" id="{078130BA-8FB2-48F0-9069-60B85DCA29D8}"/>
              </a:ext>
            </a:extLst>
          </p:cNvPr>
          <p:cNvSpPr/>
          <p:nvPr/>
        </p:nvSpPr>
        <p:spPr bwMode="auto">
          <a:xfrm>
            <a:off x="3071664" y="3354668"/>
            <a:ext cx="648070" cy="318207"/>
          </a:xfrm>
          <a:prstGeom prst="ellipse">
            <a:avLst/>
          </a:prstGeom>
          <a:solidFill>
            <a:schemeClr val="tx2"/>
          </a:solidFill>
          <a:ln w="9525">
            <a:noFill/>
            <a:miter lim="800000"/>
            <a:headEnd/>
            <a:tailEn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Times New Roman" panose="02020603050405020304" pitchFamily="18" charset="0"/>
              </a:rPr>
              <a:t>20°C</a:t>
            </a:r>
          </a:p>
        </p:txBody>
      </p:sp>
      <p:sp>
        <p:nvSpPr>
          <p:cNvPr id="39" name="Oval 38">
            <a:extLst>
              <a:ext uri="{FF2B5EF4-FFF2-40B4-BE49-F238E27FC236}">
                <a16:creationId xmlns:a16="http://schemas.microsoft.com/office/drawing/2014/main" id="{0B53CAB5-AFFB-4E8C-8A37-A0EE82320E42}"/>
              </a:ext>
            </a:extLst>
          </p:cNvPr>
          <p:cNvSpPr/>
          <p:nvPr/>
        </p:nvSpPr>
        <p:spPr bwMode="auto">
          <a:xfrm>
            <a:off x="2135560" y="3701757"/>
            <a:ext cx="648071" cy="318207"/>
          </a:xfrm>
          <a:prstGeom prst="ellipse">
            <a:avLst/>
          </a:prstGeom>
          <a:solidFill>
            <a:schemeClr val="tx2"/>
          </a:solidFill>
          <a:ln w="9525">
            <a:noFill/>
            <a:miter lim="800000"/>
            <a:headEnd/>
            <a:tailEn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cs typeface="Times New Roman" panose="02020603050405020304" pitchFamily="18" charset="0"/>
              </a:rPr>
              <a:t>13°C</a:t>
            </a:r>
          </a:p>
        </p:txBody>
      </p:sp>
      <p:sp>
        <p:nvSpPr>
          <p:cNvPr id="3" name="Oval 2">
            <a:extLst>
              <a:ext uri="{FF2B5EF4-FFF2-40B4-BE49-F238E27FC236}">
                <a16:creationId xmlns:a16="http://schemas.microsoft.com/office/drawing/2014/main" id="{696421A3-1B71-4389-B0E9-500E23562D0E}"/>
              </a:ext>
            </a:extLst>
          </p:cNvPr>
          <p:cNvSpPr/>
          <p:nvPr/>
        </p:nvSpPr>
        <p:spPr bwMode="auto">
          <a:xfrm>
            <a:off x="8727210" y="2282873"/>
            <a:ext cx="867726" cy="566613"/>
          </a:xfrm>
          <a:prstGeom prst="ellipse">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kern="0" dirty="0">
              <a:solidFill>
                <a:srgbClr val="F97414"/>
              </a:solidFill>
              <a:latin typeface="Arial"/>
            </a:endParaRPr>
          </a:p>
          <a:p>
            <a:pPr algn="ctr" defTabSz="576000" eaLnBrk="0" hangingPunct="0">
              <a:lnSpc>
                <a:spcPct val="120000"/>
              </a:lnSpc>
            </a:pPr>
            <a:r>
              <a:rPr lang="en-US" sz="1600" b="1" kern="0" dirty="0">
                <a:solidFill>
                  <a:schemeClr val="bg1"/>
                </a:solidFill>
                <a:latin typeface="Arial"/>
              </a:rPr>
              <a:t>1.2%</a:t>
            </a:r>
          </a:p>
          <a:p>
            <a:pPr algn="ctr" defTabSz="576000" eaLnBrk="0" hangingPunct="0">
              <a:lnSpc>
                <a:spcPct val="120000"/>
              </a:lnSpc>
            </a:pPr>
            <a:endParaRPr lang="en-US" sz="1600" baseline="0" dirty="0">
              <a:solidFill>
                <a:schemeClr val="bg1"/>
              </a:solidFill>
              <a:latin typeface="+mn-lt"/>
              <a:ea typeface="+mn-ea"/>
              <a:cs typeface="+mn-cs"/>
            </a:endParaRPr>
          </a:p>
        </p:txBody>
      </p:sp>
      <p:grpSp>
        <p:nvGrpSpPr>
          <p:cNvPr id="20" name="Group 19">
            <a:extLst>
              <a:ext uri="{FF2B5EF4-FFF2-40B4-BE49-F238E27FC236}">
                <a16:creationId xmlns:a16="http://schemas.microsoft.com/office/drawing/2014/main" id="{0C712F7F-4397-4272-8257-3753490C196F}"/>
              </a:ext>
            </a:extLst>
          </p:cNvPr>
          <p:cNvGrpSpPr/>
          <p:nvPr/>
        </p:nvGrpSpPr>
        <p:grpSpPr>
          <a:xfrm rot="1189405">
            <a:off x="6715566" y="406951"/>
            <a:ext cx="1140815" cy="1434872"/>
            <a:chOff x="422804" y="1683675"/>
            <a:chExt cx="1203006" cy="1720652"/>
          </a:xfrm>
        </p:grpSpPr>
        <p:pic>
          <p:nvPicPr>
            <p:cNvPr id="21" name="Picture 20">
              <a:extLst>
                <a:ext uri="{FF2B5EF4-FFF2-40B4-BE49-F238E27FC236}">
                  <a16:creationId xmlns:a16="http://schemas.microsoft.com/office/drawing/2014/main" id="{15269E1C-99C3-4CF2-9EC2-3EBF10E3CE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055641">
              <a:off x="422804" y="1683675"/>
              <a:ext cx="1203006" cy="1582901"/>
            </a:xfrm>
            <a:prstGeom prst="rect">
              <a:avLst/>
            </a:prstGeom>
          </p:spPr>
        </p:pic>
        <p:sp>
          <p:nvSpPr>
            <p:cNvPr id="22" name="TextBox 21">
              <a:extLst>
                <a:ext uri="{FF2B5EF4-FFF2-40B4-BE49-F238E27FC236}">
                  <a16:creationId xmlns:a16="http://schemas.microsoft.com/office/drawing/2014/main" id="{25CA566D-1AE4-4DCF-8AE9-607E3DD37C23}"/>
                </a:ext>
              </a:extLst>
            </p:cNvPr>
            <p:cNvSpPr txBox="1"/>
            <p:nvPr/>
          </p:nvSpPr>
          <p:spPr bwMode="auto">
            <a:xfrm>
              <a:off x="706795" y="3183112"/>
              <a:ext cx="114946" cy="221215"/>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0000"/>
                  </a:solidFill>
                  <a:effectLst/>
                  <a:uLnTx/>
                  <a:uFillTx/>
                  <a:latin typeface="Arial"/>
                  <a:ea typeface="+mn-ea"/>
                  <a:cs typeface="Arial"/>
                </a:rPr>
                <a:t>G</a:t>
              </a:r>
            </a:p>
          </p:txBody>
        </p:sp>
        <p:sp>
          <p:nvSpPr>
            <p:cNvPr id="23" name="TextBox 22">
              <a:extLst>
                <a:ext uri="{FF2B5EF4-FFF2-40B4-BE49-F238E27FC236}">
                  <a16:creationId xmlns:a16="http://schemas.microsoft.com/office/drawing/2014/main" id="{3AE73E80-B288-4BCA-95B2-43AFF1732E78}"/>
                </a:ext>
              </a:extLst>
            </p:cNvPr>
            <p:cNvSpPr txBox="1"/>
            <p:nvPr/>
          </p:nvSpPr>
          <p:spPr bwMode="auto">
            <a:xfrm>
              <a:off x="916953" y="3180449"/>
              <a:ext cx="108185" cy="221215"/>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9C216E"/>
                  </a:solidFill>
                  <a:effectLst/>
                  <a:uLnTx/>
                  <a:uFillTx/>
                  <a:latin typeface="Arial"/>
                  <a:cs typeface="Arial"/>
                </a:rPr>
                <a:t>C</a:t>
              </a:r>
            </a:p>
          </p:txBody>
        </p:sp>
        <p:sp>
          <p:nvSpPr>
            <p:cNvPr id="25" name="TextBox 24">
              <a:extLst>
                <a:ext uri="{FF2B5EF4-FFF2-40B4-BE49-F238E27FC236}">
                  <a16:creationId xmlns:a16="http://schemas.microsoft.com/office/drawing/2014/main" id="{65A6A078-2074-4004-BC11-170F35EBD489}"/>
                </a:ext>
              </a:extLst>
            </p:cNvPr>
            <p:cNvSpPr txBox="1"/>
            <p:nvPr/>
          </p:nvSpPr>
          <p:spPr bwMode="auto">
            <a:xfrm>
              <a:off x="1120866" y="3180448"/>
              <a:ext cx="99734" cy="221215"/>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97414"/>
                  </a:solidFill>
                  <a:effectLst/>
                  <a:uLnTx/>
                  <a:uFillTx/>
                  <a:latin typeface="Arial"/>
                  <a:cs typeface="Arial"/>
                </a:rPr>
                <a:t>E</a:t>
              </a:r>
            </a:p>
          </p:txBody>
        </p:sp>
      </p:grpSp>
    </p:spTree>
    <p:extLst>
      <p:ext uri="{BB962C8B-B14F-4D97-AF65-F5344CB8AC3E}">
        <p14:creationId xmlns:p14="http://schemas.microsoft.com/office/powerpoint/2010/main" val="35866696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BAED-5F18-08D9-3ED2-45419E9CFA61}"/>
              </a:ext>
            </a:extLst>
          </p:cNvPr>
          <p:cNvSpPr>
            <a:spLocks noGrp="1"/>
          </p:cNvSpPr>
          <p:nvPr>
            <p:ph type="title"/>
          </p:nvPr>
        </p:nvSpPr>
        <p:spPr/>
        <p:txBody>
          <a:bodyPr/>
          <a:lstStyle/>
          <a:p>
            <a:r>
              <a:rPr lang="en-US" dirty="0"/>
              <a:t>Maximum efficiency with 4-pin solution</a:t>
            </a:r>
          </a:p>
        </p:txBody>
      </p:sp>
    </p:spTree>
    <p:extLst>
      <p:ext uri="{BB962C8B-B14F-4D97-AF65-F5344CB8AC3E}">
        <p14:creationId xmlns:p14="http://schemas.microsoft.com/office/powerpoint/2010/main" val="480049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C8992E0-518E-470D-AF07-5C179C7C2B87}"/>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95587" y="2600698"/>
            <a:ext cx="754490" cy="992750"/>
          </a:xfrm>
          <a:prstGeom prst="rect">
            <a:avLst/>
          </a:prstGeom>
        </p:spPr>
      </p:pic>
      <p:pic>
        <p:nvPicPr>
          <p:cNvPr id="49" name="Picture 48">
            <a:extLst>
              <a:ext uri="{FF2B5EF4-FFF2-40B4-BE49-F238E27FC236}">
                <a16:creationId xmlns:a16="http://schemas.microsoft.com/office/drawing/2014/main" id="{20F1EC01-8012-430E-8FA2-45C6496E5E3C}"/>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350480" y="2638514"/>
            <a:ext cx="768592" cy="1011306"/>
          </a:xfrm>
          <a:prstGeom prst="rect">
            <a:avLst/>
          </a:prstGeom>
        </p:spPr>
      </p:pic>
      <p:pic>
        <p:nvPicPr>
          <p:cNvPr id="10" name="Picture 9">
            <a:extLst>
              <a:ext uri="{FF2B5EF4-FFF2-40B4-BE49-F238E27FC236}">
                <a16:creationId xmlns:a16="http://schemas.microsoft.com/office/drawing/2014/main" id="{EDA1865D-21E6-4FA6-B222-6896F4DF5C08}"/>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35473" y="1738951"/>
            <a:ext cx="755826" cy="955935"/>
          </a:xfrm>
          <a:prstGeom prst="rect">
            <a:avLst/>
          </a:prstGeom>
        </p:spPr>
      </p:pic>
      <p:pic>
        <p:nvPicPr>
          <p:cNvPr id="8" name="Picture 7">
            <a:extLst>
              <a:ext uri="{FF2B5EF4-FFF2-40B4-BE49-F238E27FC236}">
                <a16:creationId xmlns:a16="http://schemas.microsoft.com/office/drawing/2014/main" id="{698603B8-C16A-438E-8E47-0197956BCE84}"/>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55170" y="1766969"/>
            <a:ext cx="763779" cy="994504"/>
          </a:xfrm>
          <a:prstGeom prst="rect">
            <a:avLst/>
          </a:prstGeom>
        </p:spPr>
      </p:pic>
      <p:sp>
        <p:nvSpPr>
          <p:cNvPr id="17" name="Titel 16"/>
          <p:cNvSpPr>
            <a:spLocks noGrp="1"/>
          </p:cNvSpPr>
          <p:nvPr>
            <p:ph type="title" hasCustomPrompt="1"/>
          </p:nvPr>
        </p:nvSpPr>
        <p:spPr/>
        <p:txBody>
          <a:bodyPr/>
          <a:lstStyle/>
          <a:p>
            <a:r>
              <a:rPr lang="de-AT" b="0" dirty="0"/>
              <a:t>It´s time to Switch!</a:t>
            </a:r>
            <a:br>
              <a:rPr lang="de-AT" b="0" dirty="0"/>
            </a:br>
            <a:r>
              <a:rPr lang="de-AT" dirty="0"/>
              <a:t>5 Decisive Values of TRENCHSTOP</a:t>
            </a:r>
            <a:r>
              <a:rPr lang="de-AT" baseline="30000" dirty="0"/>
              <a:t>TM</a:t>
            </a:r>
            <a:r>
              <a:rPr lang="de-AT" dirty="0"/>
              <a:t> IGBT7 family</a:t>
            </a:r>
            <a:endParaRPr lang="de-AT" baseline="30000" dirty="0"/>
          </a:p>
        </p:txBody>
      </p:sp>
      <p:sp>
        <p:nvSpPr>
          <p:cNvPr id="51" name="Rectangle 50">
            <a:extLst>
              <a:ext uri="{FF2B5EF4-FFF2-40B4-BE49-F238E27FC236}">
                <a16:creationId xmlns:a16="http://schemas.microsoft.com/office/drawing/2014/main" id="{2C096474-97B9-1811-0088-DE19422C1E75}"/>
              </a:ext>
            </a:extLst>
          </p:cNvPr>
          <p:cNvSpPr/>
          <p:nvPr>
            <p:custDataLst>
              <p:tags r:id="rId2"/>
            </p:custDataLst>
          </p:nvPr>
        </p:nvSpPr>
        <p:spPr bwMode="auto">
          <a:xfrm>
            <a:off x="2089969" y="1329211"/>
            <a:ext cx="1975643"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Value Proposition</a:t>
            </a:r>
          </a:p>
        </p:txBody>
      </p:sp>
      <p:sp>
        <p:nvSpPr>
          <p:cNvPr id="52" name="Rectangle 51">
            <a:extLst>
              <a:ext uri="{FF2B5EF4-FFF2-40B4-BE49-F238E27FC236}">
                <a16:creationId xmlns:a16="http://schemas.microsoft.com/office/drawing/2014/main" id="{BD298039-6708-3315-7EB9-46A234398EA4}"/>
              </a:ext>
            </a:extLst>
          </p:cNvPr>
          <p:cNvSpPr/>
          <p:nvPr>
            <p:custDataLst>
              <p:tags r:id="rId3"/>
            </p:custDataLst>
          </p:nvPr>
        </p:nvSpPr>
        <p:spPr bwMode="auto">
          <a:xfrm>
            <a:off x="4374028" y="2726867"/>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Space </a:t>
            </a:r>
            <a:r>
              <a:rPr lang="sl-SI" b="1" dirty="0">
                <a:solidFill>
                  <a:srgbClr val="1D1D1D"/>
                </a:solidFill>
                <a:latin typeface="Arial" panose="020B0604020202020204" pitchFamily="34" charset="0"/>
                <a:ea typeface="Verdana" pitchFamily="34" charset="0"/>
                <a:cs typeface="Arial" panose="020B0604020202020204" pitchFamily="34" charset="0"/>
              </a:rPr>
              <a:t>mi</a:t>
            </a:r>
            <a:r>
              <a:rPr lang="en-US" b="1" dirty="0" err="1">
                <a:solidFill>
                  <a:srgbClr val="1D1D1D"/>
                </a:solidFill>
                <a:latin typeface="Arial" panose="020B0604020202020204" pitchFamily="34" charset="0"/>
                <a:ea typeface="Verdana" pitchFamily="34" charset="0"/>
                <a:cs typeface="Arial" panose="020B0604020202020204" pitchFamily="34" charset="0"/>
              </a:rPr>
              <a:t>nimization</a:t>
            </a:r>
            <a:r>
              <a:rPr lang="en-US" b="1" dirty="0">
                <a:solidFill>
                  <a:srgbClr val="1D1D1D"/>
                </a:solidFill>
                <a:latin typeface="Arial" panose="020B0604020202020204" pitchFamily="34" charset="0"/>
                <a:ea typeface="Verdana" pitchFamily="34" charset="0"/>
                <a:cs typeface="Arial" panose="020B0604020202020204" pitchFamily="34" charset="0"/>
              </a:rPr>
              <a:t> or </a:t>
            </a:r>
            <a:r>
              <a:rPr lang="sl-SI" b="1" dirty="0">
                <a:solidFill>
                  <a:srgbClr val="1D1D1D"/>
                </a:solidFill>
                <a:latin typeface="Arial" panose="020B0604020202020204" pitchFamily="34" charset="0"/>
                <a:ea typeface="Verdana" pitchFamily="34" charset="0"/>
                <a:cs typeface="Arial" panose="020B0604020202020204" pitchFamily="34" charset="0"/>
              </a:rPr>
              <a:t>i</a:t>
            </a:r>
            <a:r>
              <a:rPr lang="en-US" b="1" dirty="0" err="1">
                <a:solidFill>
                  <a:srgbClr val="1D1D1D"/>
                </a:solidFill>
                <a:latin typeface="Arial" panose="020B0604020202020204" pitchFamily="34" charset="0"/>
                <a:ea typeface="Verdana" pitchFamily="34" charset="0"/>
                <a:cs typeface="Arial" panose="020B0604020202020204" pitchFamily="34" charset="0"/>
              </a:rPr>
              <a:t>ncreased</a:t>
            </a:r>
            <a:r>
              <a:rPr lang="en-US" b="1" dirty="0">
                <a:solidFill>
                  <a:srgbClr val="1D1D1D"/>
                </a:solidFill>
                <a:latin typeface="Arial" panose="020B0604020202020204" pitchFamily="34" charset="0"/>
                <a:ea typeface="Verdana" pitchFamily="34" charset="0"/>
                <a:cs typeface="Arial" panose="020B0604020202020204" pitchFamily="34" charset="0"/>
              </a:rPr>
              <a:t> output power for the same system size  </a:t>
            </a:r>
            <a:endParaRPr kumimoji="0" lang="en-US" sz="1400" b="1" i="0" u="none" strike="noStrike" kern="1200" cap="none" spc="0" normalizeH="0" baseline="0" noProof="0" dirty="0">
              <a:ln>
                <a:noFill/>
              </a:ln>
              <a:solidFill>
                <a:srgbClr val="1D1D1D"/>
              </a:solidFill>
              <a:effectLst/>
              <a:uLnTx/>
              <a:uFillTx/>
              <a:latin typeface="Arial" panose="020B0604020202020204" pitchFamily="34" charset="0"/>
              <a:ea typeface="Verdana" pitchFamily="34" charset="0"/>
              <a:cs typeface="Arial" panose="020B0604020202020204" pitchFamily="34" charset="0"/>
            </a:endParaRPr>
          </a:p>
        </p:txBody>
      </p:sp>
      <p:sp>
        <p:nvSpPr>
          <p:cNvPr id="53" name="Rectangle 52">
            <a:extLst>
              <a:ext uri="{FF2B5EF4-FFF2-40B4-BE49-F238E27FC236}">
                <a16:creationId xmlns:a16="http://schemas.microsoft.com/office/drawing/2014/main" id="{035F2719-5C9D-2AD4-D6EE-17F1827176B2}"/>
              </a:ext>
            </a:extLst>
          </p:cNvPr>
          <p:cNvSpPr/>
          <p:nvPr>
            <p:custDataLst>
              <p:tags r:id="rId4"/>
            </p:custDataLst>
          </p:nvPr>
        </p:nvSpPr>
        <p:spPr bwMode="auto">
          <a:xfrm>
            <a:off x="1991544" y="2762256"/>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Power Density</a:t>
            </a:r>
            <a:endParaRPr lang="en-US" dirty="0">
              <a:solidFill>
                <a:srgbClr val="FFFFFF"/>
              </a:solidFill>
              <a:latin typeface="Arial" panose="020B0604020202020204" pitchFamily="34" charset="0"/>
              <a:ea typeface="Verdana" pitchFamily="34" charset="0"/>
              <a:cs typeface="Arial" panose="020B0604020202020204" pitchFamily="34" charset="0"/>
            </a:endParaRPr>
          </a:p>
        </p:txBody>
      </p:sp>
      <p:sp>
        <p:nvSpPr>
          <p:cNvPr id="55" name="Rectangle 54">
            <a:extLst>
              <a:ext uri="{FF2B5EF4-FFF2-40B4-BE49-F238E27FC236}">
                <a16:creationId xmlns:a16="http://schemas.microsoft.com/office/drawing/2014/main" id="{CB57C2FB-EEAB-42CD-0651-40A4A99472FC}"/>
              </a:ext>
            </a:extLst>
          </p:cNvPr>
          <p:cNvSpPr/>
          <p:nvPr>
            <p:custDataLst>
              <p:tags r:id="rId5"/>
            </p:custDataLst>
          </p:nvPr>
        </p:nvSpPr>
        <p:spPr bwMode="auto">
          <a:xfrm>
            <a:off x="7392119" y="2726867"/>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latin typeface="Arial" panose="020B0604020202020204" pitchFamily="34" charset="0"/>
                <a:ea typeface="Verdana" pitchFamily="34" charset="0"/>
                <a:cs typeface="Arial" panose="020B0604020202020204" pitchFamily="34" charset="0"/>
              </a:rPr>
              <a:t>First time Infineon offer Power discrete devices</a:t>
            </a:r>
            <a:r>
              <a:rPr lang="sl-SI" dirty="0">
                <a:latin typeface="Arial" panose="020B0604020202020204" pitchFamily="34" charset="0"/>
                <a:ea typeface="Verdana" pitchFamily="34" charset="0"/>
                <a:cs typeface="Arial" panose="020B0604020202020204" pitchFamily="34" charset="0"/>
              </a:rPr>
              <a:t> </a:t>
            </a:r>
            <a:r>
              <a:rPr lang="en-US" b="1" dirty="0">
                <a:latin typeface="Arial" panose="020B0604020202020204" pitchFamily="34" charset="0"/>
                <a:ea typeface="Verdana" pitchFamily="34" charset="0"/>
                <a:cs typeface="Arial" panose="020B0604020202020204" pitchFamily="34" charset="0"/>
              </a:rPr>
              <a:t>up to 140 A</a:t>
            </a:r>
            <a:r>
              <a:rPr lang="en-US" dirty="0">
                <a:latin typeface="Arial" panose="020B0604020202020204" pitchFamily="34" charset="0"/>
                <a:ea typeface="Verdana" pitchFamily="34" charset="0"/>
                <a:cs typeface="Arial" panose="020B0604020202020204" pitchFamily="34" charset="0"/>
              </a:rPr>
              <a:t> for 1200 V and </a:t>
            </a:r>
            <a:r>
              <a:rPr lang="en-US" b="1" dirty="0">
                <a:latin typeface="Arial" panose="020B0604020202020204" pitchFamily="34" charset="0"/>
                <a:ea typeface="Verdana" pitchFamily="34" charset="0"/>
                <a:cs typeface="Arial" panose="020B0604020202020204" pitchFamily="34" charset="0"/>
              </a:rPr>
              <a:t>up to 150 A </a:t>
            </a:r>
            <a:r>
              <a:rPr lang="en-US" dirty="0">
                <a:latin typeface="Arial" panose="020B0604020202020204" pitchFamily="34" charset="0"/>
                <a:ea typeface="Verdana" pitchFamily="34" charset="0"/>
                <a:cs typeface="Arial" panose="020B0604020202020204" pitchFamily="34" charset="0"/>
              </a:rPr>
              <a:t>for 650 V and 750 V</a:t>
            </a:r>
            <a:endParaRPr kumimoji="0" lang="en-US" sz="1400" b="0" i="0" u="none" strike="noStrike" kern="1200" cap="none" spc="0" normalizeH="0" baseline="-25000" noProof="0" dirty="0">
              <a:ln>
                <a:noFill/>
              </a:ln>
              <a:effectLst/>
              <a:uLnTx/>
              <a:uFillTx/>
              <a:latin typeface="Arial" panose="020B0604020202020204" pitchFamily="34" charset="0"/>
              <a:ea typeface="Verdana" pitchFamily="34" charset="0"/>
              <a:cs typeface="Arial" panose="020B0604020202020204" pitchFamily="34" charset="0"/>
            </a:endParaRPr>
          </a:p>
        </p:txBody>
      </p:sp>
      <p:sp>
        <p:nvSpPr>
          <p:cNvPr id="56" name="Rectangle 55">
            <a:extLst>
              <a:ext uri="{FF2B5EF4-FFF2-40B4-BE49-F238E27FC236}">
                <a16:creationId xmlns:a16="http://schemas.microsoft.com/office/drawing/2014/main" id="{491B4691-6F7F-D559-92D1-2AD67B0C871D}"/>
              </a:ext>
            </a:extLst>
          </p:cNvPr>
          <p:cNvSpPr/>
          <p:nvPr>
            <p:custDataLst>
              <p:tags r:id="rId6"/>
            </p:custDataLst>
          </p:nvPr>
        </p:nvSpPr>
        <p:spPr bwMode="auto">
          <a:xfrm>
            <a:off x="4367808" y="3684464"/>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sl-SI" b="1" dirty="0">
                <a:solidFill>
                  <a:srgbClr val="1D1D1D"/>
                </a:solidFill>
                <a:latin typeface="Arial" panose="020B0604020202020204" pitchFamily="34" charset="0"/>
                <a:ea typeface="Verdana" pitchFamily="34" charset="0"/>
                <a:cs typeface="Arial" panose="020B0604020202020204" pitchFamily="34" charset="0"/>
              </a:rPr>
              <a:t>More output current, lower case temperature</a:t>
            </a:r>
            <a:endParaRPr lang="en-US" b="1" dirty="0">
              <a:solidFill>
                <a:srgbClr val="1D1D1D"/>
              </a:solidFill>
              <a:latin typeface="Arial" panose="020B0604020202020204" pitchFamily="34" charset="0"/>
              <a:ea typeface="Verdana" pitchFamily="34" charset="0"/>
              <a:cs typeface="Arial" panose="020B0604020202020204" pitchFamily="34" charset="0"/>
            </a:endParaRPr>
          </a:p>
        </p:txBody>
      </p:sp>
      <p:sp>
        <p:nvSpPr>
          <p:cNvPr id="57" name="Rectangle 56">
            <a:extLst>
              <a:ext uri="{FF2B5EF4-FFF2-40B4-BE49-F238E27FC236}">
                <a16:creationId xmlns:a16="http://schemas.microsoft.com/office/drawing/2014/main" id="{882250A6-281A-6F7F-4A96-831499669924}"/>
              </a:ext>
            </a:extLst>
          </p:cNvPr>
          <p:cNvSpPr/>
          <p:nvPr>
            <p:custDataLst>
              <p:tags r:id="rId7"/>
            </p:custDataLst>
          </p:nvPr>
        </p:nvSpPr>
        <p:spPr bwMode="auto">
          <a:xfrm>
            <a:off x="1991544" y="3684462"/>
            <a:ext cx="2287885" cy="709855"/>
          </a:xfrm>
          <a:prstGeom prst="rect">
            <a:avLst/>
          </a:prstGeom>
          <a:solidFill>
            <a:schemeClr val="tx2"/>
          </a:solidFill>
          <a:ln w="19050">
            <a:noFill/>
            <a:miter lim="800000"/>
            <a:headEnd/>
            <a:tailEnd/>
          </a:ln>
          <a:effectLst/>
        </p:spPr>
        <p:txBody>
          <a:bodyPr wrap="square" lIns="18000" tIns="36000" rIns="18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Efficiency</a:t>
            </a:r>
          </a:p>
        </p:txBody>
      </p:sp>
      <p:sp>
        <p:nvSpPr>
          <p:cNvPr id="58" name="Rectangle 57">
            <a:extLst>
              <a:ext uri="{FF2B5EF4-FFF2-40B4-BE49-F238E27FC236}">
                <a16:creationId xmlns:a16="http://schemas.microsoft.com/office/drawing/2014/main" id="{05E837AA-ED8F-0693-DAB2-8EB9F1D35914}"/>
              </a:ext>
            </a:extLst>
          </p:cNvPr>
          <p:cNvSpPr/>
          <p:nvPr>
            <p:custDataLst>
              <p:tags r:id="rId8"/>
            </p:custDataLst>
          </p:nvPr>
        </p:nvSpPr>
        <p:spPr bwMode="auto">
          <a:xfrm>
            <a:off x="7392119" y="3608909"/>
            <a:ext cx="4398643" cy="860963"/>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000000"/>
                </a:solidFill>
                <a:latin typeface="Arial" panose="020B0604020202020204" pitchFamily="34" charset="0"/>
                <a:ea typeface="Verdana" pitchFamily="34" charset="0"/>
                <a:cs typeface="Arial" panose="020B0604020202020204" pitchFamily="34" charset="0"/>
              </a:rPr>
              <a:t>Lowest power losses compared to </a:t>
            </a:r>
            <a:r>
              <a:rPr lang="sl-SI" dirty="0">
                <a:solidFill>
                  <a:srgbClr val="000000"/>
                </a:solidFill>
                <a:latin typeface="Arial" panose="020B0604020202020204" pitchFamily="34" charset="0"/>
                <a:ea typeface="Verdana" pitchFamily="34" charset="0"/>
                <a:cs typeface="Arial" panose="020B0604020202020204" pitchFamily="34" charset="0"/>
              </a:rPr>
              <a:t>previous </a:t>
            </a:r>
            <a:r>
              <a:rPr lang="en-US" dirty="0">
                <a:solidFill>
                  <a:srgbClr val="000000"/>
                </a:solidFill>
                <a:latin typeface="Arial" panose="020B0604020202020204" pitchFamily="34" charset="0"/>
                <a:ea typeface="Verdana" pitchFamily="34" charset="0"/>
                <a:cs typeface="Arial" panose="020B0604020202020204" pitchFamily="34" charset="0"/>
              </a:rPr>
              <a:t>generation</a:t>
            </a:r>
          </a:p>
        </p:txBody>
      </p:sp>
      <p:sp>
        <p:nvSpPr>
          <p:cNvPr id="60" name="Rectangle 59">
            <a:extLst>
              <a:ext uri="{FF2B5EF4-FFF2-40B4-BE49-F238E27FC236}">
                <a16:creationId xmlns:a16="http://schemas.microsoft.com/office/drawing/2014/main" id="{7C647FEF-707B-0C68-29ED-1642FEC37034}"/>
              </a:ext>
            </a:extLst>
          </p:cNvPr>
          <p:cNvSpPr/>
          <p:nvPr>
            <p:custDataLst>
              <p:tags r:id="rId9"/>
            </p:custDataLst>
          </p:nvPr>
        </p:nvSpPr>
        <p:spPr bwMode="auto">
          <a:xfrm>
            <a:off x="4375871" y="4613451"/>
            <a:ext cx="2732864" cy="790634"/>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Best system performance and good price/performance ratio </a:t>
            </a:r>
          </a:p>
        </p:txBody>
      </p:sp>
      <p:sp>
        <p:nvSpPr>
          <p:cNvPr id="61" name="Rectangle 60">
            <a:extLst>
              <a:ext uri="{FF2B5EF4-FFF2-40B4-BE49-F238E27FC236}">
                <a16:creationId xmlns:a16="http://schemas.microsoft.com/office/drawing/2014/main" id="{8A3E1144-9728-739C-D7F8-D38864BFC6B6}"/>
              </a:ext>
            </a:extLst>
          </p:cNvPr>
          <p:cNvSpPr/>
          <p:nvPr>
            <p:custDataLst>
              <p:tags r:id="rId10"/>
            </p:custDataLst>
          </p:nvPr>
        </p:nvSpPr>
        <p:spPr bwMode="auto">
          <a:xfrm>
            <a:off x="1991544" y="4613450"/>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System cost</a:t>
            </a: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endParaRPr>
          </a:p>
        </p:txBody>
      </p:sp>
      <p:sp>
        <p:nvSpPr>
          <p:cNvPr id="62" name="Rectangle 61">
            <a:extLst>
              <a:ext uri="{FF2B5EF4-FFF2-40B4-BE49-F238E27FC236}">
                <a16:creationId xmlns:a16="http://schemas.microsoft.com/office/drawing/2014/main" id="{384068C6-CEBC-3B05-5C04-BEA34832B2E4}"/>
              </a:ext>
            </a:extLst>
          </p:cNvPr>
          <p:cNvSpPr/>
          <p:nvPr>
            <p:custDataLst>
              <p:tags r:id="rId11"/>
            </p:custDataLst>
          </p:nvPr>
        </p:nvSpPr>
        <p:spPr bwMode="auto">
          <a:xfrm>
            <a:off x="7392119" y="4631379"/>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1D1D1D"/>
                </a:solidFill>
                <a:latin typeface="Arial" panose="020B0604020202020204" pitchFamily="34" charset="0"/>
                <a:ea typeface="Verdana" pitchFamily="34" charset="0"/>
                <a:cs typeface="Arial" panose="020B0604020202020204" pitchFamily="34" charset="0"/>
              </a:rPr>
              <a:t>Bridging the gap between traditional silicon IGBTs and offering a cost-effective alternative to wide-bandgap solutions</a:t>
            </a:r>
          </a:p>
        </p:txBody>
      </p:sp>
      <p:sp>
        <p:nvSpPr>
          <p:cNvPr id="64" name="Rectangle 63">
            <a:extLst>
              <a:ext uri="{FF2B5EF4-FFF2-40B4-BE49-F238E27FC236}">
                <a16:creationId xmlns:a16="http://schemas.microsoft.com/office/drawing/2014/main" id="{4830679A-6278-8875-AC03-F277F3E74F15}"/>
              </a:ext>
            </a:extLst>
          </p:cNvPr>
          <p:cNvSpPr/>
          <p:nvPr>
            <p:custDataLst>
              <p:tags r:id="rId12"/>
            </p:custDataLst>
          </p:nvPr>
        </p:nvSpPr>
        <p:spPr bwMode="auto">
          <a:xfrm>
            <a:off x="4367808" y="5524101"/>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Extra reliability, even in high-humidity environment</a:t>
            </a:r>
          </a:p>
        </p:txBody>
      </p:sp>
      <p:sp>
        <p:nvSpPr>
          <p:cNvPr id="65" name="Rectangle 64">
            <a:extLst>
              <a:ext uri="{FF2B5EF4-FFF2-40B4-BE49-F238E27FC236}">
                <a16:creationId xmlns:a16="http://schemas.microsoft.com/office/drawing/2014/main" id="{17D9B137-7767-ADEA-EEA2-BE93ABFCB48A}"/>
              </a:ext>
            </a:extLst>
          </p:cNvPr>
          <p:cNvSpPr/>
          <p:nvPr>
            <p:custDataLst>
              <p:tags r:id="rId13"/>
            </p:custDataLst>
          </p:nvPr>
        </p:nvSpPr>
        <p:spPr bwMode="auto">
          <a:xfrm>
            <a:off x="1991544" y="5524101"/>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rPr>
              <a:t>Quality</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endParaRPr>
          </a:p>
        </p:txBody>
      </p:sp>
      <p:sp>
        <p:nvSpPr>
          <p:cNvPr id="66" name="Rectangle 65">
            <a:extLst>
              <a:ext uri="{FF2B5EF4-FFF2-40B4-BE49-F238E27FC236}">
                <a16:creationId xmlns:a16="http://schemas.microsoft.com/office/drawing/2014/main" id="{BD8074BB-E3BF-DB47-5CBD-AA259080FB1A}"/>
              </a:ext>
            </a:extLst>
          </p:cNvPr>
          <p:cNvSpPr/>
          <p:nvPr>
            <p:custDataLst>
              <p:tags r:id="rId14"/>
            </p:custDataLst>
          </p:nvPr>
        </p:nvSpPr>
        <p:spPr bwMode="auto">
          <a:xfrm>
            <a:off x="7392119" y="5524102"/>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000000"/>
                </a:solidFill>
                <a:latin typeface="Arial" panose="020B0604020202020204" pitchFamily="34" charset="0"/>
                <a:ea typeface="Verdana" pitchFamily="34" charset="0"/>
                <a:cs typeface="Arial" panose="020B0604020202020204" pitchFamily="34" charset="0"/>
              </a:rPr>
              <a:t>Qualified by </a:t>
            </a:r>
            <a:r>
              <a:rPr lang="sl-SI" dirty="0">
                <a:solidFill>
                  <a:srgbClr val="000000"/>
                </a:solidFill>
                <a:latin typeface="Arial" panose="020B0604020202020204" pitchFamily="34" charset="0"/>
                <a:ea typeface="Verdana" pitchFamily="34" charset="0"/>
                <a:cs typeface="Arial" panose="020B0604020202020204" pitchFamily="34" charset="0"/>
              </a:rPr>
              <a:t>	</a:t>
            </a:r>
            <a:r>
              <a:rPr lang="en-US" dirty="0">
                <a:solidFill>
                  <a:srgbClr val="000000"/>
                </a:solidFill>
                <a:latin typeface="Arial" panose="020B0604020202020204" pitchFamily="34" charset="0"/>
                <a:ea typeface="Verdana" pitchFamily="34" charset="0"/>
                <a:cs typeface="Arial" panose="020B0604020202020204" pitchFamily="34" charset="0"/>
              </a:rPr>
              <a:t> </a:t>
            </a:r>
            <a:r>
              <a:rPr lang="sl-SI" dirty="0">
                <a:solidFill>
                  <a:srgbClr val="000000"/>
                </a:solidFill>
                <a:latin typeface="Arial" panose="020B0604020202020204" pitchFamily="34" charset="0"/>
                <a:ea typeface="Verdana" pitchFamily="34" charset="0"/>
                <a:cs typeface="Arial" panose="020B0604020202020204" pitchFamily="34" charset="0"/>
              </a:rPr>
              <a:t>          </a:t>
            </a:r>
            <a:r>
              <a:rPr lang="en-US" dirty="0">
                <a:solidFill>
                  <a:srgbClr val="000000"/>
                </a:solidFill>
                <a:latin typeface="Arial" panose="020B0604020202020204" pitchFamily="34" charset="0"/>
                <a:ea typeface="Verdana" pitchFamily="34" charset="0"/>
                <a:cs typeface="Arial" panose="020B0604020202020204" pitchFamily="34" charset="0"/>
              </a:rPr>
              <a:t>standard for HV-H3TRB</a:t>
            </a:r>
          </a:p>
        </p:txBody>
      </p:sp>
      <p:sp>
        <p:nvSpPr>
          <p:cNvPr id="68" name="Rectangle 67">
            <a:extLst>
              <a:ext uri="{FF2B5EF4-FFF2-40B4-BE49-F238E27FC236}">
                <a16:creationId xmlns:a16="http://schemas.microsoft.com/office/drawing/2014/main" id="{2BA91057-B337-7B21-2C17-253F36A1288B}"/>
              </a:ext>
            </a:extLst>
          </p:cNvPr>
          <p:cNvSpPr/>
          <p:nvPr>
            <p:custDataLst>
              <p:tags r:id="rId15"/>
            </p:custDataLst>
          </p:nvPr>
        </p:nvSpPr>
        <p:spPr bwMode="auto">
          <a:xfrm>
            <a:off x="4367808" y="1877809"/>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One family to fulfill the overall power application needs</a:t>
            </a:r>
          </a:p>
        </p:txBody>
      </p:sp>
      <p:sp>
        <p:nvSpPr>
          <p:cNvPr id="69" name="Rectangle 68">
            <a:extLst>
              <a:ext uri="{FF2B5EF4-FFF2-40B4-BE49-F238E27FC236}">
                <a16:creationId xmlns:a16="http://schemas.microsoft.com/office/drawing/2014/main" id="{F3803D74-7E2B-15F2-9C9B-FDF0A1A03153}"/>
              </a:ext>
            </a:extLst>
          </p:cNvPr>
          <p:cNvSpPr/>
          <p:nvPr>
            <p:custDataLst>
              <p:tags r:id="rId16"/>
            </p:custDataLst>
          </p:nvPr>
        </p:nvSpPr>
        <p:spPr bwMode="auto">
          <a:xfrm>
            <a:off x="1991544" y="1863161"/>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Ease of Use</a:t>
            </a:r>
          </a:p>
        </p:txBody>
      </p:sp>
      <p:sp>
        <p:nvSpPr>
          <p:cNvPr id="70" name="Rectangle 69">
            <a:extLst>
              <a:ext uri="{FF2B5EF4-FFF2-40B4-BE49-F238E27FC236}">
                <a16:creationId xmlns:a16="http://schemas.microsoft.com/office/drawing/2014/main" id="{DFA320B2-B583-3A71-A62E-29F68DAF41EC}"/>
              </a:ext>
            </a:extLst>
          </p:cNvPr>
          <p:cNvSpPr/>
          <p:nvPr>
            <p:custDataLst>
              <p:tags r:id="rId17"/>
            </p:custDataLst>
          </p:nvPr>
        </p:nvSpPr>
        <p:spPr bwMode="auto">
          <a:xfrm>
            <a:off x="7392119" y="1844824"/>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000000"/>
                </a:solidFill>
                <a:latin typeface="Arial" panose="020B0604020202020204" pitchFamily="34" charset="0"/>
                <a:ea typeface="Verdana" pitchFamily="34" charset="0"/>
                <a:cs typeface="Arial" panose="020B0604020202020204" pitchFamily="34" charset="0"/>
              </a:rPr>
              <a:t>Easy to switch, fine controllability with a rugged transient. Flexible family to replace most predecessor technologies. </a:t>
            </a:r>
            <a:r>
              <a:rPr lang="en-US" b="1" dirty="0">
                <a:latin typeface="Arial" panose="020B0604020202020204" pitchFamily="34" charset="0"/>
                <a:ea typeface="Verdana" pitchFamily="34" charset="0"/>
                <a:cs typeface="Arial" panose="020B0604020202020204" pitchFamily="34" charset="0"/>
              </a:rPr>
              <a:t>61 Products </a:t>
            </a:r>
            <a:r>
              <a:rPr lang="en-US" dirty="0">
                <a:latin typeface="Arial" panose="020B0604020202020204" pitchFamily="34" charset="0"/>
                <a:ea typeface="Verdana" pitchFamily="34" charset="0"/>
                <a:cs typeface="Arial" panose="020B0604020202020204" pitchFamily="34" charset="0"/>
              </a:rPr>
              <a:t>in 7 different packages</a:t>
            </a:r>
          </a:p>
        </p:txBody>
      </p:sp>
      <p:sp>
        <p:nvSpPr>
          <p:cNvPr id="72" name="Rectangle 71">
            <a:extLst>
              <a:ext uri="{FF2B5EF4-FFF2-40B4-BE49-F238E27FC236}">
                <a16:creationId xmlns:a16="http://schemas.microsoft.com/office/drawing/2014/main" id="{9F195FB2-9FDF-E75F-6CB8-9317F53842C7}"/>
              </a:ext>
            </a:extLst>
          </p:cNvPr>
          <p:cNvSpPr/>
          <p:nvPr>
            <p:custDataLst>
              <p:tags r:id="rId18"/>
            </p:custDataLst>
          </p:nvPr>
        </p:nvSpPr>
        <p:spPr bwMode="auto">
          <a:xfrm>
            <a:off x="1991544" y="1628800"/>
            <a:ext cx="2287885"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3" name="Rectangle 72">
            <a:extLst>
              <a:ext uri="{FF2B5EF4-FFF2-40B4-BE49-F238E27FC236}">
                <a16:creationId xmlns:a16="http://schemas.microsoft.com/office/drawing/2014/main" id="{0598B941-C751-A6EB-5DF6-48F078809866}"/>
              </a:ext>
            </a:extLst>
          </p:cNvPr>
          <p:cNvSpPr/>
          <p:nvPr>
            <p:custDataLst>
              <p:tags r:id="rId19"/>
            </p:custDataLst>
          </p:nvPr>
        </p:nvSpPr>
        <p:spPr bwMode="auto">
          <a:xfrm>
            <a:off x="4764997" y="1323036"/>
            <a:ext cx="1975643"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Customer benefits </a:t>
            </a:r>
          </a:p>
        </p:txBody>
      </p:sp>
      <p:sp>
        <p:nvSpPr>
          <p:cNvPr id="74" name="Rectangle 73">
            <a:extLst>
              <a:ext uri="{FF2B5EF4-FFF2-40B4-BE49-F238E27FC236}">
                <a16:creationId xmlns:a16="http://schemas.microsoft.com/office/drawing/2014/main" id="{59D20D10-D92F-6A8C-FF56-14BCFE21CF3C}"/>
              </a:ext>
            </a:extLst>
          </p:cNvPr>
          <p:cNvSpPr/>
          <p:nvPr>
            <p:custDataLst>
              <p:tags r:id="rId20"/>
            </p:custDataLst>
          </p:nvPr>
        </p:nvSpPr>
        <p:spPr bwMode="auto">
          <a:xfrm>
            <a:off x="4613079" y="1628800"/>
            <a:ext cx="2287885"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5" name="Rectangle 74">
            <a:extLst>
              <a:ext uri="{FF2B5EF4-FFF2-40B4-BE49-F238E27FC236}">
                <a16:creationId xmlns:a16="http://schemas.microsoft.com/office/drawing/2014/main" id="{77900CF4-4805-15FA-219D-D732EC697374}"/>
              </a:ext>
            </a:extLst>
          </p:cNvPr>
          <p:cNvSpPr/>
          <p:nvPr>
            <p:custDataLst>
              <p:tags r:id="rId21"/>
            </p:custDataLst>
          </p:nvPr>
        </p:nvSpPr>
        <p:spPr bwMode="auto">
          <a:xfrm>
            <a:off x="7392118" y="1322011"/>
            <a:ext cx="4301769"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Product features</a:t>
            </a:r>
          </a:p>
        </p:txBody>
      </p:sp>
      <p:sp>
        <p:nvSpPr>
          <p:cNvPr id="76" name="Rectangle 75">
            <a:extLst>
              <a:ext uri="{FF2B5EF4-FFF2-40B4-BE49-F238E27FC236}">
                <a16:creationId xmlns:a16="http://schemas.microsoft.com/office/drawing/2014/main" id="{DECFFC99-3957-94C3-6713-59DEC03F4F7C}"/>
              </a:ext>
            </a:extLst>
          </p:cNvPr>
          <p:cNvSpPr/>
          <p:nvPr>
            <p:custDataLst>
              <p:tags r:id="rId22"/>
            </p:custDataLst>
          </p:nvPr>
        </p:nvSpPr>
        <p:spPr bwMode="auto">
          <a:xfrm>
            <a:off x="7386491" y="1624477"/>
            <a:ext cx="4301769"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16" name="Rectangle 15">
            <a:extLst>
              <a:ext uri="{FF2B5EF4-FFF2-40B4-BE49-F238E27FC236}">
                <a16:creationId xmlns:a16="http://schemas.microsoft.com/office/drawing/2014/main" id="{9D0F0547-4A62-D6E6-0651-4C20A89BB285}"/>
              </a:ext>
            </a:extLst>
          </p:cNvPr>
          <p:cNvSpPr/>
          <p:nvPr>
            <p:custDataLst>
              <p:tags r:id="rId23"/>
            </p:custDataLst>
          </p:nvPr>
        </p:nvSpPr>
        <p:spPr bwMode="auto">
          <a:xfrm>
            <a:off x="604462" y="4077072"/>
            <a:ext cx="1099050"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65</a:t>
            </a:r>
            <a:r>
              <a:rPr kumimoji="0" lang="en-US" sz="1100" b="0" i="0" u="none" strike="noStrike" kern="1200" cap="none" spc="0" normalizeH="0" baseline="0" noProof="0" dirty="0">
                <a:ln>
                  <a:noFill/>
                </a:ln>
                <a:solidFill>
                  <a:srgbClr val="1D1D1D"/>
                </a:solidFill>
                <a:effectLst/>
                <a:uLnTx/>
                <a:uFillTx/>
                <a:latin typeface="Arial"/>
                <a:ea typeface="+mn-ea"/>
                <a:cs typeface="Arial"/>
              </a:rPr>
              <a:t>0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18" name="Rectangle 17">
            <a:extLst>
              <a:ext uri="{FF2B5EF4-FFF2-40B4-BE49-F238E27FC236}">
                <a16:creationId xmlns:a16="http://schemas.microsoft.com/office/drawing/2014/main" id="{40FA60FA-AB93-ABA5-C3F3-647000A81DD3}"/>
              </a:ext>
            </a:extLst>
          </p:cNvPr>
          <p:cNvSpPr/>
          <p:nvPr>
            <p:custDataLst>
              <p:tags r:id="rId24"/>
            </p:custDataLst>
          </p:nvPr>
        </p:nvSpPr>
        <p:spPr bwMode="auto">
          <a:xfrm>
            <a:off x="604462" y="5157216"/>
            <a:ext cx="1080000"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3</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19" name="Rectangle 18">
            <a:extLst>
              <a:ext uri="{FF2B5EF4-FFF2-40B4-BE49-F238E27FC236}">
                <a16:creationId xmlns:a16="http://schemas.microsoft.com/office/drawing/2014/main" id="{FB1E655B-28A9-D5D2-9463-E4AD63732CF6}"/>
              </a:ext>
            </a:extLst>
          </p:cNvPr>
          <p:cNvSpPr/>
          <p:nvPr>
            <p:custDataLst>
              <p:tags r:id="rId25"/>
            </p:custDataLst>
          </p:nvPr>
        </p:nvSpPr>
        <p:spPr bwMode="auto">
          <a:xfrm>
            <a:off x="623512" y="5301232"/>
            <a:ext cx="1080000" cy="216000"/>
          </a:xfrm>
          <a:prstGeom prst="rect">
            <a:avLst/>
          </a:prstGeom>
          <a:no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b="0" i="0" u="none" strike="noStrike" kern="1200" cap="none" spc="0" normalizeH="0" baseline="0" noProof="0" dirty="0">
                <a:ln>
                  <a:noFill/>
                </a:ln>
                <a:effectLst/>
                <a:uLnTx/>
                <a:uFillTx/>
                <a:latin typeface="Arial"/>
                <a:cs typeface="Arial"/>
              </a:rPr>
              <a:t>…</a:t>
            </a:r>
            <a:endParaRPr kumimoji="0" lang="de-AT" b="0" i="0" u="none" strike="noStrike" kern="1200" cap="none" spc="0" normalizeH="0" baseline="0" noProof="0" dirty="0">
              <a:ln>
                <a:noFill/>
              </a:ln>
              <a:effectLst/>
              <a:uLnTx/>
              <a:uFillTx/>
              <a:latin typeface="Arial"/>
              <a:cs typeface="Arial"/>
            </a:endParaRPr>
          </a:p>
        </p:txBody>
      </p:sp>
      <p:sp>
        <p:nvSpPr>
          <p:cNvPr id="20" name="Rectangle 19">
            <a:extLst>
              <a:ext uri="{FF2B5EF4-FFF2-40B4-BE49-F238E27FC236}">
                <a16:creationId xmlns:a16="http://schemas.microsoft.com/office/drawing/2014/main" id="{988807B8-352C-86D2-34FB-3FC0414BD78B}"/>
              </a:ext>
            </a:extLst>
          </p:cNvPr>
          <p:cNvSpPr/>
          <p:nvPr>
            <p:custDataLst>
              <p:tags r:id="rId26"/>
            </p:custDataLst>
          </p:nvPr>
        </p:nvSpPr>
        <p:spPr bwMode="auto">
          <a:xfrm>
            <a:off x="598364" y="5517256"/>
            <a:ext cx="1089273"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150</a:t>
            </a:r>
            <a:r>
              <a:rPr kumimoji="0" lang="en-US" sz="1100" b="0" i="0" u="none" strike="noStrike" kern="1200" cap="none" spc="0" normalizeH="0" baseline="0" noProof="0" dirty="0">
                <a:ln>
                  <a:noFill/>
                </a:ln>
                <a:solidFill>
                  <a:srgbClr val="1D1D1D"/>
                </a:solidFill>
                <a:effectLst/>
                <a:uLnTx/>
                <a:uFillTx/>
                <a:latin typeface="Arial"/>
                <a:ea typeface="+mn-ea"/>
                <a:cs typeface="Arial"/>
              </a:rPr>
              <a:t> 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2" name="Rectangle 21">
            <a:extLst>
              <a:ext uri="{FF2B5EF4-FFF2-40B4-BE49-F238E27FC236}">
                <a16:creationId xmlns:a16="http://schemas.microsoft.com/office/drawing/2014/main" id="{EBB68F63-1F64-C75C-FE07-E05715E5219F}"/>
              </a:ext>
            </a:extLst>
          </p:cNvPr>
          <p:cNvSpPr/>
          <p:nvPr>
            <p:custDataLst>
              <p:tags r:id="rId27"/>
            </p:custDataLst>
          </p:nvPr>
        </p:nvSpPr>
        <p:spPr bwMode="auto">
          <a:xfrm>
            <a:off x="620097" y="3789040"/>
            <a:ext cx="1080000" cy="21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Arial"/>
              </a:rPr>
              <a:t>Voltage Class</a:t>
            </a:r>
            <a:endParaRPr kumimoji="0" lang="de-AT" sz="1100" b="0" i="0" u="none" strike="noStrike" kern="1200" cap="none" spc="0" normalizeH="0" baseline="0" noProof="0" dirty="0">
              <a:ln>
                <a:noFill/>
              </a:ln>
              <a:solidFill>
                <a:srgbClr val="FFFFFF"/>
              </a:solidFill>
              <a:effectLst/>
              <a:uLnTx/>
              <a:uFillTx/>
              <a:latin typeface="Arial"/>
              <a:ea typeface="+mn-ea"/>
              <a:cs typeface="Arial"/>
            </a:endParaRPr>
          </a:p>
        </p:txBody>
      </p:sp>
      <p:sp>
        <p:nvSpPr>
          <p:cNvPr id="23" name="Rectangle 22">
            <a:extLst>
              <a:ext uri="{FF2B5EF4-FFF2-40B4-BE49-F238E27FC236}">
                <a16:creationId xmlns:a16="http://schemas.microsoft.com/office/drawing/2014/main" id="{77A1EEA7-B8CF-96B0-AB3D-E3AFE937371F}"/>
              </a:ext>
            </a:extLst>
          </p:cNvPr>
          <p:cNvSpPr/>
          <p:nvPr>
            <p:custDataLst>
              <p:tags r:id="rId28"/>
            </p:custDataLst>
          </p:nvPr>
        </p:nvSpPr>
        <p:spPr bwMode="auto">
          <a:xfrm>
            <a:off x="607638" y="4898556"/>
            <a:ext cx="1080000" cy="21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FFFF"/>
                </a:solidFill>
                <a:effectLst/>
                <a:uLnTx/>
                <a:uFillTx/>
                <a:latin typeface="Arial"/>
                <a:cs typeface="Arial"/>
              </a:rPr>
              <a:t>Current </a:t>
            </a:r>
            <a:r>
              <a:rPr kumimoji="0" lang="sl-SI" sz="1100" b="0" i="0" u="none" strike="noStrike" kern="0" cap="none" spc="0" normalizeH="0" baseline="0" noProof="0" dirty="0">
                <a:ln>
                  <a:noFill/>
                </a:ln>
                <a:solidFill>
                  <a:srgbClr val="FFFFFF"/>
                </a:solidFill>
                <a:effectLst/>
                <a:uLnTx/>
                <a:uFillTx/>
                <a:latin typeface="Arial"/>
                <a:cs typeface="Arial"/>
              </a:rPr>
              <a:t>C</a:t>
            </a:r>
            <a:r>
              <a:rPr kumimoji="0" lang="en-US" sz="1100" b="0" i="0" u="none" strike="noStrike" kern="0" cap="none" spc="0" normalizeH="0" baseline="0" noProof="0" dirty="0">
                <a:ln>
                  <a:noFill/>
                </a:ln>
                <a:solidFill>
                  <a:srgbClr val="FFFFFF"/>
                </a:solidFill>
                <a:effectLst/>
                <a:uLnTx/>
                <a:uFillTx/>
                <a:latin typeface="Arial"/>
                <a:cs typeface="Arial"/>
              </a:rPr>
              <a:t>lass</a:t>
            </a:r>
            <a:endParaRPr kumimoji="0" lang="de-AT" sz="1100" b="0" i="0" u="none" strike="noStrike" kern="0" cap="none" spc="0" normalizeH="0" baseline="0" noProof="0" dirty="0">
              <a:ln>
                <a:noFill/>
              </a:ln>
              <a:solidFill>
                <a:srgbClr val="FFFFFF"/>
              </a:solidFill>
              <a:effectLst/>
              <a:uLnTx/>
              <a:uFillTx/>
              <a:latin typeface="Arial"/>
              <a:ea typeface="+mn-ea"/>
              <a:cs typeface="Arial"/>
            </a:endParaRPr>
          </a:p>
        </p:txBody>
      </p:sp>
      <p:sp>
        <p:nvSpPr>
          <p:cNvPr id="24" name="Rectangle 23">
            <a:extLst>
              <a:ext uri="{FF2B5EF4-FFF2-40B4-BE49-F238E27FC236}">
                <a16:creationId xmlns:a16="http://schemas.microsoft.com/office/drawing/2014/main" id="{47AE2087-2C51-E68D-C5CD-2D38CF5A60CC}"/>
              </a:ext>
            </a:extLst>
          </p:cNvPr>
          <p:cNvSpPr/>
          <p:nvPr>
            <p:custDataLst>
              <p:tags r:id="rId29"/>
            </p:custDataLst>
          </p:nvPr>
        </p:nvSpPr>
        <p:spPr bwMode="auto">
          <a:xfrm>
            <a:off x="603712" y="6237336"/>
            <a:ext cx="1080000"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2</a:t>
            </a:r>
            <a:r>
              <a:rPr kumimoji="0" lang="en-US" sz="1100" b="0" i="0" u="none" strike="noStrike" kern="1200" cap="none" spc="0" normalizeH="0" baseline="0" noProof="0" dirty="0">
                <a:ln>
                  <a:noFill/>
                </a:ln>
                <a:solidFill>
                  <a:srgbClr val="1D1D1D"/>
                </a:solidFill>
                <a:effectLst/>
                <a:uLnTx/>
                <a:uFillTx/>
                <a:latin typeface="Arial"/>
                <a:ea typeface="+mn-ea"/>
                <a:cs typeface="Arial"/>
              </a:rPr>
              <a:t> – </a:t>
            </a:r>
            <a:r>
              <a:rPr kumimoji="0" lang="en-US" sz="1100" b="0" i="0" u="none" strike="noStrike" kern="1200" cap="none" spc="0" normalizeH="0" baseline="0" noProof="0" dirty="0">
                <a:ln>
                  <a:noFill/>
                </a:ln>
                <a:solidFill>
                  <a:srgbClr val="1D1D1D"/>
                </a:solidFill>
                <a:effectLst/>
                <a:uLnTx/>
                <a:uFillTx/>
                <a:latin typeface="Arial"/>
                <a:cs typeface="Arial"/>
              </a:rPr>
              <a:t>100</a:t>
            </a:r>
            <a:r>
              <a:rPr kumimoji="0" lang="en-US" sz="1100" b="0" i="0" u="none" strike="noStrike" kern="1200" cap="none" spc="0" normalizeH="0" baseline="0" noProof="0" dirty="0">
                <a:ln>
                  <a:noFill/>
                </a:ln>
                <a:solidFill>
                  <a:srgbClr val="1D1D1D"/>
                </a:solidFill>
                <a:effectLst/>
                <a:uLnTx/>
                <a:uFillTx/>
                <a:latin typeface="Arial"/>
                <a:ea typeface="+mn-ea"/>
                <a:cs typeface="Arial"/>
              </a:rPr>
              <a:t> kHz</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5" name="Rectangle 24">
            <a:extLst>
              <a:ext uri="{FF2B5EF4-FFF2-40B4-BE49-F238E27FC236}">
                <a16:creationId xmlns:a16="http://schemas.microsoft.com/office/drawing/2014/main" id="{26B3AC73-23B4-6E67-5921-CBF21A9D1E9B}"/>
              </a:ext>
            </a:extLst>
          </p:cNvPr>
          <p:cNvSpPr/>
          <p:nvPr>
            <p:custDataLst>
              <p:tags r:id="rId30"/>
            </p:custDataLst>
          </p:nvPr>
        </p:nvSpPr>
        <p:spPr bwMode="auto">
          <a:xfrm>
            <a:off x="608145" y="5795154"/>
            <a:ext cx="1080000" cy="39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Arial"/>
              </a:rPr>
              <a:t>Switching Frequency</a:t>
            </a:r>
            <a:endParaRPr kumimoji="0" lang="de-AT" sz="1100" b="0" i="0" u="none" strike="noStrike" kern="1200" cap="none" spc="0" normalizeH="0" baseline="0" noProof="0" dirty="0">
              <a:ln>
                <a:noFill/>
              </a:ln>
              <a:solidFill>
                <a:srgbClr val="FFFFFF"/>
              </a:solidFill>
              <a:effectLst/>
              <a:uLnTx/>
              <a:uFillTx/>
              <a:latin typeface="Arial"/>
              <a:ea typeface="+mn-ea"/>
              <a:cs typeface="Arial"/>
            </a:endParaRPr>
          </a:p>
        </p:txBody>
      </p:sp>
      <p:pic>
        <p:nvPicPr>
          <p:cNvPr id="5" name="Picture 4">
            <a:extLst>
              <a:ext uri="{FF2B5EF4-FFF2-40B4-BE49-F238E27FC236}">
                <a16:creationId xmlns:a16="http://schemas.microsoft.com/office/drawing/2014/main" id="{C5127D9F-1A1E-4FA8-A847-27D90069FC30}"/>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287569" y="1141174"/>
            <a:ext cx="543916" cy="629293"/>
          </a:xfrm>
          <a:prstGeom prst="rect">
            <a:avLst/>
          </a:prstGeom>
        </p:spPr>
      </p:pic>
      <p:pic>
        <p:nvPicPr>
          <p:cNvPr id="7" name="Picture 6">
            <a:extLst>
              <a:ext uri="{FF2B5EF4-FFF2-40B4-BE49-F238E27FC236}">
                <a16:creationId xmlns:a16="http://schemas.microsoft.com/office/drawing/2014/main" id="{467FB4B4-E120-439B-9D2B-0151AA1557A3}"/>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552552" y="1268760"/>
            <a:ext cx="401367" cy="448432"/>
          </a:xfrm>
          <a:prstGeom prst="rect">
            <a:avLst/>
          </a:prstGeom>
        </p:spPr>
      </p:pic>
      <p:sp>
        <p:nvSpPr>
          <p:cNvPr id="54" name="Rectangle 53">
            <a:extLst>
              <a:ext uri="{FF2B5EF4-FFF2-40B4-BE49-F238E27FC236}">
                <a16:creationId xmlns:a16="http://schemas.microsoft.com/office/drawing/2014/main" id="{F87FB458-795F-4DDA-997B-7F8C755261BC}"/>
              </a:ext>
            </a:extLst>
          </p:cNvPr>
          <p:cNvSpPr/>
          <p:nvPr>
            <p:custDataLst>
              <p:tags r:id="rId31"/>
            </p:custDataLst>
          </p:nvPr>
        </p:nvSpPr>
        <p:spPr bwMode="auto">
          <a:xfrm>
            <a:off x="608146" y="4653160"/>
            <a:ext cx="1080000"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1200</a:t>
            </a:r>
            <a:r>
              <a:rPr kumimoji="0" lang="en-US" sz="1100" b="0" i="0" u="none" strike="noStrike" kern="1200" cap="none" spc="0" normalizeH="0" baseline="0" noProof="0" dirty="0">
                <a:ln>
                  <a:noFill/>
                </a:ln>
                <a:solidFill>
                  <a:srgbClr val="1D1D1D"/>
                </a:solidFill>
                <a:effectLst/>
                <a:uLnTx/>
                <a:uFillTx/>
                <a:latin typeface="Arial"/>
                <a:ea typeface="+mn-ea"/>
                <a:cs typeface="Arial"/>
              </a:rPr>
              <a:t>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pic>
        <p:nvPicPr>
          <p:cNvPr id="59" name="Picture 58">
            <a:extLst>
              <a:ext uri="{FF2B5EF4-FFF2-40B4-BE49-F238E27FC236}">
                <a16:creationId xmlns:a16="http://schemas.microsoft.com/office/drawing/2014/main" id="{EE11EA8C-5164-40F2-86A1-4A9DBDB8E10D}"/>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904312" y="97185"/>
            <a:ext cx="1171575" cy="1171575"/>
          </a:xfrm>
          <a:prstGeom prst="rect">
            <a:avLst/>
          </a:prstGeom>
        </p:spPr>
      </p:pic>
      <p:sp>
        <p:nvSpPr>
          <p:cNvPr id="4" name="Rectangle 3">
            <a:extLst>
              <a:ext uri="{FF2B5EF4-FFF2-40B4-BE49-F238E27FC236}">
                <a16:creationId xmlns:a16="http://schemas.microsoft.com/office/drawing/2014/main" id="{0F7F2A69-9C4A-462C-ACC5-4C303A0B462F}"/>
              </a:ext>
            </a:extLst>
          </p:cNvPr>
          <p:cNvSpPr/>
          <p:nvPr>
            <p:custDataLst>
              <p:tags r:id="rId32"/>
            </p:custDataLst>
          </p:nvPr>
        </p:nvSpPr>
        <p:spPr>
          <a:xfrm>
            <a:off x="7837850" y="6109048"/>
            <a:ext cx="3505575" cy="307777"/>
          </a:xfrm>
          <a:prstGeom prst="rect">
            <a:avLst/>
          </a:prstGeom>
        </p:spPr>
        <p:txBody>
          <a:bodyPr wrap="none">
            <a:spAutoFit/>
          </a:bodyPr>
          <a:lstStyle/>
          <a:p>
            <a:r>
              <a:rPr lang="sl-SI" dirty="0">
                <a:solidFill>
                  <a:schemeClr val="tx2"/>
                </a:solidFill>
                <a:hlinkClick r:id="rId44">
                  <a:extLst>
                    <a:ext uri="{A12FA001-AC4F-418D-AE19-62706E023703}">
                      <ahyp:hlinkClr xmlns:ahyp="http://schemas.microsoft.com/office/drawing/2018/hyperlinkcolor" val="tx"/>
                    </a:ext>
                  </a:extLst>
                </a:hlinkClick>
              </a:rPr>
              <a:t>Link</a:t>
            </a:r>
            <a:r>
              <a:rPr lang="sl-SI" dirty="0"/>
              <a:t> </a:t>
            </a:r>
            <a:r>
              <a:rPr lang="sl-SI" dirty="0">
                <a:solidFill>
                  <a:schemeClr val="accent4"/>
                </a:solidFill>
              </a:rPr>
              <a:t>to </a:t>
            </a:r>
            <a:r>
              <a:rPr lang="de-AT" dirty="0">
                <a:solidFill>
                  <a:schemeClr val="accent4"/>
                </a:solidFill>
              </a:rPr>
              <a:t>5 Decisive Values</a:t>
            </a:r>
            <a:r>
              <a:rPr lang="sl-SI" dirty="0">
                <a:solidFill>
                  <a:schemeClr val="accent4"/>
                </a:solidFill>
              </a:rPr>
              <a:t> of IGBT7 report!</a:t>
            </a:r>
            <a:endParaRPr lang="de-AT" dirty="0">
              <a:solidFill>
                <a:schemeClr val="accent4"/>
              </a:solidFill>
            </a:endParaRPr>
          </a:p>
        </p:txBody>
      </p:sp>
      <p:sp>
        <p:nvSpPr>
          <p:cNvPr id="42" name="TextBox 41">
            <a:extLst>
              <a:ext uri="{FF2B5EF4-FFF2-40B4-BE49-F238E27FC236}">
                <a16:creationId xmlns:a16="http://schemas.microsoft.com/office/drawing/2014/main" id="{7773FC89-585B-4F18-9B21-4899F3CFD310}"/>
              </a:ext>
            </a:extLst>
          </p:cNvPr>
          <p:cNvSpPr txBox="1"/>
          <p:nvPr>
            <p:custDataLst>
              <p:tags r:id="rId33"/>
            </p:custDataLst>
          </p:nvPr>
        </p:nvSpPr>
        <p:spPr bwMode="auto">
          <a:xfrm>
            <a:off x="4764997" y="6362202"/>
            <a:ext cx="4896544" cy="49327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kern="0" baseline="0" dirty="0">
                <a:latin typeface="+mn-lt"/>
                <a:ea typeface="+mn-ea"/>
                <a:cs typeface="+mn-cs"/>
                <a:hlinkClick r:id="rId45"/>
              </a:rPr>
              <a:t>www.infineon.com/discreteIGBT7</a:t>
            </a:r>
            <a:endParaRPr lang="de-AT" kern="0" baseline="0" dirty="0">
              <a:latin typeface="+mn-lt"/>
              <a:ea typeface="+mn-ea"/>
              <a:cs typeface="+mn-cs"/>
            </a:endParaRPr>
          </a:p>
          <a:p>
            <a:pPr marR="0" algn="l" defTabSz="576000" eaLnBrk="0" fontAlgn="auto" latinLnBrk="0" hangingPunct="0">
              <a:lnSpc>
                <a:spcPct val="120000"/>
              </a:lnSpc>
              <a:spcBef>
                <a:spcPts val="0"/>
              </a:spcBef>
              <a:spcAft>
                <a:spcPts val="0"/>
              </a:spcAft>
              <a:buClr>
                <a:schemeClr val="tx2"/>
              </a:buClr>
              <a:buSzTx/>
              <a:tabLst/>
            </a:pPr>
            <a:endParaRPr lang="de-AT" kern="0" baseline="0" dirty="0">
              <a:latin typeface="+mn-lt"/>
              <a:ea typeface="+mn-ea"/>
              <a:cs typeface="+mn-cs"/>
            </a:endParaRPr>
          </a:p>
        </p:txBody>
      </p:sp>
      <p:pic>
        <p:nvPicPr>
          <p:cNvPr id="2" name="Picture 1">
            <a:extLst>
              <a:ext uri="{FF2B5EF4-FFF2-40B4-BE49-F238E27FC236}">
                <a16:creationId xmlns:a16="http://schemas.microsoft.com/office/drawing/2014/main" id="{7E731E68-87F7-4E65-896C-34834D5F508C}"/>
              </a:ext>
            </a:extLst>
          </p:cNvPr>
          <p:cNvPicPr>
            <a:picLocks noChangeAspect="1"/>
          </p:cNvPicPr>
          <p:nvPr/>
        </p:nvPicPr>
        <p:blipFill rotWithShape="1">
          <a:blip r:embed="rId46"/>
          <a:srcRect l="20746" t="22089" r="19361" b="23391"/>
          <a:stretch/>
        </p:blipFill>
        <p:spPr>
          <a:xfrm>
            <a:off x="8400256" y="5711803"/>
            <a:ext cx="792088" cy="376745"/>
          </a:xfrm>
          <a:prstGeom prst="rect">
            <a:avLst/>
          </a:prstGeom>
        </p:spPr>
      </p:pic>
      <p:sp>
        <p:nvSpPr>
          <p:cNvPr id="3" name="Rectangle 2">
            <a:extLst>
              <a:ext uri="{FF2B5EF4-FFF2-40B4-BE49-F238E27FC236}">
                <a16:creationId xmlns:a16="http://schemas.microsoft.com/office/drawing/2014/main" id="{E0ADC5FC-9260-3853-270E-8654621A4A34}"/>
              </a:ext>
            </a:extLst>
          </p:cNvPr>
          <p:cNvSpPr/>
          <p:nvPr>
            <p:custDataLst>
              <p:tags r:id="rId34"/>
            </p:custDataLst>
          </p:nvPr>
        </p:nvSpPr>
        <p:spPr bwMode="auto">
          <a:xfrm>
            <a:off x="608146" y="4365104"/>
            <a:ext cx="1075566"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en-US" sz="1100" dirty="0">
                <a:solidFill>
                  <a:srgbClr val="1D1D1D"/>
                </a:solidFill>
                <a:latin typeface="Arial"/>
                <a:ea typeface="+mn-ea"/>
                <a:cs typeface="Arial"/>
              </a:rPr>
              <a:t>750</a:t>
            </a:r>
            <a:r>
              <a:rPr kumimoji="0" lang="en-US" sz="1100" b="0" i="0" u="none" strike="noStrike" kern="1200" cap="none" spc="0" normalizeH="0" baseline="0" noProof="0" dirty="0">
                <a:ln>
                  <a:noFill/>
                </a:ln>
                <a:solidFill>
                  <a:srgbClr val="1D1D1D"/>
                </a:solidFill>
                <a:effectLst/>
                <a:uLnTx/>
                <a:uFillTx/>
                <a:latin typeface="Arial"/>
                <a:ea typeface="+mn-ea"/>
                <a:cs typeface="Arial"/>
              </a:rPr>
              <a:t>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52837659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EA3DD-A58A-49B9-BD51-C008A08AA709}"/>
              </a:ext>
            </a:extLst>
          </p:cNvPr>
          <p:cNvSpPr>
            <a:spLocks noGrp="1"/>
          </p:cNvSpPr>
          <p:nvPr>
            <p:ph type="title"/>
          </p:nvPr>
        </p:nvSpPr>
        <p:spPr/>
        <p:txBody>
          <a:bodyPr/>
          <a:lstStyle/>
          <a:p>
            <a:r>
              <a:rPr lang="en-US" dirty="0"/>
              <a:t>Difference – 3-pin vs. 4-pin</a:t>
            </a:r>
          </a:p>
        </p:txBody>
      </p:sp>
      <p:pic>
        <p:nvPicPr>
          <p:cNvPr id="71" name="Picture 70" descr="A question mark in a circle&#10;&#10;Description automatically generated">
            <a:extLst>
              <a:ext uri="{FF2B5EF4-FFF2-40B4-BE49-F238E27FC236}">
                <a16:creationId xmlns:a16="http://schemas.microsoft.com/office/drawing/2014/main" id="{F6113607-5F94-4E02-8753-6699C33196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88040" y="1699615"/>
            <a:ext cx="814842" cy="814842"/>
          </a:xfrm>
          <a:prstGeom prst="rect">
            <a:avLst/>
          </a:prstGeom>
        </p:spPr>
      </p:pic>
      <p:sp>
        <p:nvSpPr>
          <p:cNvPr id="72" name="TextBox 71">
            <a:extLst>
              <a:ext uri="{FF2B5EF4-FFF2-40B4-BE49-F238E27FC236}">
                <a16:creationId xmlns:a16="http://schemas.microsoft.com/office/drawing/2014/main" id="{13DC0EB8-BB0C-4F40-97E3-09653F360B55}"/>
              </a:ext>
            </a:extLst>
          </p:cNvPr>
          <p:cNvSpPr txBox="1"/>
          <p:nvPr/>
        </p:nvSpPr>
        <p:spPr bwMode="auto">
          <a:xfrm>
            <a:off x="5879976" y="1325352"/>
            <a:ext cx="3387146" cy="268279"/>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600" b="1" i="0" u="none" strike="noStrike" kern="0" cap="none" spc="0" normalizeH="0" baseline="0" noProof="0" dirty="0">
                <a:ln>
                  <a:noFill/>
                </a:ln>
                <a:solidFill>
                  <a:srgbClr val="1D1D1D"/>
                </a:solidFill>
                <a:effectLst/>
                <a:uLnTx/>
                <a:uFillTx/>
                <a:latin typeface="Arial"/>
                <a:ea typeface="+mn-ea"/>
                <a:cs typeface="Arial"/>
              </a:rPr>
              <a:t>How does this influence anything?</a:t>
            </a:r>
          </a:p>
        </p:txBody>
      </p:sp>
      <p:grpSp>
        <p:nvGrpSpPr>
          <p:cNvPr id="94" name="Group 93">
            <a:extLst>
              <a:ext uri="{FF2B5EF4-FFF2-40B4-BE49-F238E27FC236}">
                <a16:creationId xmlns:a16="http://schemas.microsoft.com/office/drawing/2014/main" id="{E29AC579-C5A6-4A3F-8607-C5A9A7829AE8}"/>
              </a:ext>
            </a:extLst>
          </p:cNvPr>
          <p:cNvGrpSpPr/>
          <p:nvPr/>
        </p:nvGrpSpPr>
        <p:grpSpPr>
          <a:xfrm>
            <a:off x="1581481" y="1694372"/>
            <a:ext cx="655165" cy="1208795"/>
            <a:chOff x="1966633" y="1557819"/>
            <a:chExt cx="655165" cy="1208795"/>
          </a:xfrm>
        </p:grpSpPr>
        <p:grpSp>
          <p:nvGrpSpPr>
            <p:cNvPr id="56" name="Group 55">
              <a:extLst>
                <a:ext uri="{FF2B5EF4-FFF2-40B4-BE49-F238E27FC236}">
                  <a16:creationId xmlns:a16="http://schemas.microsoft.com/office/drawing/2014/main" id="{1E1CFC88-C356-4CB3-B8A3-4C18F60DD5CE}"/>
                </a:ext>
              </a:extLst>
            </p:cNvPr>
            <p:cNvGrpSpPr/>
            <p:nvPr/>
          </p:nvGrpSpPr>
          <p:grpSpPr>
            <a:xfrm>
              <a:off x="1966633" y="1638807"/>
              <a:ext cx="500881" cy="1127807"/>
              <a:chOff x="3719736" y="2276872"/>
              <a:chExt cx="500881" cy="1127807"/>
            </a:xfrm>
          </p:grpSpPr>
          <p:cxnSp>
            <p:nvCxnSpPr>
              <p:cNvPr id="32" name="Straight Connector 31">
                <a:extLst>
                  <a:ext uri="{FF2B5EF4-FFF2-40B4-BE49-F238E27FC236}">
                    <a16:creationId xmlns:a16="http://schemas.microsoft.com/office/drawing/2014/main" id="{BD88CF03-87B2-4F26-A537-531EB74FFEAB}"/>
                  </a:ext>
                </a:extLst>
              </p:cNvPr>
              <p:cNvCxnSpPr>
                <a:cxnSpLocks/>
              </p:cNvCxnSpPr>
              <p:nvPr/>
            </p:nvCxnSpPr>
            <p:spPr>
              <a:xfrm>
                <a:off x="4007768" y="2636912"/>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42B5167-4D1B-4FFF-BB41-58C0233ED851}"/>
                  </a:ext>
                </a:extLst>
              </p:cNvPr>
              <p:cNvCxnSpPr>
                <a:cxnSpLocks/>
              </p:cNvCxnSpPr>
              <p:nvPr/>
            </p:nvCxnSpPr>
            <p:spPr>
              <a:xfrm>
                <a:off x="4079776" y="2636912"/>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5602E60-11FE-4925-A388-95F6504C38E4}"/>
                  </a:ext>
                </a:extLst>
              </p:cNvPr>
              <p:cNvCxnSpPr>
                <a:cxnSpLocks/>
              </p:cNvCxnSpPr>
              <p:nvPr/>
            </p:nvCxnSpPr>
            <p:spPr>
              <a:xfrm flipH="1">
                <a:off x="4079776" y="2564904"/>
                <a:ext cx="135632" cy="180020"/>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E3B27FE-6A31-4F94-A4E5-A46966BFCD98}"/>
                  </a:ext>
                </a:extLst>
              </p:cNvPr>
              <p:cNvCxnSpPr>
                <a:cxnSpLocks/>
              </p:cNvCxnSpPr>
              <p:nvPr/>
            </p:nvCxnSpPr>
            <p:spPr>
              <a:xfrm>
                <a:off x="4079776" y="2834934"/>
                <a:ext cx="135632" cy="180020"/>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2B716C9-8559-497E-ABEE-90D01228D0A8}"/>
                  </a:ext>
                </a:extLst>
              </p:cNvPr>
              <p:cNvCxnSpPr>
                <a:cxnSpLocks/>
              </p:cNvCxnSpPr>
              <p:nvPr/>
            </p:nvCxnSpPr>
            <p:spPr>
              <a:xfrm>
                <a:off x="4215408" y="3014954"/>
                <a:ext cx="5209" cy="389725"/>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62AE86-79FD-4FBE-A640-7B5BFF14E501}"/>
                  </a:ext>
                </a:extLst>
              </p:cNvPr>
              <p:cNvCxnSpPr>
                <a:cxnSpLocks/>
              </p:cNvCxnSpPr>
              <p:nvPr/>
            </p:nvCxnSpPr>
            <p:spPr>
              <a:xfrm>
                <a:off x="4215408" y="2276872"/>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3A3BA11-E21B-490E-89B5-DF86654088C3}"/>
                  </a:ext>
                </a:extLst>
              </p:cNvPr>
              <p:cNvCxnSpPr>
                <a:cxnSpLocks/>
              </p:cNvCxnSpPr>
              <p:nvPr/>
            </p:nvCxnSpPr>
            <p:spPr>
              <a:xfrm rot="16200000">
                <a:off x="3863752" y="2649006"/>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78" name="TextBox 77">
              <a:extLst>
                <a:ext uri="{FF2B5EF4-FFF2-40B4-BE49-F238E27FC236}">
                  <a16:creationId xmlns:a16="http://schemas.microsoft.com/office/drawing/2014/main" id="{2990B9EF-555A-407E-8719-6A451A45E347}"/>
                </a:ext>
              </a:extLst>
            </p:cNvPr>
            <p:cNvSpPr txBox="1"/>
            <p:nvPr/>
          </p:nvSpPr>
          <p:spPr bwMode="auto">
            <a:xfrm>
              <a:off x="2022370" y="1970483"/>
              <a:ext cx="109004" cy="18447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0000"/>
                  </a:solidFill>
                  <a:effectLst/>
                  <a:uLnTx/>
                  <a:uFillTx/>
                  <a:latin typeface="Arial"/>
                  <a:ea typeface="+mn-ea"/>
                  <a:cs typeface="Arial"/>
                </a:rPr>
                <a:t>G</a:t>
              </a:r>
            </a:p>
          </p:txBody>
        </p:sp>
        <p:sp>
          <p:nvSpPr>
            <p:cNvPr id="79" name="TextBox 78">
              <a:extLst>
                <a:ext uri="{FF2B5EF4-FFF2-40B4-BE49-F238E27FC236}">
                  <a16:creationId xmlns:a16="http://schemas.microsoft.com/office/drawing/2014/main" id="{9B0C6E76-501A-4BB8-BA9D-6B8A7DB3D61A}"/>
                </a:ext>
              </a:extLst>
            </p:cNvPr>
            <p:cNvSpPr txBox="1"/>
            <p:nvPr/>
          </p:nvSpPr>
          <p:spPr bwMode="auto">
            <a:xfrm>
              <a:off x="2501190" y="1557819"/>
              <a:ext cx="102592" cy="18447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9C216E"/>
                  </a:solidFill>
                  <a:effectLst/>
                  <a:uLnTx/>
                  <a:uFillTx/>
                  <a:latin typeface="Arial"/>
                  <a:cs typeface="Arial"/>
                </a:rPr>
                <a:t>C</a:t>
              </a:r>
            </a:p>
          </p:txBody>
        </p:sp>
        <p:sp>
          <p:nvSpPr>
            <p:cNvPr id="80" name="TextBox 79">
              <a:extLst>
                <a:ext uri="{FF2B5EF4-FFF2-40B4-BE49-F238E27FC236}">
                  <a16:creationId xmlns:a16="http://schemas.microsoft.com/office/drawing/2014/main" id="{AE529A9D-7813-4976-BE42-8AB5A8336068}"/>
                </a:ext>
              </a:extLst>
            </p:cNvPr>
            <p:cNvSpPr txBox="1"/>
            <p:nvPr/>
          </p:nvSpPr>
          <p:spPr bwMode="auto">
            <a:xfrm>
              <a:off x="2527220" y="2553867"/>
              <a:ext cx="94578" cy="18447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97414"/>
                  </a:solidFill>
                  <a:effectLst/>
                  <a:uLnTx/>
                  <a:uFillTx/>
                  <a:latin typeface="Arial"/>
                  <a:cs typeface="Arial"/>
                </a:rPr>
                <a:t>E</a:t>
              </a:r>
            </a:p>
          </p:txBody>
        </p:sp>
      </p:grpSp>
      <p:grpSp>
        <p:nvGrpSpPr>
          <p:cNvPr id="95" name="Group 94">
            <a:extLst>
              <a:ext uri="{FF2B5EF4-FFF2-40B4-BE49-F238E27FC236}">
                <a16:creationId xmlns:a16="http://schemas.microsoft.com/office/drawing/2014/main" id="{620EF9F5-BE40-468D-9C12-0476F103BEB1}"/>
              </a:ext>
            </a:extLst>
          </p:cNvPr>
          <p:cNvGrpSpPr/>
          <p:nvPr/>
        </p:nvGrpSpPr>
        <p:grpSpPr>
          <a:xfrm>
            <a:off x="1525506" y="3904802"/>
            <a:ext cx="631305" cy="1225933"/>
            <a:chOff x="5141894" y="1603985"/>
            <a:chExt cx="631305" cy="1225933"/>
          </a:xfrm>
        </p:grpSpPr>
        <p:grpSp>
          <p:nvGrpSpPr>
            <p:cNvPr id="57" name="Group 56">
              <a:extLst>
                <a:ext uri="{FF2B5EF4-FFF2-40B4-BE49-F238E27FC236}">
                  <a16:creationId xmlns:a16="http://schemas.microsoft.com/office/drawing/2014/main" id="{D28E127E-D5AB-4677-B48E-7DFBBCEFD966}"/>
                </a:ext>
              </a:extLst>
            </p:cNvPr>
            <p:cNvGrpSpPr/>
            <p:nvPr/>
          </p:nvGrpSpPr>
          <p:grpSpPr>
            <a:xfrm>
              <a:off x="5141894" y="1649895"/>
              <a:ext cx="495672" cy="1081897"/>
              <a:chOff x="3719736" y="2276872"/>
              <a:chExt cx="495672" cy="1081897"/>
            </a:xfrm>
          </p:grpSpPr>
          <p:cxnSp>
            <p:nvCxnSpPr>
              <p:cNvPr id="58" name="Straight Connector 57">
                <a:extLst>
                  <a:ext uri="{FF2B5EF4-FFF2-40B4-BE49-F238E27FC236}">
                    <a16:creationId xmlns:a16="http://schemas.microsoft.com/office/drawing/2014/main" id="{57F7B53E-9C3A-46D1-9BE2-9C92171F24B3}"/>
                  </a:ext>
                </a:extLst>
              </p:cNvPr>
              <p:cNvCxnSpPr>
                <a:cxnSpLocks/>
              </p:cNvCxnSpPr>
              <p:nvPr/>
            </p:nvCxnSpPr>
            <p:spPr>
              <a:xfrm>
                <a:off x="4007768" y="2636912"/>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F232C34-5B13-4BC1-83E2-204FDBBE801A}"/>
                  </a:ext>
                </a:extLst>
              </p:cNvPr>
              <p:cNvCxnSpPr>
                <a:cxnSpLocks/>
              </p:cNvCxnSpPr>
              <p:nvPr/>
            </p:nvCxnSpPr>
            <p:spPr>
              <a:xfrm>
                <a:off x="4079776" y="2636912"/>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4AD6002-A5B5-461E-88AF-DA58DB6E9BDE}"/>
                  </a:ext>
                </a:extLst>
              </p:cNvPr>
              <p:cNvCxnSpPr>
                <a:cxnSpLocks/>
              </p:cNvCxnSpPr>
              <p:nvPr/>
            </p:nvCxnSpPr>
            <p:spPr>
              <a:xfrm flipH="1">
                <a:off x="4079776" y="2564904"/>
                <a:ext cx="135632" cy="180020"/>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6342393-6822-4DC5-BCCE-0959C0E694D2}"/>
                  </a:ext>
                </a:extLst>
              </p:cNvPr>
              <p:cNvCxnSpPr>
                <a:cxnSpLocks/>
              </p:cNvCxnSpPr>
              <p:nvPr/>
            </p:nvCxnSpPr>
            <p:spPr>
              <a:xfrm>
                <a:off x="4079776" y="2834934"/>
                <a:ext cx="135632" cy="180020"/>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602547B-D971-4891-B906-13997AA26E9C}"/>
                  </a:ext>
                </a:extLst>
              </p:cNvPr>
              <p:cNvCxnSpPr>
                <a:cxnSpLocks/>
              </p:cNvCxnSpPr>
              <p:nvPr/>
            </p:nvCxnSpPr>
            <p:spPr>
              <a:xfrm>
                <a:off x="4215408" y="3014954"/>
                <a:ext cx="0" cy="343815"/>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ADB3613-0E85-4229-B280-132AC124641C}"/>
                  </a:ext>
                </a:extLst>
              </p:cNvPr>
              <p:cNvCxnSpPr>
                <a:cxnSpLocks/>
              </p:cNvCxnSpPr>
              <p:nvPr/>
            </p:nvCxnSpPr>
            <p:spPr>
              <a:xfrm>
                <a:off x="4215408" y="2276872"/>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DDF245B-D40E-4DF8-91E5-62371021DE5E}"/>
                  </a:ext>
                </a:extLst>
              </p:cNvPr>
              <p:cNvCxnSpPr>
                <a:cxnSpLocks/>
              </p:cNvCxnSpPr>
              <p:nvPr/>
            </p:nvCxnSpPr>
            <p:spPr>
              <a:xfrm rot="16200000">
                <a:off x="3863752" y="2649006"/>
                <a:ext cx="0" cy="288032"/>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4DE18CE9-16B5-4099-8EB2-2404A6B8C9E6}"/>
                </a:ext>
              </a:extLst>
            </p:cNvPr>
            <p:cNvSpPr txBox="1"/>
            <p:nvPr/>
          </p:nvSpPr>
          <p:spPr bwMode="auto">
            <a:xfrm>
              <a:off x="5205518" y="1990712"/>
              <a:ext cx="109004" cy="18447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0000"/>
                  </a:solidFill>
                  <a:effectLst/>
                  <a:uLnTx/>
                  <a:uFillTx/>
                  <a:latin typeface="Arial"/>
                  <a:ea typeface="+mn-ea"/>
                  <a:cs typeface="Arial"/>
                </a:rPr>
                <a:t>G</a:t>
              </a:r>
            </a:p>
          </p:txBody>
        </p:sp>
        <p:sp>
          <p:nvSpPr>
            <p:cNvPr id="88" name="TextBox 87">
              <a:extLst>
                <a:ext uri="{FF2B5EF4-FFF2-40B4-BE49-F238E27FC236}">
                  <a16:creationId xmlns:a16="http://schemas.microsoft.com/office/drawing/2014/main" id="{4DF73474-B9EE-4B09-BBA9-FC1972FF6368}"/>
                </a:ext>
              </a:extLst>
            </p:cNvPr>
            <p:cNvSpPr txBox="1"/>
            <p:nvPr/>
          </p:nvSpPr>
          <p:spPr bwMode="auto">
            <a:xfrm>
              <a:off x="5670607" y="1603985"/>
              <a:ext cx="102592" cy="18447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9C216E"/>
                  </a:solidFill>
                  <a:effectLst/>
                  <a:uLnTx/>
                  <a:uFillTx/>
                  <a:latin typeface="Arial"/>
                  <a:cs typeface="Arial"/>
                </a:rPr>
                <a:t>C</a:t>
              </a:r>
            </a:p>
          </p:txBody>
        </p:sp>
        <p:sp>
          <p:nvSpPr>
            <p:cNvPr id="89" name="TextBox 88">
              <a:extLst>
                <a:ext uri="{FF2B5EF4-FFF2-40B4-BE49-F238E27FC236}">
                  <a16:creationId xmlns:a16="http://schemas.microsoft.com/office/drawing/2014/main" id="{48432E14-3708-4222-8F9A-70E9FE5B1CD7}"/>
                </a:ext>
              </a:extLst>
            </p:cNvPr>
            <p:cNvSpPr txBox="1"/>
            <p:nvPr/>
          </p:nvSpPr>
          <p:spPr bwMode="auto">
            <a:xfrm>
              <a:off x="5674614" y="2513991"/>
              <a:ext cx="94578" cy="18447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97414"/>
                  </a:solidFill>
                  <a:effectLst/>
                  <a:uLnTx/>
                  <a:uFillTx/>
                  <a:latin typeface="Arial"/>
                  <a:cs typeface="Arial"/>
                </a:rPr>
                <a:t>E</a:t>
              </a:r>
            </a:p>
          </p:txBody>
        </p:sp>
        <p:sp>
          <p:nvSpPr>
            <p:cNvPr id="90" name="TextBox 89">
              <a:extLst>
                <a:ext uri="{FF2B5EF4-FFF2-40B4-BE49-F238E27FC236}">
                  <a16:creationId xmlns:a16="http://schemas.microsoft.com/office/drawing/2014/main" id="{28FD0436-0E28-4256-8E44-BAC1345462C5}"/>
                </a:ext>
              </a:extLst>
            </p:cNvPr>
            <p:cNvSpPr txBox="1"/>
            <p:nvPr/>
          </p:nvSpPr>
          <p:spPr bwMode="auto">
            <a:xfrm>
              <a:off x="5226888" y="2645444"/>
              <a:ext cx="94578" cy="18447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0A8276"/>
                  </a:solidFill>
                  <a:effectLst/>
                  <a:uLnTx/>
                  <a:uFillTx/>
                  <a:latin typeface="Arial"/>
                  <a:cs typeface="Arial"/>
                </a:rPr>
                <a:t>K</a:t>
              </a:r>
            </a:p>
          </p:txBody>
        </p:sp>
        <p:cxnSp>
          <p:nvCxnSpPr>
            <p:cNvPr id="91" name="Straight Connector 90">
              <a:extLst>
                <a:ext uri="{FF2B5EF4-FFF2-40B4-BE49-F238E27FC236}">
                  <a16:creationId xmlns:a16="http://schemas.microsoft.com/office/drawing/2014/main" id="{419945F9-D052-4355-A8A4-7CE7E2FC17EF}"/>
                </a:ext>
              </a:extLst>
            </p:cNvPr>
            <p:cNvCxnSpPr>
              <a:cxnSpLocks/>
            </p:cNvCxnSpPr>
            <p:nvPr/>
          </p:nvCxnSpPr>
          <p:spPr>
            <a:xfrm flipH="1">
              <a:off x="5501934" y="2463857"/>
              <a:ext cx="135632" cy="180020"/>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D526BB0-CFFD-449F-8112-26BA64D04504}"/>
                </a:ext>
              </a:extLst>
            </p:cNvPr>
            <p:cNvCxnSpPr>
              <a:cxnSpLocks/>
            </p:cNvCxnSpPr>
            <p:nvPr/>
          </p:nvCxnSpPr>
          <p:spPr>
            <a:xfrm>
              <a:off x="5159896" y="2643877"/>
              <a:ext cx="350081" cy="0"/>
            </a:xfrm>
            <a:prstGeom prst="line">
              <a:avLst/>
            </a:prstGeom>
            <a:ln w="15875">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aphicFrame>
        <p:nvGraphicFramePr>
          <p:cNvPr id="96" name="Chart 95">
            <a:extLst>
              <a:ext uri="{FF2B5EF4-FFF2-40B4-BE49-F238E27FC236}">
                <a16:creationId xmlns:a16="http://schemas.microsoft.com/office/drawing/2014/main" id="{E683AECA-B843-40DE-85E1-DB38389265F5}"/>
              </a:ext>
            </a:extLst>
          </p:cNvPr>
          <p:cNvGraphicFramePr>
            <a:graphicFrameLocks/>
          </p:cNvGraphicFramePr>
          <p:nvPr/>
        </p:nvGraphicFramePr>
        <p:xfrm>
          <a:off x="7032109" y="2641805"/>
          <a:ext cx="4824930" cy="3739945"/>
        </p:xfrm>
        <a:graphic>
          <a:graphicData uri="http://schemas.openxmlformats.org/drawingml/2006/chart">
            <c:chart xmlns:c="http://schemas.openxmlformats.org/drawingml/2006/chart" xmlns:r="http://schemas.openxmlformats.org/officeDocument/2006/relationships" r:id="rId7"/>
          </a:graphicData>
        </a:graphic>
      </p:graphicFrame>
      <p:pic>
        <p:nvPicPr>
          <p:cNvPr id="99" name="Picture 98">
            <a:extLst>
              <a:ext uri="{FF2B5EF4-FFF2-40B4-BE49-F238E27FC236}">
                <a16:creationId xmlns:a16="http://schemas.microsoft.com/office/drawing/2014/main" id="{3980F3E5-5336-4800-B11A-2A7F98B357F3}"/>
              </a:ext>
            </a:extLst>
          </p:cNvPr>
          <p:cNvPicPr>
            <a:picLocks noChangeAspect="1"/>
          </p:cNvPicPr>
          <p:nvPr/>
        </p:nvPicPr>
        <p:blipFill>
          <a:blip r:embed="rId8"/>
          <a:stretch>
            <a:fillRect/>
          </a:stretch>
        </p:blipFill>
        <p:spPr>
          <a:xfrm>
            <a:off x="1188779" y="4134811"/>
            <a:ext cx="381000" cy="508000"/>
          </a:xfrm>
          <a:prstGeom prst="rect">
            <a:avLst/>
          </a:prstGeom>
        </p:spPr>
      </p:pic>
      <p:pic>
        <p:nvPicPr>
          <p:cNvPr id="100" name="Picture 99">
            <a:extLst>
              <a:ext uri="{FF2B5EF4-FFF2-40B4-BE49-F238E27FC236}">
                <a16:creationId xmlns:a16="http://schemas.microsoft.com/office/drawing/2014/main" id="{5BE0B5A3-76CE-4765-A82C-4110D855527D}"/>
              </a:ext>
            </a:extLst>
          </p:cNvPr>
          <p:cNvPicPr>
            <a:picLocks noChangeAspect="1"/>
          </p:cNvPicPr>
          <p:nvPr/>
        </p:nvPicPr>
        <p:blipFill>
          <a:blip r:embed="rId9"/>
          <a:stretch>
            <a:fillRect/>
          </a:stretch>
        </p:blipFill>
        <p:spPr>
          <a:xfrm>
            <a:off x="1246915" y="1949255"/>
            <a:ext cx="381000" cy="508000"/>
          </a:xfrm>
          <a:prstGeom prst="rect">
            <a:avLst/>
          </a:prstGeom>
        </p:spPr>
      </p:pic>
      <p:cxnSp>
        <p:nvCxnSpPr>
          <p:cNvPr id="129" name="Straight Arrow Connector 128">
            <a:extLst>
              <a:ext uri="{FF2B5EF4-FFF2-40B4-BE49-F238E27FC236}">
                <a16:creationId xmlns:a16="http://schemas.microsoft.com/office/drawing/2014/main" id="{3B06C6EB-A9FF-48E6-93FB-0CD1C5734C87}"/>
              </a:ext>
            </a:extLst>
          </p:cNvPr>
          <p:cNvCxnSpPr>
            <a:cxnSpLocks/>
          </p:cNvCxnSpPr>
          <p:nvPr/>
        </p:nvCxnSpPr>
        <p:spPr>
          <a:xfrm>
            <a:off x="2218630" y="1914540"/>
            <a:ext cx="0" cy="727265"/>
          </a:xfrm>
          <a:prstGeom prst="straightConnector1">
            <a:avLst/>
          </a:prstGeom>
          <a:ln w="38100">
            <a:solidFill>
              <a:schemeClr val="accent3"/>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135" name="Freeform: Shape 134">
            <a:extLst>
              <a:ext uri="{FF2B5EF4-FFF2-40B4-BE49-F238E27FC236}">
                <a16:creationId xmlns:a16="http://schemas.microsoft.com/office/drawing/2014/main" id="{DD3946D3-7BA5-4280-A5D8-62D829177D6C}"/>
              </a:ext>
            </a:extLst>
          </p:cNvPr>
          <p:cNvSpPr/>
          <p:nvPr/>
        </p:nvSpPr>
        <p:spPr bwMode="auto">
          <a:xfrm rot="268855">
            <a:off x="1507482" y="2471527"/>
            <a:ext cx="457807" cy="371675"/>
          </a:xfrm>
          <a:custGeom>
            <a:avLst/>
            <a:gdLst>
              <a:gd name="connsiteX0" fmla="*/ 0 w 463550"/>
              <a:gd name="connsiteY0" fmla="*/ 28788 h 378038"/>
              <a:gd name="connsiteX1" fmla="*/ 374650 w 463550"/>
              <a:gd name="connsiteY1" fmla="*/ 35138 h 378038"/>
              <a:gd name="connsiteX2" fmla="*/ 463550 w 463550"/>
              <a:gd name="connsiteY2" fmla="*/ 378038 h 378038"/>
            </a:gdLst>
            <a:ahLst/>
            <a:cxnLst>
              <a:cxn ang="0">
                <a:pos x="connsiteX0" y="connsiteY0"/>
              </a:cxn>
              <a:cxn ang="0">
                <a:pos x="connsiteX1" y="connsiteY1"/>
              </a:cxn>
              <a:cxn ang="0">
                <a:pos x="connsiteX2" y="connsiteY2"/>
              </a:cxn>
            </a:cxnLst>
            <a:rect l="l" t="t" r="r" b="b"/>
            <a:pathLst>
              <a:path w="463550" h="378038">
                <a:moveTo>
                  <a:pt x="0" y="28788"/>
                </a:moveTo>
                <a:cubicBezTo>
                  <a:pt x="148696" y="2859"/>
                  <a:pt x="297392" y="-23070"/>
                  <a:pt x="374650" y="35138"/>
                </a:cubicBezTo>
                <a:cubicBezTo>
                  <a:pt x="451908" y="93346"/>
                  <a:pt x="446617" y="331471"/>
                  <a:pt x="463550" y="378038"/>
                </a:cubicBezTo>
              </a:path>
            </a:pathLst>
          </a:custGeom>
          <a:noFill/>
          <a:ln w="19050">
            <a:solidFill>
              <a:schemeClr val="accent3"/>
            </a:solidFill>
            <a:prstDash val="dash"/>
            <a:miter lim="800000"/>
            <a:headEnd/>
            <a:tailEnd type="stealth"/>
          </a:ln>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1D1D1D"/>
              </a:solidFill>
              <a:effectLst/>
              <a:uLnTx/>
              <a:uFillTx/>
              <a:latin typeface="Arial" charset="0"/>
              <a:cs typeface="Arial"/>
            </a:endParaRPr>
          </a:p>
        </p:txBody>
      </p:sp>
      <p:sp>
        <p:nvSpPr>
          <p:cNvPr id="138" name="Freeform: Shape 137">
            <a:extLst>
              <a:ext uri="{FF2B5EF4-FFF2-40B4-BE49-F238E27FC236}">
                <a16:creationId xmlns:a16="http://schemas.microsoft.com/office/drawing/2014/main" id="{09D53E24-40B9-4306-8A63-A554997FAEEC}"/>
              </a:ext>
            </a:extLst>
          </p:cNvPr>
          <p:cNvSpPr/>
          <p:nvPr>
            <p:custDataLst>
              <p:tags r:id="rId2"/>
            </p:custDataLst>
          </p:nvPr>
        </p:nvSpPr>
        <p:spPr bwMode="auto">
          <a:xfrm>
            <a:off x="1396967" y="4635744"/>
            <a:ext cx="505359" cy="265231"/>
          </a:xfrm>
          <a:custGeom>
            <a:avLst/>
            <a:gdLst>
              <a:gd name="connsiteX0" fmla="*/ 0 w 505359"/>
              <a:gd name="connsiteY0" fmla="*/ 25763 h 265231"/>
              <a:gd name="connsiteX1" fmla="*/ 463550 w 505359"/>
              <a:gd name="connsiteY1" fmla="*/ 19413 h 265231"/>
              <a:gd name="connsiteX2" fmla="*/ 438150 w 505359"/>
              <a:gd name="connsiteY2" fmla="*/ 241663 h 265231"/>
              <a:gd name="connsiteX3" fmla="*/ 63500 w 505359"/>
              <a:gd name="connsiteY3" fmla="*/ 248013 h 265231"/>
            </a:gdLst>
            <a:ahLst/>
            <a:cxnLst>
              <a:cxn ang="0">
                <a:pos x="connsiteX0" y="connsiteY0"/>
              </a:cxn>
              <a:cxn ang="0">
                <a:pos x="connsiteX1" y="connsiteY1"/>
              </a:cxn>
              <a:cxn ang="0">
                <a:pos x="connsiteX2" y="connsiteY2"/>
              </a:cxn>
              <a:cxn ang="0">
                <a:pos x="connsiteX3" y="connsiteY3"/>
              </a:cxn>
            </a:cxnLst>
            <a:rect l="l" t="t" r="r" b="b"/>
            <a:pathLst>
              <a:path w="505359" h="265231">
                <a:moveTo>
                  <a:pt x="0" y="25763"/>
                </a:moveTo>
                <a:cubicBezTo>
                  <a:pt x="195262" y="4596"/>
                  <a:pt x="390525" y="-16570"/>
                  <a:pt x="463550" y="19413"/>
                </a:cubicBezTo>
                <a:cubicBezTo>
                  <a:pt x="536575" y="55396"/>
                  <a:pt x="504825" y="203563"/>
                  <a:pt x="438150" y="241663"/>
                </a:cubicBezTo>
                <a:cubicBezTo>
                  <a:pt x="371475" y="279763"/>
                  <a:pt x="217487" y="263888"/>
                  <a:pt x="63500" y="248013"/>
                </a:cubicBezTo>
              </a:path>
            </a:pathLst>
          </a:custGeom>
          <a:noFill/>
          <a:ln w="19050">
            <a:solidFill>
              <a:srgbClr val="0A8276"/>
            </a:solidFill>
            <a:prstDash val="dash"/>
            <a:miter lim="800000"/>
            <a:headEnd/>
            <a:tailEnd type="stealth"/>
          </a:ln>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1D1D1D"/>
              </a:solidFill>
              <a:effectLst/>
              <a:uLnTx/>
              <a:uFillTx/>
              <a:latin typeface="Arial" charset="0"/>
              <a:cs typeface="Arial"/>
            </a:endParaRPr>
          </a:p>
        </p:txBody>
      </p:sp>
      <p:cxnSp>
        <p:nvCxnSpPr>
          <p:cNvPr id="139" name="Straight Arrow Connector 138">
            <a:extLst>
              <a:ext uri="{FF2B5EF4-FFF2-40B4-BE49-F238E27FC236}">
                <a16:creationId xmlns:a16="http://schemas.microsoft.com/office/drawing/2014/main" id="{EC6C2777-93E5-4FD8-8242-8603865A86C8}"/>
              </a:ext>
            </a:extLst>
          </p:cNvPr>
          <p:cNvCxnSpPr>
            <a:cxnSpLocks/>
          </p:cNvCxnSpPr>
          <p:nvPr/>
        </p:nvCxnSpPr>
        <p:spPr>
          <a:xfrm>
            <a:off x="2146402" y="4092597"/>
            <a:ext cx="0" cy="727265"/>
          </a:xfrm>
          <a:prstGeom prst="straightConnector1">
            <a:avLst/>
          </a:prstGeom>
          <a:ln w="38100">
            <a:solidFill>
              <a:srgbClr val="B9D257"/>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BC402B4B-CE90-42E9-B897-E70009420BAB}"/>
              </a:ext>
            </a:extLst>
          </p:cNvPr>
          <p:cNvSpPr txBox="1"/>
          <p:nvPr/>
        </p:nvSpPr>
        <p:spPr bwMode="auto">
          <a:xfrm>
            <a:off x="6480037" y="1672674"/>
            <a:ext cx="3096344" cy="859210"/>
          </a:xfrm>
          <a:prstGeom prst="rect">
            <a:avLst/>
          </a:prstGeom>
          <a:noFill/>
          <a:ln w="9525">
            <a:noFill/>
            <a:miter lim="800000"/>
            <a:headEnd/>
            <a:tailEnd/>
          </a:ln>
          <a:effectLst/>
        </p:spPr>
        <p:txBody>
          <a:bodyPr wrap="square" lIns="0" tIns="0" rIns="0" bIns="0" rtlCol="0" anchor="t" anchorCtr="0">
            <a:spAutoFit/>
          </a:bodyPr>
          <a:lstStyle/>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A8276"/>
                </a:solidFill>
                <a:effectLst/>
                <a:uLnTx/>
                <a:uFillTx/>
                <a:latin typeface="Arial"/>
                <a:ea typeface="+mn-ea"/>
                <a:cs typeface="Arial"/>
              </a:rPr>
              <a:t>Controllability</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A8276"/>
                </a:solidFill>
                <a:effectLst/>
                <a:uLnTx/>
                <a:uFillTx/>
                <a:latin typeface="Arial"/>
                <a:cs typeface="Arial"/>
              </a:rPr>
              <a:t>Lower turn-on losses</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A8276"/>
                </a:solidFill>
                <a:effectLst/>
                <a:uLnTx/>
                <a:uFillTx/>
                <a:latin typeface="Arial"/>
                <a:cs typeface="Arial"/>
              </a:rPr>
              <a:t>Lower junction temperature</a:t>
            </a:r>
          </a:p>
        </p:txBody>
      </p:sp>
      <p:pic>
        <p:nvPicPr>
          <p:cNvPr id="4" name="Picture 3">
            <a:extLst>
              <a:ext uri="{FF2B5EF4-FFF2-40B4-BE49-F238E27FC236}">
                <a16:creationId xmlns:a16="http://schemas.microsoft.com/office/drawing/2014/main" id="{62D47BF7-1398-7EA0-1078-DCD643CEAE68}"/>
              </a:ext>
            </a:extLst>
          </p:cNvPr>
          <p:cNvPicPr>
            <a:picLocks noChangeAspect="1"/>
          </p:cNvPicPr>
          <p:nvPr/>
        </p:nvPicPr>
        <p:blipFill>
          <a:blip r:embed="rId10"/>
          <a:stretch>
            <a:fillRect/>
          </a:stretch>
        </p:blipFill>
        <p:spPr>
          <a:xfrm>
            <a:off x="490188" y="1568497"/>
            <a:ext cx="668944" cy="1690279"/>
          </a:xfrm>
          <a:prstGeom prst="rect">
            <a:avLst/>
          </a:prstGeom>
        </p:spPr>
      </p:pic>
      <p:pic>
        <p:nvPicPr>
          <p:cNvPr id="6" name="Picture 5">
            <a:extLst>
              <a:ext uri="{FF2B5EF4-FFF2-40B4-BE49-F238E27FC236}">
                <a16:creationId xmlns:a16="http://schemas.microsoft.com/office/drawing/2014/main" id="{DE353C13-C06E-7F32-379B-45EC93CE21E3}"/>
              </a:ext>
            </a:extLst>
          </p:cNvPr>
          <p:cNvPicPr>
            <a:picLocks noChangeAspect="1"/>
          </p:cNvPicPr>
          <p:nvPr/>
        </p:nvPicPr>
        <p:blipFill>
          <a:blip r:embed="rId11"/>
          <a:stretch>
            <a:fillRect/>
          </a:stretch>
        </p:blipFill>
        <p:spPr>
          <a:xfrm>
            <a:off x="446385" y="3826264"/>
            <a:ext cx="668945" cy="1618960"/>
          </a:xfrm>
          <a:prstGeom prst="rect">
            <a:avLst/>
          </a:prstGeom>
        </p:spPr>
      </p:pic>
      <p:sp>
        <p:nvSpPr>
          <p:cNvPr id="54" name="Rectangle 53">
            <a:extLst>
              <a:ext uri="{FF2B5EF4-FFF2-40B4-BE49-F238E27FC236}">
                <a16:creationId xmlns:a16="http://schemas.microsoft.com/office/drawing/2014/main" id="{D059FBE7-619C-4C2D-F43C-CE532584D079}"/>
              </a:ext>
            </a:extLst>
          </p:cNvPr>
          <p:cNvSpPr/>
          <p:nvPr/>
        </p:nvSpPr>
        <p:spPr bwMode="auto">
          <a:xfrm flipH="1">
            <a:off x="3341934" y="3447281"/>
            <a:ext cx="3468171" cy="1856631"/>
          </a:xfrm>
          <a:custGeom>
            <a:avLst/>
            <a:gdLst>
              <a:gd name="connsiteX0" fmla="*/ 0 w 1518636"/>
              <a:gd name="connsiteY0" fmla="*/ 0 h 733122"/>
              <a:gd name="connsiteX1" fmla="*/ 1518636 w 1518636"/>
              <a:gd name="connsiteY1" fmla="*/ 0 h 733122"/>
              <a:gd name="connsiteX2" fmla="*/ 1518636 w 1518636"/>
              <a:gd name="connsiteY2" fmla="*/ 733122 h 733122"/>
              <a:gd name="connsiteX3" fmla="*/ 0 w 1518636"/>
              <a:gd name="connsiteY3" fmla="*/ 733122 h 733122"/>
              <a:gd name="connsiteX4" fmla="*/ 0 w 1518636"/>
              <a:gd name="connsiteY4" fmla="*/ 0 h 733122"/>
              <a:gd name="connsiteX0" fmla="*/ 0 w 1518636"/>
              <a:gd name="connsiteY0" fmla="*/ 0 h 733122"/>
              <a:gd name="connsiteX1" fmla="*/ 1242411 w 1518636"/>
              <a:gd name="connsiteY1" fmla="*/ 128587 h 733122"/>
              <a:gd name="connsiteX2" fmla="*/ 1518636 w 1518636"/>
              <a:gd name="connsiteY2" fmla="*/ 733122 h 733122"/>
              <a:gd name="connsiteX3" fmla="*/ 0 w 1518636"/>
              <a:gd name="connsiteY3" fmla="*/ 733122 h 733122"/>
              <a:gd name="connsiteX4" fmla="*/ 0 w 1518636"/>
              <a:gd name="connsiteY4" fmla="*/ 0 h 733122"/>
              <a:gd name="connsiteX0" fmla="*/ 48671 w 1518636"/>
              <a:gd name="connsiteY0" fmla="*/ 0 h 1351340"/>
              <a:gd name="connsiteX1" fmla="*/ 1242411 w 1518636"/>
              <a:gd name="connsiteY1" fmla="*/ 746805 h 1351340"/>
              <a:gd name="connsiteX2" fmla="*/ 1518636 w 1518636"/>
              <a:gd name="connsiteY2" fmla="*/ 1351340 h 1351340"/>
              <a:gd name="connsiteX3" fmla="*/ 0 w 1518636"/>
              <a:gd name="connsiteY3" fmla="*/ 1351340 h 1351340"/>
              <a:gd name="connsiteX4" fmla="*/ 48671 w 1518636"/>
              <a:gd name="connsiteY4" fmla="*/ 0 h 1351340"/>
              <a:gd name="connsiteX0" fmla="*/ 27811 w 1497776"/>
              <a:gd name="connsiteY0" fmla="*/ 0 h 1369524"/>
              <a:gd name="connsiteX1" fmla="*/ 1221551 w 1497776"/>
              <a:gd name="connsiteY1" fmla="*/ 746805 h 1369524"/>
              <a:gd name="connsiteX2" fmla="*/ 1497776 w 1497776"/>
              <a:gd name="connsiteY2" fmla="*/ 1351340 h 1369524"/>
              <a:gd name="connsiteX3" fmla="*/ 0 w 1497776"/>
              <a:gd name="connsiteY3" fmla="*/ 1369524 h 1369524"/>
              <a:gd name="connsiteX4" fmla="*/ 27811 w 1497776"/>
              <a:gd name="connsiteY4" fmla="*/ 0 h 1369524"/>
              <a:gd name="connsiteX0" fmla="*/ 27811 w 5405392"/>
              <a:gd name="connsiteY0" fmla="*/ 0 h 2466557"/>
              <a:gd name="connsiteX1" fmla="*/ 1221551 w 5405392"/>
              <a:gd name="connsiteY1" fmla="*/ 74680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5405392"/>
              <a:gd name="connsiteY0" fmla="*/ 0 h 2466557"/>
              <a:gd name="connsiteX1" fmla="*/ 1207644 w 5405392"/>
              <a:gd name="connsiteY1" fmla="*/ 69225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5405392"/>
              <a:gd name="connsiteY0" fmla="*/ 0 h 2466557"/>
              <a:gd name="connsiteX1" fmla="*/ 1207644 w 5405392"/>
              <a:gd name="connsiteY1" fmla="*/ 69225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5405392"/>
              <a:gd name="connsiteY0" fmla="*/ 0 h 2466557"/>
              <a:gd name="connsiteX1" fmla="*/ 1207644 w 5405392"/>
              <a:gd name="connsiteY1" fmla="*/ 69225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5405392"/>
              <a:gd name="connsiteY0" fmla="*/ 0 h 2466557"/>
              <a:gd name="connsiteX1" fmla="*/ 1207644 w 5405392"/>
              <a:gd name="connsiteY1" fmla="*/ 69225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5405392"/>
              <a:gd name="connsiteY0" fmla="*/ 0 h 2466557"/>
              <a:gd name="connsiteX1" fmla="*/ 1207644 w 5405392"/>
              <a:gd name="connsiteY1" fmla="*/ 69225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5405392"/>
              <a:gd name="connsiteY0" fmla="*/ 0 h 2466557"/>
              <a:gd name="connsiteX1" fmla="*/ 1207644 w 5405392"/>
              <a:gd name="connsiteY1" fmla="*/ 69225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5405392"/>
              <a:gd name="connsiteY0" fmla="*/ 0 h 2466557"/>
              <a:gd name="connsiteX1" fmla="*/ 1207644 w 5405392"/>
              <a:gd name="connsiteY1" fmla="*/ 692255 h 2466557"/>
              <a:gd name="connsiteX2" fmla="*/ 5405392 w 5405392"/>
              <a:gd name="connsiteY2" fmla="*/ 2466557 h 2466557"/>
              <a:gd name="connsiteX3" fmla="*/ 0 w 5405392"/>
              <a:gd name="connsiteY3" fmla="*/ 1369524 h 2466557"/>
              <a:gd name="connsiteX4" fmla="*/ 27811 w 5405392"/>
              <a:gd name="connsiteY4" fmla="*/ 0 h 2466557"/>
              <a:gd name="connsiteX0" fmla="*/ 27811 w 2930105"/>
              <a:gd name="connsiteY0" fmla="*/ 0 h 2011984"/>
              <a:gd name="connsiteX1" fmla="*/ 1207644 w 2930105"/>
              <a:gd name="connsiteY1" fmla="*/ 692255 h 2011984"/>
              <a:gd name="connsiteX2" fmla="*/ 2930105 w 2930105"/>
              <a:gd name="connsiteY2" fmla="*/ 2011984 h 2011984"/>
              <a:gd name="connsiteX3" fmla="*/ 0 w 2930105"/>
              <a:gd name="connsiteY3" fmla="*/ 1369524 h 2011984"/>
              <a:gd name="connsiteX4" fmla="*/ 27811 w 2930105"/>
              <a:gd name="connsiteY4" fmla="*/ 0 h 2011984"/>
              <a:gd name="connsiteX0" fmla="*/ 27811 w 3189858"/>
              <a:gd name="connsiteY0" fmla="*/ 0 h 2011984"/>
              <a:gd name="connsiteX1" fmla="*/ 1207644 w 3189858"/>
              <a:gd name="connsiteY1" fmla="*/ 692255 h 2011984"/>
              <a:gd name="connsiteX2" fmla="*/ 2930105 w 3189858"/>
              <a:gd name="connsiteY2" fmla="*/ 2011984 h 2011984"/>
              <a:gd name="connsiteX3" fmla="*/ 0 w 3189858"/>
              <a:gd name="connsiteY3" fmla="*/ 1369524 h 2011984"/>
              <a:gd name="connsiteX4" fmla="*/ 27811 w 3189858"/>
              <a:gd name="connsiteY4" fmla="*/ 0 h 2011984"/>
              <a:gd name="connsiteX0" fmla="*/ 27811 w 3362152"/>
              <a:gd name="connsiteY0" fmla="*/ 0 h 2011984"/>
              <a:gd name="connsiteX1" fmla="*/ 1631781 w 3362152"/>
              <a:gd name="connsiteY1" fmla="*/ 946815 h 2011984"/>
              <a:gd name="connsiteX2" fmla="*/ 2930105 w 3362152"/>
              <a:gd name="connsiteY2" fmla="*/ 2011984 h 2011984"/>
              <a:gd name="connsiteX3" fmla="*/ 0 w 3362152"/>
              <a:gd name="connsiteY3" fmla="*/ 1369524 h 2011984"/>
              <a:gd name="connsiteX4" fmla="*/ 27811 w 3362152"/>
              <a:gd name="connsiteY4" fmla="*/ 0 h 2011984"/>
              <a:gd name="connsiteX0" fmla="*/ 27811 w 2980198"/>
              <a:gd name="connsiteY0" fmla="*/ 0 h 2011984"/>
              <a:gd name="connsiteX1" fmla="*/ 1631781 w 2980198"/>
              <a:gd name="connsiteY1" fmla="*/ 946815 h 2011984"/>
              <a:gd name="connsiteX2" fmla="*/ 2930105 w 2980198"/>
              <a:gd name="connsiteY2" fmla="*/ 2011984 h 2011984"/>
              <a:gd name="connsiteX3" fmla="*/ 0 w 2980198"/>
              <a:gd name="connsiteY3" fmla="*/ 1369524 h 2011984"/>
              <a:gd name="connsiteX4" fmla="*/ 27811 w 2980198"/>
              <a:gd name="connsiteY4" fmla="*/ 0 h 2011984"/>
              <a:gd name="connsiteX0" fmla="*/ 27811 w 3477313"/>
              <a:gd name="connsiteY0" fmla="*/ 0 h 2060077"/>
              <a:gd name="connsiteX1" fmla="*/ 3119735 w 3477313"/>
              <a:gd name="connsiteY1" fmla="*/ 1789289 h 2060077"/>
              <a:gd name="connsiteX2" fmla="*/ 2930105 w 3477313"/>
              <a:gd name="connsiteY2" fmla="*/ 2011984 h 2060077"/>
              <a:gd name="connsiteX3" fmla="*/ 0 w 3477313"/>
              <a:gd name="connsiteY3" fmla="*/ 1369524 h 2060077"/>
              <a:gd name="connsiteX4" fmla="*/ 27811 w 3477313"/>
              <a:gd name="connsiteY4" fmla="*/ 0 h 2060077"/>
              <a:gd name="connsiteX0" fmla="*/ 27811 w 3034299"/>
              <a:gd name="connsiteY0" fmla="*/ 0 h 2011984"/>
              <a:gd name="connsiteX1" fmla="*/ 2194978 w 3034299"/>
              <a:gd name="connsiteY1" fmla="*/ 674073 h 2011984"/>
              <a:gd name="connsiteX2" fmla="*/ 2930105 w 3034299"/>
              <a:gd name="connsiteY2" fmla="*/ 2011984 h 2011984"/>
              <a:gd name="connsiteX3" fmla="*/ 0 w 3034299"/>
              <a:gd name="connsiteY3" fmla="*/ 1369524 h 2011984"/>
              <a:gd name="connsiteX4" fmla="*/ 27811 w 3034299"/>
              <a:gd name="connsiteY4" fmla="*/ 0 h 2011984"/>
              <a:gd name="connsiteX0" fmla="*/ 27811 w 3013589"/>
              <a:gd name="connsiteY0" fmla="*/ 0 h 2011984"/>
              <a:gd name="connsiteX1" fmla="*/ 2055918 w 3013589"/>
              <a:gd name="connsiteY1" fmla="*/ 1074096 h 2011984"/>
              <a:gd name="connsiteX2" fmla="*/ 2930105 w 3013589"/>
              <a:gd name="connsiteY2" fmla="*/ 2011984 h 2011984"/>
              <a:gd name="connsiteX3" fmla="*/ 0 w 3013589"/>
              <a:gd name="connsiteY3" fmla="*/ 1369524 h 2011984"/>
              <a:gd name="connsiteX4" fmla="*/ 27811 w 3013589"/>
              <a:gd name="connsiteY4" fmla="*/ 0 h 2011984"/>
              <a:gd name="connsiteX0" fmla="*/ 27811 w 3010265"/>
              <a:gd name="connsiteY0" fmla="*/ 0 h 2011984"/>
              <a:gd name="connsiteX1" fmla="*/ 2028106 w 3010265"/>
              <a:gd name="connsiteY1" fmla="*/ 1122584 h 2011984"/>
              <a:gd name="connsiteX2" fmla="*/ 2930105 w 3010265"/>
              <a:gd name="connsiteY2" fmla="*/ 2011984 h 2011984"/>
              <a:gd name="connsiteX3" fmla="*/ 0 w 3010265"/>
              <a:gd name="connsiteY3" fmla="*/ 1369524 h 2011984"/>
              <a:gd name="connsiteX4" fmla="*/ 27811 w 3010265"/>
              <a:gd name="connsiteY4" fmla="*/ 0 h 2011984"/>
              <a:gd name="connsiteX0" fmla="*/ 27811 w 3006419"/>
              <a:gd name="connsiteY0" fmla="*/ 0 h 2011984"/>
              <a:gd name="connsiteX1" fmla="*/ 1993341 w 3006419"/>
              <a:gd name="connsiteY1" fmla="*/ 1183193 h 2011984"/>
              <a:gd name="connsiteX2" fmla="*/ 2930105 w 3006419"/>
              <a:gd name="connsiteY2" fmla="*/ 2011984 h 2011984"/>
              <a:gd name="connsiteX3" fmla="*/ 0 w 3006419"/>
              <a:gd name="connsiteY3" fmla="*/ 1369524 h 2011984"/>
              <a:gd name="connsiteX4" fmla="*/ 27811 w 3006419"/>
              <a:gd name="connsiteY4" fmla="*/ 0 h 2011984"/>
              <a:gd name="connsiteX0" fmla="*/ 27811 w 3007918"/>
              <a:gd name="connsiteY0" fmla="*/ 0 h 2011984"/>
              <a:gd name="connsiteX1" fmla="*/ 2007248 w 3007918"/>
              <a:gd name="connsiteY1" fmla="*/ 1158950 h 2011984"/>
              <a:gd name="connsiteX2" fmla="*/ 2930105 w 3007918"/>
              <a:gd name="connsiteY2" fmla="*/ 2011984 h 2011984"/>
              <a:gd name="connsiteX3" fmla="*/ 0 w 3007918"/>
              <a:gd name="connsiteY3" fmla="*/ 1369524 h 2011984"/>
              <a:gd name="connsiteX4" fmla="*/ 27811 w 3007918"/>
              <a:gd name="connsiteY4" fmla="*/ 0 h 2011984"/>
              <a:gd name="connsiteX0" fmla="*/ 27811 w 3528878"/>
              <a:gd name="connsiteY0" fmla="*/ 0 h 2127143"/>
              <a:gd name="connsiteX1" fmla="*/ 2007248 w 3528878"/>
              <a:gd name="connsiteY1" fmla="*/ 1158950 h 2127143"/>
              <a:gd name="connsiteX2" fmla="*/ 3486349 w 3528878"/>
              <a:gd name="connsiteY2" fmla="*/ 2127143 h 2127143"/>
              <a:gd name="connsiteX3" fmla="*/ 0 w 3528878"/>
              <a:gd name="connsiteY3" fmla="*/ 1369524 h 2127143"/>
              <a:gd name="connsiteX4" fmla="*/ 27811 w 3528878"/>
              <a:gd name="connsiteY4" fmla="*/ 0 h 2127143"/>
              <a:gd name="connsiteX0" fmla="*/ 27811 w 3578233"/>
              <a:gd name="connsiteY0" fmla="*/ 0 h 2127143"/>
              <a:gd name="connsiteX1" fmla="*/ 2674741 w 3578233"/>
              <a:gd name="connsiteY1" fmla="*/ 1540790 h 2127143"/>
              <a:gd name="connsiteX2" fmla="*/ 3486349 w 3578233"/>
              <a:gd name="connsiteY2" fmla="*/ 2127143 h 2127143"/>
              <a:gd name="connsiteX3" fmla="*/ 0 w 3578233"/>
              <a:gd name="connsiteY3" fmla="*/ 1369524 h 2127143"/>
              <a:gd name="connsiteX4" fmla="*/ 27811 w 3578233"/>
              <a:gd name="connsiteY4" fmla="*/ 0 h 2127143"/>
              <a:gd name="connsiteX0" fmla="*/ 27811 w 3359578"/>
              <a:gd name="connsiteY0" fmla="*/ 0 h 2060473"/>
              <a:gd name="connsiteX1" fmla="*/ 2674741 w 3359578"/>
              <a:gd name="connsiteY1" fmla="*/ 1540790 h 2060473"/>
              <a:gd name="connsiteX2" fmla="*/ 3208227 w 3359578"/>
              <a:gd name="connsiteY2" fmla="*/ 2060473 h 2060473"/>
              <a:gd name="connsiteX3" fmla="*/ 0 w 3359578"/>
              <a:gd name="connsiteY3" fmla="*/ 1369524 h 2060473"/>
              <a:gd name="connsiteX4" fmla="*/ 27811 w 3359578"/>
              <a:gd name="connsiteY4" fmla="*/ 0 h 2060473"/>
              <a:gd name="connsiteX0" fmla="*/ 27811 w 3317101"/>
              <a:gd name="connsiteY0" fmla="*/ 0 h 2048351"/>
              <a:gd name="connsiteX1" fmla="*/ 2674741 w 3317101"/>
              <a:gd name="connsiteY1" fmla="*/ 1540790 h 2048351"/>
              <a:gd name="connsiteX2" fmla="*/ 3145649 w 3317101"/>
              <a:gd name="connsiteY2" fmla="*/ 2048351 h 2048351"/>
              <a:gd name="connsiteX3" fmla="*/ 0 w 3317101"/>
              <a:gd name="connsiteY3" fmla="*/ 1369524 h 2048351"/>
              <a:gd name="connsiteX4" fmla="*/ 27811 w 3317101"/>
              <a:gd name="connsiteY4" fmla="*/ 0 h 2048351"/>
              <a:gd name="connsiteX0" fmla="*/ 27811 w 3450874"/>
              <a:gd name="connsiteY0" fmla="*/ 0 h 2067732"/>
              <a:gd name="connsiteX1" fmla="*/ 2674741 w 3450874"/>
              <a:gd name="connsiteY1" fmla="*/ 1540790 h 2067732"/>
              <a:gd name="connsiteX2" fmla="*/ 3295355 w 3450874"/>
              <a:gd name="connsiteY2" fmla="*/ 1831390 h 2067732"/>
              <a:gd name="connsiteX3" fmla="*/ 3145649 w 3450874"/>
              <a:gd name="connsiteY3" fmla="*/ 2048351 h 2067732"/>
              <a:gd name="connsiteX4" fmla="*/ 0 w 3450874"/>
              <a:gd name="connsiteY4" fmla="*/ 1369524 h 2067732"/>
              <a:gd name="connsiteX5" fmla="*/ 27811 w 3450874"/>
              <a:gd name="connsiteY5" fmla="*/ 0 h 2067732"/>
              <a:gd name="connsiteX0" fmla="*/ 27811 w 3633886"/>
              <a:gd name="connsiteY0" fmla="*/ 0 h 2077680"/>
              <a:gd name="connsiteX1" fmla="*/ 2674741 w 3633886"/>
              <a:gd name="connsiteY1" fmla="*/ 1540790 h 2077680"/>
              <a:gd name="connsiteX2" fmla="*/ 3295355 w 3633886"/>
              <a:gd name="connsiteY2" fmla="*/ 1831390 h 2077680"/>
              <a:gd name="connsiteX3" fmla="*/ 3145649 w 3633886"/>
              <a:gd name="connsiteY3" fmla="*/ 2048351 h 2077680"/>
              <a:gd name="connsiteX4" fmla="*/ 0 w 3633886"/>
              <a:gd name="connsiteY4" fmla="*/ 1369524 h 2077680"/>
              <a:gd name="connsiteX5" fmla="*/ 27811 w 3633886"/>
              <a:gd name="connsiteY5" fmla="*/ 0 h 2077680"/>
              <a:gd name="connsiteX0" fmla="*/ 27811 w 4048916"/>
              <a:gd name="connsiteY0" fmla="*/ 0 h 2182102"/>
              <a:gd name="connsiteX1" fmla="*/ 2674741 w 4048916"/>
              <a:gd name="connsiteY1" fmla="*/ 1540790 h 2182102"/>
              <a:gd name="connsiteX2" fmla="*/ 3295355 w 4048916"/>
              <a:gd name="connsiteY2" fmla="*/ 1831390 h 2182102"/>
              <a:gd name="connsiteX3" fmla="*/ 3827049 w 4048916"/>
              <a:gd name="connsiteY3" fmla="*/ 2163510 h 2182102"/>
              <a:gd name="connsiteX4" fmla="*/ 0 w 4048916"/>
              <a:gd name="connsiteY4" fmla="*/ 1369524 h 2182102"/>
              <a:gd name="connsiteX5" fmla="*/ 27811 w 4048916"/>
              <a:gd name="connsiteY5" fmla="*/ 0 h 2182102"/>
              <a:gd name="connsiteX0" fmla="*/ 27811 w 4048916"/>
              <a:gd name="connsiteY0" fmla="*/ 0 h 2182101"/>
              <a:gd name="connsiteX1" fmla="*/ 2674741 w 4048916"/>
              <a:gd name="connsiteY1" fmla="*/ 1540790 h 2182101"/>
              <a:gd name="connsiteX2" fmla="*/ 3295355 w 4048916"/>
              <a:gd name="connsiteY2" fmla="*/ 1831390 h 2182101"/>
              <a:gd name="connsiteX3" fmla="*/ 3827049 w 4048916"/>
              <a:gd name="connsiteY3" fmla="*/ 2163510 h 2182101"/>
              <a:gd name="connsiteX4" fmla="*/ 0 w 4048916"/>
              <a:gd name="connsiteY4" fmla="*/ 1369524 h 2182101"/>
              <a:gd name="connsiteX5" fmla="*/ 27811 w 4048916"/>
              <a:gd name="connsiteY5" fmla="*/ 0 h 2182101"/>
              <a:gd name="connsiteX0" fmla="*/ 27811 w 5036984"/>
              <a:gd name="connsiteY0" fmla="*/ 0 h 2374668"/>
              <a:gd name="connsiteX1" fmla="*/ 2674741 w 5036984"/>
              <a:gd name="connsiteY1" fmla="*/ 1540790 h 2374668"/>
              <a:gd name="connsiteX2" fmla="*/ 3295355 w 5036984"/>
              <a:gd name="connsiteY2" fmla="*/ 1831390 h 2374668"/>
              <a:gd name="connsiteX3" fmla="*/ 4932585 w 5036984"/>
              <a:gd name="connsiteY3" fmla="*/ 2363523 h 2374668"/>
              <a:gd name="connsiteX4" fmla="*/ 0 w 5036984"/>
              <a:gd name="connsiteY4" fmla="*/ 1369524 h 2374668"/>
              <a:gd name="connsiteX5" fmla="*/ 27811 w 5036984"/>
              <a:gd name="connsiteY5" fmla="*/ 0 h 2374668"/>
              <a:gd name="connsiteX0" fmla="*/ 27811 w 5036984"/>
              <a:gd name="connsiteY0" fmla="*/ 0 h 2374669"/>
              <a:gd name="connsiteX1" fmla="*/ 2674741 w 5036984"/>
              <a:gd name="connsiteY1" fmla="*/ 1540790 h 2374669"/>
              <a:gd name="connsiteX2" fmla="*/ 3295355 w 5036984"/>
              <a:gd name="connsiteY2" fmla="*/ 1831390 h 2374669"/>
              <a:gd name="connsiteX3" fmla="*/ 4932585 w 5036984"/>
              <a:gd name="connsiteY3" fmla="*/ 2363523 h 2374669"/>
              <a:gd name="connsiteX4" fmla="*/ 0 w 5036984"/>
              <a:gd name="connsiteY4" fmla="*/ 1369524 h 2374669"/>
              <a:gd name="connsiteX5" fmla="*/ 27811 w 5036984"/>
              <a:gd name="connsiteY5" fmla="*/ 0 h 2374669"/>
              <a:gd name="connsiteX0" fmla="*/ 27811 w 5036984"/>
              <a:gd name="connsiteY0" fmla="*/ 0 h 2374669"/>
              <a:gd name="connsiteX1" fmla="*/ 2674741 w 5036984"/>
              <a:gd name="connsiteY1" fmla="*/ 1540790 h 2374669"/>
              <a:gd name="connsiteX2" fmla="*/ 3295355 w 5036984"/>
              <a:gd name="connsiteY2" fmla="*/ 1831390 h 2374669"/>
              <a:gd name="connsiteX3" fmla="*/ 4932585 w 5036984"/>
              <a:gd name="connsiteY3" fmla="*/ 2363523 h 2374669"/>
              <a:gd name="connsiteX4" fmla="*/ 0 w 5036984"/>
              <a:gd name="connsiteY4" fmla="*/ 1369524 h 2374669"/>
              <a:gd name="connsiteX5" fmla="*/ 27811 w 5036984"/>
              <a:gd name="connsiteY5" fmla="*/ 0 h 2374669"/>
              <a:gd name="connsiteX0" fmla="*/ 27811 w 5036984"/>
              <a:gd name="connsiteY0" fmla="*/ 0 h 2374669"/>
              <a:gd name="connsiteX1" fmla="*/ 2674741 w 5036984"/>
              <a:gd name="connsiteY1" fmla="*/ 1540790 h 2374669"/>
              <a:gd name="connsiteX2" fmla="*/ 3295355 w 5036984"/>
              <a:gd name="connsiteY2" fmla="*/ 1831390 h 2374669"/>
              <a:gd name="connsiteX3" fmla="*/ 4932585 w 5036984"/>
              <a:gd name="connsiteY3" fmla="*/ 2363523 h 2374669"/>
              <a:gd name="connsiteX4" fmla="*/ 0 w 5036984"/>
              <a:gd name="connsiteY4" fmla="*/ 1369524 h 2374669"/>
              <a:gd name="connsiteX5" fmla="*/ 27811 w 5036984"/>
              <a:gd name="connsiteY5" fmla="*/ 0 h 2374669"/>
              <a:gd name="connsiteX0" fmla="*/ 27811 w 5063387"/>
              <a:gd name="connsiteY0" fmla="*/ 0 h 2362827"/>
              <a:gd name="connsiteX1" fmla="*/ 2674741 w 5063387"/>
              <a:gd name="connsiteY1" fmla="*/ 1540790 h 2362827"/>
              <a:gd name="connsiteX2" fmla="*/ 3295355 w 5063387"/>
              <a:gd name="connsiteY2" fmla="*/ 1831390 h 2362827"/>
              <a:gd name="connsiteX3" fmla="*/ 4960397 w 5063387"/>
              <a:gd name="connsiteY3" fmla="*/ 2351401 h 2362827"/>
              <a:gd name="connsiteX4" fmla="*/ 0 w 5063387"/>
              <a:gd name="connsiteY4" fmla="*/ 1369524 h 2362827"/>
              <a:gd name="connsiteX5" fmla="*/ 27811 w 5063387"/>
              <a:gd name="connsiteY5" fmla="*/ 0 h 2362827"/>
              <a:gd name="connsiteX0" fmla="*/ 27811 w 5063387"/>
              <a:gd name="connsiteY0" fmla="*/ 0 h 2362827"/>
              <a:gd name="connsiteX1" fmla="*/ 2626069 w 5063387"/>
              <a:gd name="connsiteY1" fmla="*/ 1534729 h 2362827"/>
              <a:gd name="connsiteX2" fmla="*/ 3295355 w 5063387"/>
              <a:gd name="connsiteY2" fmla="*/ 1831390 h 2362827"/>
              <a:gd name="connsiteX3" fmla="*/ 4960397 w 5063387"/>
              <a:gd name="connsiteY3" fmla="*/ 2351401 h 2362827"/>
              <a:gd name="connsiteX4" fmla="*/ 0 w 5063387"/>
              <a:gd name="connsiteY4" fmla="*/ 1369524 h 2362827"/>
              <a:gd name="connsiteX5" fmla="*/ 27811 w 5063387"/>
              <a:gd name="connsiteY5" fmla="*/ 0 h 2362827"/>
              <a:gd name="connsiteX0" fmla="*/ 27811 w 5063387"/>
              <a:gd name="connsiteY0" fmla="*/ 0 h 2362827"/>
              <a:gd name="connsiteX1" fmla="*/ 2626069 w 5063387"/>
              <a:gd name="connsiteY1" fmla="*/ 1534729 h 2362827"/>
              <a:gd name="connsiteX2" fmla="*/ 3295355 w 5063387"/>
              <a:gd name="connsiteY2" fmla="*/ 1831390 h 2362827"/>
              <a:gd name="connsiteX3" fmla="*/ 4960397 w 5063387"/>
              <a:gd name="connsiteY3" fmla="*/ 2351401 h 2362827"/>
              <a:gd name="connsiteX4" fmla="*/ 0 w 5063387"/>
              <a:gd name="connsiteY4" fmla="*/ 1369524 h 2362827"/>
              <a:gd name="connsiteX5" fmla="*/ 27811 w 5063387"/>
              <a:gd name="connsiteY5" fmla="*/ 0 h 2362827"/>
              <a:gd name="connsiteX0" fmla="*/ 27811 w 5063387"/>
              <a:gd name="connsiteY0" fmla="*/ 0 h 2362827"/>
              <a:gd name="connsiteX1" fmla="*/ 2626069 w 5063387"/>
              <a:gd name="connsiteY1" fmla="*/ 1534729 h 2362827"/>
              <a:gd name="connsiteX2" fmla="*/ 3295355 w 5063387"/>
              <a:gd name="connsiteY2" fmla="*/ 1831390 h 2362827"/>
              <a:gd name="connsiteX3" fmla="*/ 4960397 w 5063387"/>
              <a:gd name="connsiteY3" fmla="*/ 2351401 h 2362827"/>
              <a:gd name="connsiteX4" fmla="*/ 0 w 5063387"/>
              <a:gd name="connsiteY4" fmla="*/ 1369524 h 2362827"/>
              <a:gd name="connsiteX5" fmla="*/ 27811 w 5063387"/>
              <a:gd name="connsiteY5" fmla="*/ 0 h 236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63387" h="2362827">
                <a:moveTo>
                  <a:pt x="27811" y="0"/>
                </a:moveTo>
                <a:lnTo>
                  <a:pt x="2626069" y="1534729"/>
                </a:lnTo>
                <a:cubicBezTo>
                  <a:pt x="3044344" y="1757128"/>
                  <a:pt x="3216870" y="1746797"/>
                  <a:pt x="3295355" y="1831390"/>
                </a:cubicBezTo>
                <a:cubicBezTo>
                  <a:pt x="3846648" y="2025081"/>
                  <a:pt x="5487605" y="2436460"/>
                  <a:pt x="4960397" y="2351401"/>
                </a:cubicBezTo>
                <a:cubicBezTo>
                  <a:pt x="2968547" y="2020069"/>
                  <a:pt x="1644195" y="1700857"/>
                  <a:pt x="0" y="1369524"/>
                </a:cubicBezTo>
                <a:lnTo>
                  <a:pt x="27811" y="0"/>
                </a:lnTo>
                <a:close/>
              </a:path>
            </a:pathLst>
          </a:custGeom>
          <a:pattFill prst="diagBrick">
            <a:fgClr>
              <a:srgbClr val="575352"/>
            </a:fgClr>
            <a:bgClr>
              <a:schemeClr val="bg1"/>
            </a:bgClr>
          </a:patt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cxnSp>
        <p:nvCxnSpPr>
          <p:cNvPr id="66" name="Straight Arrow Connector 65">
            <a:extLst>
              <a:ext uri="{FF2B5EF4-FFF2-40B4-BE49-F238E27FC236}">
                <a16:creationId xmlns:a16="http://schemas.microsoft.com/office/drawing/2014/main" id="{E28A5AFA-2969-A290-0317-1D706A63C1D8}"/>
              </a:ext>
            </a:extLst>
          </p:cNvPr>
          <p:cNvCxnSpPr>
            <a:cxnSpLocks/>
          </p:cNvCxnSpPr>
          <p:nvPr/>
        </p:nvCxnSpPr>
        <p:spPr>
          <a:xfrm>
            <a:off x="5663952" y="4221088"/>
            <a:ext cx="0" cy="568504"/>
          </a:xfrm>
          <a:prstGeom prst="straightConnector1">
            <a:avLst/>
          </a:prstGeom>
          <a:ln w="15875">
            <a:solidFill>
              <a:srgbClr val="FF0000"/>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B43C72DA-BFC4-8C8F-169E-E68D4742E921}"/>
              </a:ext>
            </a:extLst>
          </p:cNvPr>
          <p:cNvSpPr txBox="1"/>
          <p:nvPr/>
        </p:nvSpPr>
        <p:spPr bwMode="auto">
          <a:xfrm>
            <a:off x="5778086" y="4146723"/>
            <a:ext cx="661750" cy="429605"/>
          </a:xfrm>
          <a:prstGeom prst="rect">
            <a:avLst/>
          </a:prstGeom>
          <a:solidFill>
            <a:schemeClr val="bg1"/>
          </a:solid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800" kern="0" baseline="0" dirty="0">
                <a:solidFill>
                  <a:srgbClr val="FF0000"/>
                </a:solidFill>
                <a:latin typeface="Arial" panose="020B0604020202020204" pitchFamily="34" charset="0"/>
                <a:cs typeface="Arial" panose="020B0604020202020204" pitchFamily="34" charset="0"/>
              </a:rPr>
              <a:t>Power loop </a:t>
            </a:r>
          </a:p>
          <a:p>
            <a:pPr marR="0" algn="ctr" defTabSz="576000" eaLnBrk="0" fontAlgn="auto" latinLnBrk="0" hangingPunct="0">
              <a:lnSpc>
                <a:spcPct val="120000"/>
              </a:lnSpc>
              <a:spcBef>
                <a:spcPts val="0"/>
              </a:spcBef>
              <a:spcAft>
                <a:spcPts val="0"/>
              </a:spcAft>
              <a:buClr>
                <a:schemeClr val="tx2"/>
              </a:buClr>
              <a:buSzTx/>
              <a:tabLst/>
            </a:pPr>
            <a:r>
              <a:rPr lang="en-US" sz="800" kern="0" baseline="0" dirty="0">
                <a:solidFill>
                  <a:srgbClr val="FF0000"/>
                </a:solidFill>
                <a:latin typeface="Arial" panose="020B0604020202020204" pitchFamily="34" charset="0"/>
                <a:cs typeface="Arial" panose="020B0604020202020204" pitchFamily="34" charset="0"/>
              </a:rPr>
              <a:t>+</a:t>
            </a:r>
          </a:p>
          <a:p>
            <a:pPr marR="0" algn="ctr" defTabSz="576000" eaLnBrk="0" fontAlgn="auto" latinLnBrk="0" hangingPunct="0">
              <a:lnSpc>
                <a:spcPct val="120000"/>
              </a:lnSpc>
              <a:spcBef>
                <a:spcPts val="0"/>
              </a:spcBef>
              <a:spcAft>
                <a:spcPts val="0"/>
              </a:spcAft>
              <a:buClr>
                <a:schemeClr val="tx2"/>
              </a:buClr>
              <a:buSzTx/>
              <a:tabLst/>
            </a:pPr>
            <a:r>
              <a:rPr lang="en-US" sz="800" kern="0" baseline="0" dirty="0">
                <a:solidFill>
                  <a:srgbClr val="FF0000"/>
                </a:solidFill>
                <a:latin typeface="Arial" panose="020B0604020202020204" pitchFamily="34" charset="0"/>
                <a:cs typeface="Arial" panose="020B0604020202020204" pitchFamily="34" charset="0"/>
              </a:rPr>
              <a:t> Control loop</a:t>
            </a:r>
          </a:p>
        </p:txBody>
      </p:sp>
      <p:sp>
        <p:nvSpPr>
          <p:cNvPr id="70" name="TextBox 69">
            <a:extLst>
              <a:ext uri="{FF2B5EF4-FFF2-40B4-BE49-F238E27FC236}">
                <a16:creationId xmlns:a16="http://schemas.microsoft.com/office/drawing/2014/main" id="{EA3E9A5D-B40B-9F79-5A71-A6497A0C7026}"/>
              </a:ext>
            </a:extLst>
          </p:cNvPr>
          <p:cNvSpPr txBox="1"/>
          <p:nvPr/>
        </p:nvSpPr>
        <p:spPr bwMode="auto">
          <a:xfrm rot="16860682">
            <a:off x="7973645" y="4217370"/>
            <a:ext cx="408766" cy="134139"/>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800" kern="0" baseline="0" dirty="0">
                <a:solidFill>
                  <a:srgbClr val="0A8276"/>
                </a:solidFill>
                <a:latin typeface="+mn-lt"/>
                <a:ea typeface="+mn-ea"/>
                <a:cs typeface="+mn-cs"/>
              </a:rPr>
              <a:t>108 A/ns</a:t>
            </a:r>
          </a:p>
        </p:txBody>
      </p:sp>
      <p:sp>
        <p:nvSpPr>
          <p:cNvPr id="93" name="TextBox 92">
            <a:extLst>
              <a:ext uri="{FF2B5EF4-FFF2-40B4-BE49-F238E27FC236}">
                <a16:creationId xmlns:a16="http://schemas.microsoft.com/office/drawing/2014/main" id="{95C8D839-BF13-A71E-3D52-76A833DA56C6}"/>
              </a:ext>
            </a:extLst>
          </p:cNvPr>
          <p:cNvSpPr txBox="1"/>
          <p:nvPr/>
        </p:nvSpPr>
        <p:spPr bwMode="auto">
          <a:xfrm rot="17386665">
            <a:off x="8189074" y="4528736"/>
            <a:ext cx="379912" cy="134139"/>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800" kern="0" baseline="0" dirty="0">
                <a:solidFill>
                  <a:schemeClr val="accent3"/>
                </a:solidFill>
                <a:latin typeface="+mn-lt"/>
                <a:ea typeface="+mn-ea"/>
                <a:cs typeface="+mn-cs"/>
              </a:rPr>
              <a:t>0.8 A/ns</a:t>
            </a:r>
          </a:p>
        </p:txBody>
      </p:sp>
      <p:grpSp>
        <p:nvGrpSpPr>
          <p:cNvPr id="10" name="Group 9">
            <a:extLst>
              <a:ext uri="{FF2B5EF4-FFF2-40B4-BE49-F238E27FC236}">
                <a16:creationId xmlns:a16="http://schemas.microsoft.com/office/drawing/2014/main" id="{1FBECA7D-4F53-4930-AFF4-82714DF2FC12}"/>
              </a:ext>
            </a:extLst>
          </p:cNvPr>
          <p:cNvGrpSpPr/>
          <p:nvPr/>
        </p:nvGrpSpPr>
        <p:grpSpPr>
          <a:xfrm>
            <a:off x="2360198" y="2641806"/>
            <a:ext cx="4641693" cy="3739944"/>
            <a:chOff x="2360198" y="2641806"/>
            <a:chExt cx="4641693" cy="3739944"/>
          </a:xfrm>
        </p:grpSpPr>
        <p:graphicFrame>
          <p:nvGraphicFramePr>
            <p:cNvPr id="7" name="Chart 6">
              <a:extLst>
                <a:ext uri="{FF2B5EF4-FFF2-40B4-BE49-F238E27FC236}">
                  <a16:creationId xmlns:a16="http://schemas.microsoft.com/office/drawing/2014/main" id="{02233768-069F-9423-9533-6E87C305D6AF}"/>
                </a:ext>
              </a:extLst>
            </p:cNvPr>
            <p:cNvGraphicFramePr>
              <a:graphicFrameLocks/>
            </p:cNvGraphicFramePr>
            <p:nvPr/>
          </p:nvGraphicFramePr>
          <p:xfrm>
            <a:off x="2360198" y="2641806"/>
            <a:ext cx="4641693" cy="3739944"/>
          </p:xfrm>
          <a:graphic>
            <a:graphicData uri="http://schemas.openxmlformats.org/drawingml/2006/chart">
              <c:chart xmlns:c="http://schemas.openxmlformats.org/drawingml/2006/chart" xmlns:r="http://schemas.openxmlformats.org/officeDocument/2006/relationships" r:id="rId12"/>
            </a:graphicData>
          </a:graphic>
        </p:graphicFrame>
        <p:pic>
          <p:nvPicPr>
            <p:cNvPr id="9" name="Picture 8">
              <a:extLst>
                <a:ext uri="{FF2B5EF4-FFF2-40B4-BE49-F238E27FC236}">
                  <a16:creationId xmlns:a16="http://schemas.microsoft.com/office/drawing/2014/main" id="{F9C1EA35-D67F-48E1-93F7-DB400438A007}"/>
                </a:ext>
              </a:extLst>
            </p:cNvPr>
            <p:cNvPicPr>
              <a:picLocks noChangeAspect="1"/>
            </p:cNvPicPr>
            <p:nvPr/>
          </p:nvPicPr>
          <p:blipFill>
            <a:blip r:embed="rId13"/>
            <a:stretch>
              <a:fillRect/>
            </a:stretch>
          </p:blipFill>
          <p:spPr>
            <a:xfrm>
              <a:off x="3653076" y="5894840"/>
              <a:ext cx="2392913" cy="234692"/>
            </a:xfrm>
            <a:prstGeom prst="rect">
              <a:avLst/>
            </a:prstGeom>
          </p:spPr>
        </p:pic>
      </p:grpSp>
      <p:sp>
        <p:nvSpPr>
          <p:cNvPr id="3" name="Rectangle 2">
            <a:extLst>
              <a:ext uri="{FF2B5EF4-FFF2-40B4-BE49-F238E27FC236}">
                <a16:creationId xmlns:a16="http://schemas.microsoft.com/office/drawing/2014/main" id="{31983A9B-905B-4DA4-A764-6D36EEE7B2E9}"/>
              </a:ext>
            </a:extLst>
          </p:cNvPr>
          <p:cNvSpPr/>
          <p:nvPr>
            <p:custDataLst>
              <p:tags r:id="rId3"/>
            </p:custDataLst>
          </p:nvPr>
        </p:nvSpPr>
        <p:spPr>
          <a:xfrm>
            <a:off x="648072" y="5990687"/>
            <a:ext cx="6096000" cy="307777"/>
          </a:xfrm>
          <a:prstGeom prst="rect">
            <a:avLst/>
          </a:prstGeom>
        </p:spPr>
        <p:txBody>
          <a:bodyPr>
            <a:spAutoFit/>
          </a:bodyPr>
          <a:lstStyle/>
          <a:p>
            <a:r>
              <a:rPr lang="sl-SI" dirty="0">
                <a:hlinkClick r:id="rId14"/>
              </a:rPr>
              <a:t>Appnote</a:t>
            </a:r>
            <a:r>
              <a:rPr lang="sl-SI" dirty="0"/>
              <a:t> 3pin vs 4 pin</a:t>
            </a:r>
            <a:endParaRPr lang="de-AT" dirty="0"/>
          </a:p>
        </p:txBody>
      </p:sp>
      <p:graphicFrame>
        <p:nvGraphicFramePr>
          <p:cNvPr id="12" name="Object 11">
            <a:extLst>
              <a:ext uri="{FF2B5EF4-FFF2-40B4-BE49-F238E27FC236}">
                <a16:creationId xmlns:a16="http://schemas.microsoft.com/office/drawing/2014/main" id="{28453FAB-9D27-4F89-9BF5-B373A4710D96}"/>
              </a:ext>
            </a:extLst>
          </p:cNvPr>
          <p:cNvGraphicFramePr>
            <a:graphicFrameLocks noChangeAspect="1"/>
          </p:cNvGraphicFramePr>
          <p:nvPr/>
        </p:nvGraphicFramePr>
        <p:xfrm>
          <a:off x="824465" y="5695505"/>
          <a:ext cx="468387" cy="973855"/>
        </p:xfrm>
        <a:graphic>
          <a:graphicData uri="http://schemas.openxmlformats.org/presentationml/2006/ole">
            <mc:AlternateContent xmlns:mc="http://schemas.openxmlformats.org/markup-compatibility/2006">
              <mc:Choice xmlns:v="urn:schemas-microsoft-com:vml" Requires="v">
                <p:oleObj spid="_x0000_s6148" name="Acrobat Document" showAsIcon="1" r:id="rId15" imgW="381077" imgH="792589" progId="Acrobat.Document.DC">
                  <p:embed/>
                </p:oleObj>
              </mc:Choice>
              <mc:Fallback>
                <p:oleObj name="Acrobat Document" showAsIcon="1" r:id="rId15" imgW="381077" imgH="792589" progId="Acrobat.Document.DC">
                  <p:embed/>
                  <p:pic>
                    <p:nvPicPr>
                      <p:cNvPr id="12" name="Object 11">
                        <a:extLst>
                          <a:ext uri="{FF2B5EF4-FFF2-40B4-BE49-F238E27FC236}">
                            <a16:creationId xmlns:a16="http://schemas.microsoft.com/office/drawing/2014/main" id="{28453FAB-9D27-4F89-9BF5-B373A4710D96}"/>
                          </a:ext>
                        </a:extLst>
                      </p:cNvPr>
                      <p:cNvPicPr/>
                      <p:nvPr/>
                    </p:nvPicPr>
                    <p:blipFill>
                      <a:blip r:embed="rId16"/>
                      <a:stretch>
                        <a:fillRect/>
                      </a:stretch>
                    </p:blipFill>
                    <p:spPr>
                      <a:xfrm>
                        <a:off x="824465" y="5695505"/>
                        <a:ext cx="468387" cy="973855"/>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8AA95B3F-869A-41BB-BF3D-D80498595EC6}"/>
              </a:ext>
            </a:extLst>
          </p:cNvPr>
          <p:cNvPicPr>
            <a:picLocks noChangeAspect="1"/>
          </p:cNvPicPr>
          <p:nvPr/>
        </p:nvPicPr>
        <p:blipFill>
          <a:blip r:embed="rId17"/>
          <a:stretch>
            <a:fillRect/>
          </a:stretch>
        </p:blipFill>
        <p:spPr>
          <a:xfrm>
            <a:off x="407368" y="3247829"/>
            <a:ext cx="1968580" cy="541211"/>
          </a:xfrm>
          <a:prstGeom prst="rect">
            <a:avLst/>
          </a:prstGeom>
        </p:spPr>
      </p:pic>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8C8BC58-7835-47F4-9970-83903F7E04B5}"/>
                  </a:ext>
                </a:extLst>
              </p:cNvPr>
              <p:cNvSpPr txBox="1"/>
              <p:nvPr/>
            </p:nvSpPr>
            <p:spPr bwMode="auto">
              <a:xfrm>
                <a:off x="6749225" y="5994668"/>
                <a:ext cx="860813" cy="234744"/>
              </a:xfrm>
              <a:prstGeom prst="rect">
                <a:avLst/>
              </a:prstGeom>
              <a:noFill/>
              <a:ln w="9525">
                <a:noFill/>
                <a:miter lim="800000"/>
                <a:headEnd/>
                <a:tailEnd/>
              </a:ln>
              <a:effectLst/>
            </p:spPr>
            <p:txBody>
              <a:bodyPr wrap="non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de-AT" b="0" kern="0" baseline="0" dirty="0"/>
                  <a:t>E = </a:t>
                </a:r>
                <a14:m>
                  <m:oMath xmlns:m="http://schemas.openxmlformats.org/officeDocument/2006/math">
                    <m:r>
                      <a:rPr lang="sl-SI" b="0" i="1" kern="0" baseline="0" smtClean="0">
                        <a:latin typeface="Cambria Math" panose="02040503050406030204" pitchFamily="18" charset="0"/>
                      </a:rPr>
                      <m:t>𝑈</m:t>
                    </m:r>
                    <m:r>
                      <a:rPr lang="de-AT" i="1" kern="0">
                        <a:latin typeface="Cambria Math" panose="02040503050406030204" pitchFamily="18" charset="0"/>
                      </a:rPr>
                      <m:t>∙</m:t>
                    </m:r>
                    <m:r>
                      <a:rPr lang="de-AT" b="0" i="1" kern="0" smtClean="0">
                        <a:latin typeface="Cambria Math" panose="02040503050406030204" pitchFamily="18" charset="0"/>
                      </a:rPr>
                      <m:t>𝐼</m:t>
                    </m:r>
                    <m:r>
                      <a:rPr lang="de-AT" b="0" i="1" kern="0" smtClean="0">
                        <a:latin typeface="Cambria Math" panose="02040503050406030204" pitchFamily="18" charset="0"/>
                        <a:ea typeface="Cambria Math" panose="02040503050406030204" pitchFamily="18" charset="0"/>
                      </a:rPr>
                      <m:t>∙</m:t>
                    </m:r>
                    <m:r>
                      <a:rPr lang="de-AT" b="0" i="1" kern="0" smtClean="0">
                        <a:latin typeface="Cambria Math" panose="02040503050406030204" pitchFamily="18" charset="0"/>
                        <a:ea typeface="Cambria Math" panose="02040503050406030204" pitchFamily="18" charset="0"/>
                      </a:rPr>
                      <m:t>𝑡</m:t>
                    </m:r>
                  </m:oMath>
                </a14:m>
                <a:endParaRPr lang="de-AT" kern="0" baseline="0" dirty="0">
                  <a:latin typeface="+mn-lt"/>
                </a:endParaRPr>
              </a:p>
            </p:txBody>
          </p:sp>
        </mc:Choice>
        <mc:Fallback xmlns="">
          <p:sp>
            <p:nvSpPr>
              <p:cNvPr id="14" name="TextBox 13">
                <a:extLst>
                  <a:ext uri="{FF2B5EF4-FFF2-40B4-BE49-F238E27FC236}">
                    <a16:creationId xmlns:a16="http://schemas.microsoft.com/office/drawing/2014/main" id="{68C8BC58-7835-47F4-9970-83903F7E04B5}"/>
                  </a:ext>
                </a:extLst>
              </p:cNvPr>
              <p:cNvSpPr txBox="1">
                <a:spLocks noRot="1" noChangeAspect="1" noMove="1" noResize="1" noEditPoints="1" noAdjustHandles="1" noChangeArrowheads="1" noChangeShapeType="1" noTextEdit="1"/>
              </p:cNvSpPr>
              <p:nvPr/>
            </p:nvSpPr>
            <p:spPr bwMode="auto">
              <a:xfrm>
                <a:off x="6749225" y="5994668"/>
                <a:ext cx="860813" cy="234744"/>
              </a:xfrm>
              <a:prstGeom prst="rect">
                <a:avLst/>
              </a:prstGeom>
              <a:blipFill>
                <a:blip r:embed="rId18"/>
                <a:stretch>
                  <a:fillRect l="-12766" t="-12821" r="-5674" b="-46154"/>
                </a:stretch>
              </a:blipFill>
              <a:ln w="9525">
                <a:noFill/>
                <a:miter lim="800000"/>
                <a:headEnd/>
                <a:tailEnd/>
              </a:ln>
              <a:effectLst/>
            </p:spPr>
            <p:txBody>
              <a:bodyPr/>
              <a:lstStyle/>
              <a:p>
                <a:r>
                  <a:rPr lang="de-AT">
                    <a:noFill/>
                  </a:rPr>
                  <a:t> </a:t>
                </a:r>
              </a:p>
            </p:txBody>
          </p:sp>
        </mc:Fallback>
      </mc:AlternateContent>
    </p:spTree>
    <p:extLst>
      <p:ext uri="{BB962C8B-B14F-4D97-AF65-F5344CB8AC3E}">
        <p14:creationId xmlns:p14="http://schemas.microsoft.com/office/powerpoint/2010/main" val="40164876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duct and application benefits:</a:t>
            </a:r>
            <a:br>
              <a:rPr lang="en-US" dirty="0"/>
            </a:br>
            <a:r>
              <a:rPr lang="en-US" dirty="0"/>
              <a:t>IKW40N120CH7 vs IKZA40N120CH7 </a:t>
            </a:r>
          </a:p>
        </p:txBody>
      </p:sp>
      <p:graphicFrame>
        <p:nvGraphicFramePr>
          <p:cNvPr id="47" name="Chart 46">
            <a:extLst>
              <a:ext uri="{FF2B5EF4-FFF2-40B4-BE49-F238E27FC236}">
                <a16:creationId xmlns:a16="http://schemas.microsoft.com/office/drawing/2014/main" id="{76C151F8-E9DC-4F6E-B4E6-944F9E9C2E0A}"/>
              </a:ext>
            </a:extLst>
          </p:cNvPr>
          <p:cNvGraphicFramePr>
            <a:graphicFrameLocks noGrp="1"/>
          </p:cNvGraphicFramePr>
          <p:nvPr>
            <p:extLst>
              <p:ext uri="{D42A27DB-BD31-4B8C-83A1-F6EECF244321}">
                <p14:modId xmlns:p14="http://schemas.microsoft.com/office/powerpoint/2010/main" val="3274476259"/>
              </p:ext>
            </p:extLst>
          </p:nvPr>
        </p:nvGraphicFramePr>
        <p:xfrm>
          <a:off x="6000822" y="1349239"/>
          <a:ext cx="5927826" cy="4452979"/>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F26A33F5-C4BF-4704-8DD5-2A8CA0F3CF4A}"/>
              </a:ext>
            </a:extLst>
          </p:cNvPr>
          <p:cNvSpPr txBox="1"/>
          <p:nvPr/>
        </p:nvSpPr>
        <p:spPr bwMode="auto">
          <a:xfrm>
            <a:off x="9624392" y="4221088"/>
            <a:ext cx="576064" cy="565155"/>
          </a:xfrm>
          <a:prstGeom prst="rect">
            <a:avLst/>
          </a:prstGeom>
          <a:noFill/>
          <a:ln w="9525">
            <a:noFill/>
            <a:miter lim="800000"/>
            <a:headEnd/>
            <a:tailEnd/>
          </a:ln>
          <a:effectLst/>
        </p:spPr>
        <p:txBody>
          <a:bodyPr wrap="squar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600" b="1" i="0" u="none" strike="noStrike" kern="0" cap="none" spc="0" normalizeH="0" baseline="0" noProof="0" dirty="0">
                <a:ln>
                  <a:noFill/>
                </a:ln>
                <a:solidFill>
                  <a:srgbClr val="0A8276"/>
                </a:solidFill>
                <a:effectLst/>
                <a:uLnTx/>
                <a:uFillTx/>
                <a:latin typeface="Arial" panose="020B0604020202020204" pitchFamily="34" charset="0"/>
                <a:cs typeface="Times New Roman" panose="02020603050405020304" pitchFamily="18" charset="0"/>
              </a:rPr>
              <a:t>4-Pin</a:t>
            </a:r>
          </a:p>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600" b="1" i="0" u="none" strike="noStrike" kern="0" cap="none" spc="0" normalizeH="0" baseline="0" noProof="0" dirty="0">
                <a:ln>
                  <a:noFill/>
                </a:ln>
                <a:solidFill>
                  <a:srgbClr val="6CB4AD"/>
                </a:solidFill>
                <a:effectLst/>
                <a:uLnTx/>
                <a:uFillTx/>
                <a:latin typeface="Arial" panose="020B0604020202020204" pitchFamily="34" charset="0"/>
                <a:cs typeface="Times New Roman" panose="02020603050405020304" pitchFamily="18" charset="0"/>
              </a:rPr>
              <a:t>3-Pin</a:t>
            </a:r>
          </a:p>
        </p:txBody>
      </p:sp>
      <p:sp>
        <p:nvSpPr>
          <p:cNvPr id="7" name="Arrow: Down 6">
            <a:extLst>
              <a:ext uri="{FF2B5EF4-FFF2-40B4-BE49-F238E27FC236}">
                <a16:creationId xmlns:a16="http://schemas.microsoft.com/office/drawing/2014/main" id="{910A07AD-2E31-42FF-8EA8-4A242A85EC19}"/>
              </a:ext>
            </a:extLst>
          </p:cNvPr>
          <p:cNvSpPr/>
          <p:nvPr/>
        </p:nvSpPr>
        <p:spPr bwMode="auto">
          <a:xfrm>
            <a:off x="667822" y="2420888"/>
            <a:ext cx="792088" cy="1080120"/>
          </a:xfrm>
          <a:prstGeom prst="downArrow">
            <a:avLst/>
          </a:prstGeom>
          <a:solidFill>
            <a:schemeClr val="tx2"/>
          </a:solidFill>
          <a:ln w="9525">
            <a:noFill/>
            <a:miter lim="800000"/>
            <a:headEnd/>
            <a:tailEn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TextBox 7">
            <a:extLst>
              <a:ext uri="{FF2B5EF4-FFF2-40B4-BE49-F238E27FC236}">
                <a16:creationId xmlns:a16="http://schemas.microsoft.com/office/drawing/2014/main" id="{DA250D96-5252-42BF-9E42-B3CB8174DE5D}"/>
              </a:ext>
            </a:extLst>
          </p:cNvPr>
          <p:cNvSpPr txBox="1"/>
          <p:nvPr/>
        </p:nvSpPr>
        <p:spPr bwMode="auto">
          <a:xfrm>
            <a:off x="1625849" y="2512447"/>
            <a:ext cx="3390031" cy="634276"/>
          </a:xfrm>
          <a:prstGeom prst="rect">
            <a:avLst/>
          </a:prstGeom>
          <a:noFill/>
          <a:ln w="9525">
            <a:noFill/>
            <a:miter lim="800000"/>
            <a:headEnd/>
            <a:tailEnd/>
          </a:ln>
          <a:effectLst/>
        </p:spPr>
        <p:txBody>
          <a:bodyPr wrap="none" lIns="0" tIns="0" rIns="0" bIns="0" rtlCol="0" anchor="t" anchorCtr="0">
            <a:spAutoFit/>
          </a:bodyPr>
          <a:lstStyle/>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0" i="0" u="none" strike="noStrike" kern="0" cap="none" spc="0" normalizeH="0" baseline="0" noProof="0" dirty="0">
                <a:ln>
                  <a:noFill/>
                </a:ln>
                <a:solidFill>
                  <a:srgbClr val="1D1D1D"/>
                </a:solidFill>
                <a:effectLst/>
                <a:uLnTx/>
                <a:uFillTx/>
                <a:latin typeface="Arial"/>
                <a:ea typeface="+mn-ea"/>
                <a:cs typeface="Arial"/>
              </a:rPr>
              <a:t>~ </a:t>
            </a:r>
            <a:r>
              <a:rPr kumimoji="0" lang="en-US" sz="1800" b="1" i="0" u="none" strike="noStrike" kern="0" cap="none" spc="0" normalizeH="0" baseline="0" noProof="0" dirty="0">
                <a:ln>
                  <a:noFill/>
                </a:ln>
                <a:solidFill>
                  <a:srgbClr val="F97414"/>
                </a:solidFill>
                <a:effectLst/>
                <a:uLnTx/>
                <a:uFillTx/>
                <a:latin typeface="Arial"/>
                <a:ea typeface="+mn-ea"/>
                <a:cs typeface="Arial"/>
              </a:rPr>
              <a:t>30% </a:t>
            </a:r>
            <a:r>
              <a:rPr kumimoji="0" lang="en-US" sz="1800" b="0" i="0" u="none" strike="noStrike" kern="0" cap="none" spc="0" normalizeH="0" baseline="0" noProof="0" dirty="0">
                <a:ln>
                  <a:noFill/>
                </a:ln>
                <a:solidFill>
                  <a:srgbClr val="1D1D1D"/>
                </a:solidFill>
                <a:effectLst/>
                <a:uLnTx/>
                <a:uFillTx/>
                <a:latin typeface="Arial"/>
                <a:ea typeface="+mn-ea"/>
                <a:cs typeface="Arial"/>
              </a:rPr>
              <a:t>lower losses</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0" i="0" u="none" strike="noStrike" kern="0" cap="none" spc="0" normalizeH="0" baseline="0" noProof="0" dirty="0">
                <a:ln>
                  <a:noFill/>
                </a:ln>
                <a:solidFill>
                  <a:srgbClr val="1D1D1D"/>
                </a:solidFill>
                <a:effectLst/>
                <a:uLnTx/>
                <a:uFillTx/>
                <a:latin typeface="Arial"/>
                <a:ea typeface="+mn-ea"/>
                <a:cs typeface="Arial"/>
              </a:rPr>
              <a:t>~ </a:t>
            </a:r>
            <a:r>
              <a:rPr kumimoji="0" lang="en-US" sz="1800" b="1" i="0" u="none" strike="noStrike" kern="0" cap="none" spc="0" normalizeH="0" baseline="0" noProof="0" dirty="0">
                <a:ln>
                  <a:noFill/>
                </a:ln>
                <a:solidFill>
                  <a:srgbClr val="F97414"/>
                </a:solidFill>
                <a:effectLst/>
                <a:uLnTx/>
                <a:uFillTx/>
                <a:latin typeface="Arial"/>
                <a:ea typeface="+mn-ea"/>
                <a:cs typeface="Arial"/>
              </a:rPr>
              <a:t>19% </a:t>
            </a:r>
            <a:r>
              <a:rPr kumimoji="0" lang="en-US" sz="1800" b="0" i="0" u="none" strike="noStrike" kern="0" cap="none" spc="0" normalizeH="0" baseline="0" noProof="0" dirty="0">
                <a:ln>
                  <a:noFill/>
                </a:ln>
                <a:solidFill>
                  <a:srgbClr val="1D1D1D"/>
                </a:solidFill>
                <a:effectLst/>
                <a:uLnTx/>
                <a:uFillTx/>
                <a:latin typeface="Arial"/>
                <a:ea typeface="+mn-ea"/>
                <a:cs typeface="Arial"/>
              </a:rPr>
              <a:t>lower case temperature</a:t>
            </a:r>
          </a:p>
        </p:txBody>
      </p:sp>
      <p:sp>
        <p:nvSpPr>
          <p:cNvPr id="48" name="Arrow: Down 47">
            <a:extLst>
              <a:ext uri="{FF2B5EF4-FFF2-40B4-BE49-F238E27FC236}">
                <a16:creationId xmlns:a16="http://schemas.microsoft.com/office/drawing/2014/main" id="{C3411A6E-36CA-4B80-B31A-07349354E9EB}"/>
              </a:ext>
            </a:extLst>
          </p:cNvPr>
          <p:cNvSpPr/>
          <p:nvPr/>
        </p:nvSpPr>
        <p:spPr bwMode="auto">
          <a:xfrm rot="10800000">
            <a:off x="1723686" y="3573016"/>
            <a:ext cx="792088" cy="1080120"/>
          </a:xfrm>
          <a:prstGeom prst="downArrow">
            <a:avLst/>
          </a:prstGeom>
          <a:solidFill>
            <a:schemeClr val="tx2"/>
          </a:solidFill>
          <a:ln w="9525">
            <a:noFill/>
            <a:miter lim="800000"/>
            <a:headEnd/>
            <a:tailEn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49" name="TextBox 48">
            <a:extLst>
              <a:ext uri="{FF2B5EF4-FFF2-40B4-BE49-F238E27FC236}">
                <a16:creationId xmlns:a16="http://schemas.microsoft.com/office/drawing/2014/main" id="{F58D6B7C-BCE4-420A-A7AE-727ED190EEC7}"/>
              </a:ext>
            </a:extLst>
          </p:cNvPr>
          <p:cNvSpPr txBox="1"/>
          <p:nvPr/>
        </p:nvSpPr>
        <p:spPr bwMode="auto">
          <a:xfrm>
            <a:off x="2681713" y="3832883"/>
            <a:ext cx="2992486" cy="634276"/>
          </a:xfrm>
          <a:prstGeom prst="rect">
            <a:avLst/>
          </a:prstGeom>
          <a:noFill/>
          <a:ln w="9525">
            <a:noFill/>
            <a:miter lim="800000"/>
            <a:headEnd/>
            <a:tailEnd/>
          </a:ln>
          <a:effectLst/>
        </p:spPr>
        <p:txBody>
          <a:bodyPr wrap="none" lIns="0" tIns="0" rIns="0" bIns="0" rtlCol="0" anchor="t" anchorCtr="0">
            <a:spAutoFit/>
          </a:bodyPr>
          <a:lstStyle/>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0" i="0" u="none" strike="noStrike" kern="0" cap="none" spc="0" normalizeH="0" baseline="0" noProof="0" dirty="0">
                <a:ln>
                  <a:noFill/>
                </a:ln>
                <a:solidFill>
                  <a:srgbClr val="1D1D1D"/>
                </a:solidFill>
                <a:effectLst/>
                <a:uLnTx/>
                <a:uFillTx/>
                <a:latin typeface="Arial"/>
                <a:ea typeface="+mn-ea"/>
                <a:cs typeface="Arial"/>
              </a:rPr>
              <a:t>~ </a:t>
            </a:r>
            <a:r>
              <a:rPr kumimoji="0" lang="en-US" sz="1800" b="1" i="0" u="none" strike="noStrike" kern="0" cap="none" spc="0" normalizeH="0" baseline="0" noProof="0" dirty="0">
                <a:ln>
                  <a:noFill/>
                </a:ln>
                <a:solidFill>
                  <a:srgbClr val="F97414"/>
                </a:solidFill>
                <a:effectLst/>
                <a:uLnTx/>
                <a:uFillTx/>
                <a:latin typeface="Arial"/>
                <a:ea typeface="+mn-ea"/>
                <a:cs typeface="Arial"/>
              </a:rPr>
              <a:t>17% </a:t>
            </a:r>
            <a:r>
              <a:rPr kumimoji="0" lang="en-US" sz="1800" b="0" i="0" u="none" strike="noStrike" kern="0" cap="none" spc="0" normalizeH="0" baseline="0" noProof="0" dirty="0">
                <a:ln>
                  <a:noFill/>
                </a:ln>
                <a:solidFill>
                  <a:srgbClr val="1D1D1D"/>
                </a:solidFill>
                <a:effectLst/>
                <a:uLnTx/>
                <a:uFillTx/>
                <a:latin typeface="Arial"/>
                <a:ea typeface="+mn-ea"/>
                <a:cs typeface="Arial"/>
              </a:rPr>
              <a:t>more output current</a:t>
            </a:r>
          </a:p>
          <a:p>
            <a:pPr marL="252000" marR="0" lvl="0" indent="-252000" algn="l" defTabSz="576000" rtl="0" eaLnBrk="0" fontAlgn="auto" latinLnBrk="0" hangingPunct="0">
              <a:lnSpc>
                <a:spcPct val="120000"/>
              </a:lnSpc>
              <a:spcBef>
                <a:spcPts val="0"/>
              </a:spcBef>
              <a:spcAft>
                <a:spcPts val="0"/>
              </a:spcAft>
              <a:buClr>
                <a:srgbClr val="0A8276"/>
              </a:buClr>
              <a:buSzTx/>
              <a:buFont typeface="Arial" panose="020B0604020202020204" pitchFamily="34" charset="0"/>
              <a:buChar char="‒"/>
              <a:tabLst/>
              <a:defRPr/>
            </a:pPr>
            <a:r>
              <a:rPr kumimoji="0" lang="en-US" sz="1800" b="0" i="0" u="none" strike="noStrike" kern="0" cap="none" spc="0" normalizeH="0" baseline="0" noProof="0" dirty="0">
                <a:ln>
                  <a:noFill/>
                </a:ln>
                <a:solidFill>
                  <a:srgbClr val="1D1D1D"/>
                </a:solidFill>
                <a:effectLst/>
                <a:uLnTx/>
                <a:uFillTx/>
                <a:latin typeface="Arial"/>
                <a:ea typeface="+mn-ea"/>
                <a:cs typeface="Arial"/>
              </a:rPr>
              <a:t>~ </a:t>
            </a:r>
            <a:r>
              <a:rPr kumimoji="0" lang="en-US" sz="1800" b="1" i="0" u="none" strike="noStrike" kern="0" cap="none" spc="0" normalizeH="0" baseline="0" noProof="0" dirty="0">
                <a:ln>
                  <a:noFill/>
                </a:ln>
                <a:solidFill>
                  <a:srgbClr val="F97414"/>
                </a:solidFill>
                <a:effectLst/>
                <a:uLnTx/>
                <a:uFillTx/>
                <a:latin typeface="Arial"/>
                <a:ea typeface="+mn-ea"/>
                <a:cs typeface="Arial"/>
              </a:rPr>
              <a:t>30% </a:t>
            </a:r>
            <a:r>
              <a:rPr kumimoji="0" lang="en-US" sz="1800" b="0" i="0" u="none" strike="noStrike" kern="0" cap="none" spc="0" normalizeH="0" baseline="0" noProof="0" dirty="0">
                <a:ln>
                  <a:noFill/>
                </a:ln>
                <a:solidFill>
                  <a:srgbClr val="1D1D1D"/>
                </a:solidFill>
                <a:effectLst/>
                <a:uLnTx/>
                <a:uFillTx/>
                <a:latin typeface="Arial"/>
                <a:ea typeface="+mn-ea"/>
                <a:cs typeface="Arial"/>
              </a:rPr>
              <a:t>dv/dt or di/dt</a:t>
            </a:r>
          </a:p>
        </p:txBody>
      </p:sp>
      <p:sp>
        <p:nvSpPr>
          <p:cNvPr id="50" name="Rechteck 21">
            <a:extLst>
              <a:ext uri="{FF2B5EF4-FFF2-40B4-BE49-F238E27FC236}">
                <a16:creationId xmlns:a16="http://schemas.microsoft.com/office/drawing/2014/main" id="{C10F0FE6-9BA5-41B0-8D2B-384BD921EB3B}"/>
              </a:ext>
            </a:extLst>
          </p:cNvPr>
          <p:cNvSpPr/>
          <p:nvPr/>
        </p:nvSpPr>
        <p:spPr bwMode="auto">
          <a:xfrm>
            <a:off x="662079" y="5301568"/>
            <a:ext cx="5424487" cy="935744"/>
          </a:xfrm>
          <a:prstGeom prst="rect">
            <a:avLst/>
          </a:prstGeom>
          <a:solidFill>
            <a:schemeClr val="tx2"/>
          </a:solidFill>
          <a:ln w="9525">
            <a:noFill/>
            <a:miter lim="800000"/>
            <a:headEnd/>
            <a:tailEnd/>
          </a:ln>
        </p:spPr>
        <p:txBody>
          <a:bodyPr wrap="square" lIns="0" tIns="0" rIns="0" bIns="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cs typeface="Arial"/>
              </a:rPr>
              <a:t>  IGBT7 is faster compared to previous generations.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Arial"/>
                <a:cs typeface="Arial"/>
              </a:rPr>
              <a:t>  </a:t>
            </a:r>
            <a:r>
              <a:rPr kumimoji="0" lang="en-US" sz="1400" b="0" u="none" strike="noStrike" kern="1200" cap="none" spc="0" normalizeH="0" baseline="0" noProof="0" dirty="0">
                <a:ln>
                  <a:noFill/>
                </a:ln>
                <a:solidFill>
                  <a:srgbClr val="FFFFFF"/>
                </a:solidFill>
                <a:effectLst/>
                <a:uLnTx/>
                <a:uFillTx/>
                <a:latin typeface="Arial"/>
                <a:cs typeface="Arial"/>
              </a:rPr>
              <a:t>The 4-pin devices are suggested to have better controllability and to  </a:t>
            </a:r>
          </a:p>
          <a:p>
            <a:pPr marL="0" marR="0" lvl="0" indent="0" algn="l" defTabSz="914400" rtl="0" eaLnBrk="1" fontAlgn="base" latinLnBrk="0" hangingPunct="1">
              <a:lnSpc>
                <a:spcPct val="100000"/>
              </a:lnSpc>
              <a:spcBef>
                <a:spcPct val="0"/>
              </a:spcBef>
              <a:spcAft>
                <a:spcPct val="0"/>
              </a:spcAft>
              <a:buClrTx/>
              <a:buSzTx/>
              <a:buFontTx/>
              <a:buNone/>
              <a:tabLst/>
              <a:defRPr/>
            </a:pPr>
            <a:r>
              <a:rPr lang="en-US" dirty="0">
                <a:solidFill>
                  <a:srgbClr val="FFFFFF"/>
                </a:solidFill>
                <a:latin typeface="Arial"/>
                <a:cs typeface="Arial"/>
              </a:rPr>
              <a:t>  </a:t>
            </a:r>
            <a:r>
              <a:rPr kumimoji="0" lang="en-US" sz="1400" b="0" u="none" strike="noStrike" kern="1200" cap="none" spc="0" normalizeH="0" baseline="0" noProof="0" dirty="0">
                <a:ln>
                  <a:noFill/>
                </a:ln>
                <a:solidFill>
                  <a:srgbClr val="FFFFFF"/>
                </a:solidFill>
                <a:effectLst/>
                <a:uLnTx/>
                <a:uFillTx/>
                <a:latin typeface="Arial"/>
                <a:cs typeface="Arial"/>
              </a:rPr>
              <a:t>achieve higher dv/dt or di/dt.</a:t>
            </a:r>
          </a:p>
        </p:txBody>
      </p:sp>
      <p:sp>
        <p:nvSpPr>
          <p:cNvPr id="51" name="Rechteck 2">
            <a:extLst>
              <a:ext uri="{FF2B5EF4-FFF2-40B4-BE49-F238E27FC236}">
                <a16:creationId xmlns:a16="http://schemas.microsoft.com/office/drawing/2014/main" id="{37D4EA2B-46D6-43DC-8FAC-B9B443381044}"/>
              </a:ext>
            </a:extLst>
          </p:cNvPr>
          <p:cNvSpPr/>
          <p:nvPr>
            <p:custDataLst>
              <p:tags r:id="rId2"/>
            </p:custDataLst>
          </p:nvPr>
        </p:nvSpPr>
        <p:spPr>
          <a:xfrm>
            <a:off x="335360" y="5301567"/>
            <a:ext cx="323967" cy="935744"/>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cs typeface="Arial"/>
                <a:sym typeface="Wingdings" panose="05000000000000000000" pitchFamily="2" charset="2"/>
              </a:rPr>
              <a:t></a:t>
            </a:r>
            <a:endParaRPr kumimoji="0" lang="en-US" sz="2000" b="1" i="0" u="none" strike="noStrike" kern="1200" cap="none" spc="0" normalizeH="0" baseline="0" noProof="0" dirty="0">
              <a:ln>
                <a:noFill/>
              </a:ln>
              <a:solidFill>
                <a:srgbClr val="FFFFFF"/>
              </a:solidFill>
              <a:effectLst/>
              <a:uLnTx/>
              <a:uFillTx/>
              <a:latin typeface="Arial"/>
              <a:cs typeface="Arial"/>
            </a:endParaRPr>
          </a:p>
        </p:txBody>
      </p:sp>
      <p:pic>
        <p:nvPicPr>
          <p:cNvPr id="52" name="Picture 51">
            <a:extLst>
              <a:ext uri="{FF2B5EF4-FFF2-40B4-BE49-F238E27FC236}">
                <a16:creationId xmlns:a16="http://schemas.microsoft.com/office/drawing/2014/main" id="{D68F043C-ECC1-4D80-8E80-CCDE5B75F8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5522" y="4439809"/>
            <a:ext cx="697632" cy="697632"/>
          </a:xfrm>
          <a:prstGeom prst="rect">
            <a:avLst/>
          </a:prstGeom>
        </p:spPr>
      </p:pic>
      <p:sp>
        <p:nvSpPr>
          <p:cNvPr id="53" name="TextBox 52">
            <a:extLst>
              <a:ext uri="{FF2B5EF4-FFF2-40B4-BE49-F238E27FC236}">
                <a16:creationId xmlns:a16="http://schemas.microsoft.com/office/drawing/2014/main" id="{949E80BC-AE2E-478F-A86C-5384918E7E29}"/>
              </a:ext>
            </a:extLst>
          </p:cNvPr>
          <p:cNvSpPr txBox="1"/>
          <p:nvPr/>
        </p:nvSpPr>
        <p:spPr bwMode="auto">
          <a:xfrm>
            <a:off x="6132720" y="5661248"/>
            <a:ext cx="5651912" cy="581698"/>
          </a:xfrm>
          <a:prstGeom prst="rect">
            <a:avLst/>
          </a:prstGeom>
          <a:solidFill>
            <a:srgbClr val="6CB4AD">
              <a:alpha val="60000"/>
            </a:srgbClr>
          </a:solidFill>
          <a:ln w="9525">
            <a:noFill/>
            <a:miter lim="800000"/>
            <a:headEnd/>
            <a:tailEnd/>
          </a:ln>
          <a:effectLst/>
        </p:spPr>
        <p:txBody>
          <a:bodyPr wrap="squar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60" b="1" i="0" u="none" strike="noStrike" kern="1200" cap="none" spc="0" normalizeH="0" baseline="0" noProof="0" dirty="0">
                <a:ln>
                  <a:noFill/>
                </a:ln>
                <a:effectLst/>
                <a:uLnTx/>
                <a:uFillTx/>
                <a:latin typeface="Arial"/>
                <a:cs typeface="Arial"/>
              </a:rPr>
              <a:t>The test conditions</a:t>
            </a:r>
          </a:p>
          <a:p>
            <a:pPr marL="0" marR="0" lvl="0" indent="0" algn="l" defTabSz="822960" rtl="0" eaLnBrk="1" fontAlgn="base" latinLnBrk="0" hangingPunct="1">
              <a:lnSpc>
                <a:spcPct val="100000"/>
              </a:lnSpc>
              <a:spcBef>
                <a:spcPct val="0"/>
              </a:spcBef>
              <a:spcAft>
                <a:spcPct val="0"/>
              </a:spcAft>
              <a:buClrTx/>
              <a:buSzTx/>
              <a:buFontTx/>
              <a:buNone/>
              <a:tabLst/>
              <a:defRPr/>
            </a:pPr>
            <a:r>
              <a:rPr kumimoji="0" lang="en-US" sz="1260" b="0" i="0" u="none" strike="noStrike" kern="1200" cap="none" spc="0" normalizeH="0" baseline="0" noProof="0" dirty="0">
                <a:ln>
                  <a:noFill/>
                </a:ln>
                <a:solidFill>
                  <a:srgbClr val="1D1D1D"/>
                </a:solidFill>
                <a:effectLst/>
                <a:uLnTx/>
                <a:uFillTx/>
                <a:latin typeface="Arial"/>
                <a:cs typeface="Arial"/>
              </a:rPr>
              <a:t> </a:t>
            </a:r>
            <a:r>
              <a:rPr kumimoji="0" lang="en-US" sz="1260" b="0" i="0" u="none" strike="noStrike" kern="1200" cap="none" spc="0" normalizeH="0" baseline="0" noProof="0" dirty="0" err="1">
                <a:ln>
                  <a:noFill/>
                </a:ln>
                <a:solidFill>
                  <a:srgbClr val="1D1D1D"/>
                </a:solidFill>
                <a:effectLst/>
                <a:uLnTx/>
                <a:uFillTx/>
                <a:latin typeface="Arial"/>
                <a:cs typeface="Arial"/>
              </a:rPr>
              <a:t>I</a:t>
            </a:r>
            <a:r>
              <a:rPr kumimoji="0" lang="en-US" sz="1260" b="0" i="0" u="none" strike="noStrike" kern="1200" cap="none" spc="0" normalizeH="0" baseline="-25000" noProof="0" dirty="0" err="1">
                <a:ln>
                  <a:noFill/>
                </a:ln>
                <a:solidFill>
                  <a:srgbClr val="1D1D1D"/>
                </a:solidFill>
                <a:effectLst/>
                <a:uLnTx/>
                <a:uFillTx/>
                <a:latin typeface="Arial"/>
                <a:cs typeface="Arial"/>
              </a:rPr>
              <a:t>out</a:t>
            </a:r>
            <a:r>
              <a:rPr kumimoji="0" lang="en-US" sz="1260" b="0" i="0" u="none" strike="noStrike" kern="1200" cap="none" spc="0" normalizeH="0" baseline="0" noProof="0" dirty="0">
                <a:ln>
                  <a:noFill/>
                </a:ln>
                <a:solidFill>
                  <a:srgbClr val="1D1D1D"/>
                </a:solidFill>
                <a:effectLst/>
                <a:uLnTx/>
                <a:uFillTx/>
                <a:latin typeface="Arial"/>
                <a:cs typeface="Arial"/>
              </a:rPr>
              <a:t>= 20 Arms, </a:t>
            </a:r>
            <a:r>
              <a:rPr kumimoji="0" lang="en-US" sz="1260" b="0" i="0" u="none" strike="noStrike" kern="1200" cap="none" spc="0" normalizeH="0" baseline="0" noProof="0" dirty="0" err="1">
                <a:ln>
                  <a:noFill/>
                </a:ln>
                <a:solidFill>
                  <a:srgbClr val="1D1D1D"/>
                </a:solidFill>
                <a:effectLst/>
                <a:uLnTx/>
                <a:uFillTx/>
                <a:latin typeface="Arial"/>
                <a:cs typeface="Arial"/>
              </a:rPr>
              <a:t>Vout</a:t>
            </a:r>
            <a:r>
              <a:rPr kumimoji="0" lang="en-US" sz="1260" b="0" i="0" u="none" strike="noStrike" kern="1200" cap="none" spc="0" normalizeH="0" baseline="0" noProof="0" dirty="0">
                <a:ln>
                  <a:noFill/>
                </a:ln>
                <a:solidFill>
                  <a:srgbClr val="1D1D1D"/>
                </a:solidFill>
                <a:effectLst/>
                <a:uLnTx/>
                <a:uFillTx/>
                <a:latin typeface="Arial"/>
                <a:cs typeface="Arial"/>
              </a:rPr>
              <a:t> = 230V</a:t>
            </a:r>
            <a:r>
              <a:rPr kumimoji="0" lang="en-US" sz="1260" b="0" i="0" u="none" strike="noStrike" kern="1200" cap="none" spc="0" normalizeH="0" baseline="-25000" noProof="0" dirty="0">
                <a:ln>
                  <a:noFill/>
                </a:ln>
                <a:solidFill>
                  <a:srgbClr val="1D1D1D"/>
                </a:solidFill>
                <a:effectLst/>
                <a:uLnTx/>
                <a:uFillTx/>
                <a:latin typeface="Arial"/>
                <a:cs typeface="Arial"/>
              </a:rPr>
              <a:t>RMS</a:t>
            </a:r>
            <a:r>
              <a:rPr kumimoji="0" lang="en-US" sz="1260" b="0" i="0" u="none" strike="noStrike" kern="1200" cap="none" spc="0" normalizeH="0" baseline="0" noProof="0" dirty="0">
                <a:ln>
                  <a:noFill/>
                </a:ln>
                <a:solidFill>
                  <a:srgbClr val="1D1D1D"/>
                </a:solidFill>
                <a:effectLst/>
                <a:uLnTx/>
                <a:uFillTx/>
                <a:latin typeface="Arial"/>
                <a:cs typeface="Arial"/>
              </a:rPr>
              <a:t>, Vin = 800V, </a:t>
            </a:r>
            <a:r>
              <a:rPr kumimoji="0" lang="en-US" sz="1260" b="0" i="0" u="none" strike="noStrike" kern="1200" cap="none" spc="0" normalizeH="0" baseline="0" noProof="0" dirty="0" err="1">
                <a:ln>
                  <a:noFill/>
                </a:ln>
                <a:solidFill>
                  <a:srgbClr val="1D1D1D"/>
                </a:solidFill>
                <a:effectLst/>
                <a:uLnTx/>
                <a:uFillTx/>
                <a:latin typeface="Arial"/>
                <a:cs typeface="Arial"/>
              </a:rPr>
              <a:t>Fpwm</a:t>
            </a:r>
            <a:r>
              <a:rPr kumimoji="0" lang="en-US" sz="1260" b="0" i="0" u="none" strike="noStrike" kern="1200" cap="none" spc="0" normalizeH="0" baseline="0" noProof="0" dirty="0">
                <a:ln>
                  <a:noFill/>
                </a:ln>
                <a:solidFill>
                  <a:srgbClr val="1D1D1D"/>
                </a:solidFill>
                <a:effectLst/>
                <a:uLnTx/>
                <a:uFillTx/>
                <a:latin typeface="Arial"/>
                <a:cs typeface="Arial"/>
              </a:rPr>
              <a:t> = 33.3 kHz, Pout = 4kW, </a:t>
            </a:r>
            <a:r>
              <a:rPr kumimoji="0" lang="en-US" sz="1260" b="0" i="0" u="none" strike="noStrike" kern="1200" cap="none" spc="0" normalizeH="0" baseline="0" noProof="0" dirty="0" err="1">
                <a:ln>
                  <a:noFill/>
                </a:ln>
                <a:solidFill>
                  <a:srgbClr val="1D1D1D"/>
                </a:solidFill>
                <a:effectLst/>
                <a:uLnTx/>
                <a:uFillTx/>
                <a:latin typeface="Arial"/>
                <a:cs typeface="Arial"/>
              </a:rPr>
              <a:t>Tj</a:t>
            </a:r>
            <a:r>
              <a:rPr kumimoji="0" lang="en-US" sz="1260" b="0" i="0" u="none" strike="noStrike" kern="1200" cap="none" spc="0" normalizeH="0" baseline="0" noProof="0" dirty="0">
                <a:ln>
                  <a:noFill/>
                </a:ln>
                <a:solidFill>
                  <a:srgbClr val="1D1D1D"/>
                </a:solidFill>
                <a:effectLst/>
                <a:uLnTx/>
                <a:uFillTx/>
                <a:latin typeface="Arial"/>
                <a:cs typeface="Arial"/>
              </a:rPr>
              <a:t>=130°C, Rg(on/off) = 10 ohm</a:t>
            </a:r>
          </a:p>
        </p:txBody>
      </p:sp>
      <p:cxnSp>
        <p:nvCxnSpPr>
          <p:cNvPr id="10" name="Straight Arrow Connector 9">
            <a:extLst>
              <a:ext uri="{FF2B5EF4-FFF2-40B4-BE49-F238E27FC236}">
                <a16:creationId xmlns:a16="http://schemas.microsoft.com/office/drawing/2014/main" id="{EE59FEE6-4414-4407-8013-5956D381BB69}"/>
              </a:ext>
            </a:extLst>
          </p:cNvPr>
          <p:cNvCxnSpPr>
            <a:cxnSpLocks/>
          </p:cNvCxnSpPr>
          <p:nvPr/>
        </p:nvCxnSpPr>
        <p:spPr>
          <a:xfrm>
            <a:off x="8112224" y="1988840"/>
            <a:ext cx="0" cy="216024"/>
          </a:xfrm>
          <a:prstGeom prst="straightConnector1">
            <a:avLst/>
          </a:prstGeom>
          <a:ln w="28575">
            <a:solidFill>
              <a:srgbClr val="F97414"/>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2C35E6D-4D7B-4215-9C62-B670FEFA5D14}"/>
              </a:ext>
            </a:extLst>
          </p:cNvPr>
          <p:cNvSpPr txBox="1"/>
          <p:nvPr/>
        </p:nvSpPr>
        <p:spPr bwMode="auto">
          <a:xfrm>
            <a:off x="7968208" y="2253413"/>
            <a:ext cx="408766" cy="23474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400" b="1" i="0" u="none" strike="noStrike" kern="0" cap="none" spc="0" normalizeH="0" baseline="0" noProof="0" dirty="0">
                <a:ln>
                  <a:noFill/>
                </a:ln>
                <a:solidFill>
                  <a:srgbClr val="F97414"/>
                </a:solidFill>
                <a:effectLst/>
                <a:uLnTx/>
                <a:uFillTx/>
                <a:latin typeface="Arial" panose="020B0604020202020204" pitchFamily="34" charset="0"/>
                <a:cs typeface="Times New Roman" panose="02020603050405020304" pitchFamily="18" charset="0"/>
              </a:rPr>
              <a:t>0.1%</a:t>
            </a:r>
          </a:p>
        </p:txBody>
      </p:sp>
      <p:cxnSp>
        <p:nvCxnSpPr>
          <p:cNvPr id="21" name="Straight Arrow Connector 20">
            <a:extLst>
              <a:ext uri="{FF2B5EF4-FFF2-40B4-BE49-F238E27FC236}">
                <a16:creationId xmlns:a16="http://schemas.microsoft.com/office/drawing/2014/main" id="{F4BCB7C8-D61F-4BA3-9EDF-B316EC2250D1}"/>
              </a:ext>
            </a:extLst>
          </p:cNvPr>
          <p:cNvCxnSpPr>
            <a:cxnSpLocks/>
          </p:cNvCxnSpPr>
          <p:nvPr/>
        </p:nvCxnSpPr>
        <p:spPr>
          <a:xfrm>
            <a:off x="11136560" y="1916832"/>
            <a:ext cx="0" cy="504056"/>
          </a:xfrm>
          <a:prstGeom prst="straightConnector1">
            <a:avLst/>
          </a:prstGeom>
          <a:ln w="28575">
            <a:solidFill>
              <a:srgbClr val="F97414"/>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37CC9BF-43A5-4688-8CB9-2AD790F5CD47}"/>
              </a:ext>
            </a:extLst>
          </p:cNvPr>
          <p:cNvSpPr txBox="1"/>
          <p:nvPr/>
        </p:nvSpPr>
        <p:spPr bwMode="auto">
          <a:xfrm>
            <a:off x="10630837" y="1758326"/>
            <a:ext cx="400751" cy="23474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400" b="1" i="0" u="none" strike="noStrike" kern="0" cap="none" spc="0" normalizeH="0" baseline="0" noProof="0" dirty="0">
                <a:ln>
                  <a:noFill/>
                </a:ln>
                <a:solidFill>
                  <a:srgbClr val="F97414"/>
                </a:solidFill>
                <a:effectLst/>
                <a:uLnTx/>
                <a:uFillTx/>
                <a:latin typeface="Arial" panose="020B0604020202020204" pitchFamily="34" charset="0"/>
                <a:cs typeface="Times New Roman" panose="02020603050405020304" pitchFamily="18" charset="0"/>
              </a:rPr>
              <a:t>15°C</a:t>
            </a:r>
          </a:p>
        </p:txBody>
      </p:sp>
      <p:grpSp>
        <p:nvGrpSpPr>
          <p:cNvPr id="17" name="Group 16">
            <a:extLst>
              <a:ext uri="{FF2B5EF4-FFF2-40B4-BE49-F238E27FC236}">
                <a16:creationId xmlns:a16="http://schemas.microsoft.com/office/drawing/2014/main" id="{1C626089-EB6C-494A-8244-52FEEAE1F936}"/>
              </a:ext>
            </a:extLst>
          </p:cNvPr>
          <p:cNvGrpSpPr/>
          <p:nvPr/>
        </p:nvGrpSpPr>
        <p:grpSpPr>
          <a:xfrm rot="1189405">
            <a:off x="1233164" y="996359"/>
            <a:ext cx="970111" cy="1139675"/>
            <a:chOff x="422804" y="1683675"/>
            <a:chExt cx="1203006" cy="1751823"/>
          </a:xfrm>
        </p:grpSpPr>
        <p:pic>
          <p:nvPicPr>
            <p:cNvPr id="18" name="Picture 17">
              <a:extLst>
                <a:ext uri="{FF2B5EF4-FFF2-40B4-BE49-F238E27FC236}">
                  <a16:creationId xmlns:a16="http://schemas.microsoft.com/office/drawing/2014/main" id="{BB765EA3-FEDD-4BFF-AC06-E41A0855F3B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20055641">
              <a:off x="422804" y="1683675"/>
              <a:ext cx="1203006" cy="1582901"/>
            </a:xfrm>
            <a:prstGeom prst="rect">
              <a:avLst/>
            </a:prstGeom>
          </p:spPr>
        </p:pic>
        <p:sp>
          <p:nvSpPr>
            <p:cNvPr id="19" name="TextBox 18">
              <a:extLst>
                <a:ext uri="{FF2B5EF4-FFF2-40B4-BE49-F238E27FC236}">
                  <a16:creationId xmlns:a16="http://schemas.microsoft.com/office/drawing/2014/main" id="{26A78B04-127D-440F-91AD-130846AAF6C6}"/>
                </a:ext>
              </a:extLst>
            </p:cNvPr>
            <p:cNvSpPr txBox="1"/>
            <p:nvPr/>
          </p:nvSpPr>
          <p:spPr bwMode="auto">
            <a:xfrm>
              <a:off x="696682" y="3151938"/>
              <a:ext cx="135173" cy="283560"/>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0000"/>
                  </a:solidFill>
                  <a:effectLst/>
                  <a:uLnTx/>
                  <a:uFillTx/>
                  <a:latin typeface="Arial"/>
                  <a:ea typeface="+mn-ea"/>
                  <a:cs typeface="Arial"/>
                </a:rPr>
                <a:t>G</a:t>
              </a:r>
            </a:p>
          </p:txBody>
        </p:sp>
        <p:sp>
          <p:nvSpPr>
            <p:cNvPr id="20" name="TextBox 19">
              <a:extLst>
                <a:ext uri="{FF2B5EF4-FFF2-40B4-BE49-F238E27FC236}">
                  <a16:creationId xmlns:a16="http://schemas.microsoft.com/office/drawing/2014/main" id="{920D4C8A-AC81-420C-A947-0A435216C985}"/>
                </a:ext>
              </a:extLst>
            </p:cNvPr>
            <p:cNvSpPr txBox="1"/>
            <p:nvPr/>
          </p:nvSpPr>
          <p:spPr bwMode="auto">
            <a:xfrm>
              <a:off x="907435" y="3149275"/>
              <a:ext cx="127221" cy="283560"/>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9C216E"/>
                  </a:solidFill>
                  <a:effectLst/>
                  <a:uLnTx/>
                  <a:uFillTx/>
                  <a:latin typeface="Arial"/>
                  <a:cs typeface="Arial"/>
                </a:rPr>
                <a:t>C</a:t>
              </a:r>
            </a:p>
          </p:txBody>
        </p:sp>
        <p:sp>
          <p:nvSpPr>
            <p:cNvPr id="22" name="TextBox 21">
              <a:extLst>
                <a:ext uri="{FF2B5EF4-FFF2-40B4-BE49-F238E27FC236}">
                  <a16:creationId xmlns:a16="http://schemas.microsoft.com/office/drawing/2014/main" id="{87DC5739-C123-4AFA-8A58-48566CC43781}"/>
                </a:ext>
              </a:extLst>
            </p:cNvPr>
            <p:cNvSpPr txBox="1"/>
            <p:nvPr/>
          </p:nvSpPr>
          <p:spPr bwMode="auto">
            <a:xfrm>
              <a:off x="1112091" y="3149276"/>
              <a:ext cx="117283" cy="283560"/>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97414"/>
                  </a:solidFill>
                  <a:effectLst/>
                  <a:uLnTx/>
                  <a:uFillTx/>
                  <a:latin typeface="Arial"/>
                  <a:cs typeface="Arial"/>
                </a:rPr>
                <a:t>E</a:t>
              </a:r>
            </a:p>
          </p:txBody>
        </p:sp>
      </p:grpSp>
      <p:grpSp>
        <p:nvGrpSpPr>
          <p:cNvPr id="24" name="Group 23">
            <a:extLst>
              <a:ext uri="{FF2B5EF4-FFF2-40B4-BE49-F238E27FC236}">
                <a16:creationId xmlns:a16="http://schemas.microsoft.com/office/drawing/2014/main" id="{05A13237-CC08-4DAF-A896-792FB3FF5B26}"/>
              </a:ext>
            </a:extLst>
          </p:cNvPr>
          <p:cNvGrpSpPr/>
          <p:nvPr/>
        </p:nvGrpSpPr>
        <p:grpSpPr>
          <a:xfrm rot="1214835">
            <a:off x="4325705" y="994033"/>
            <a:ext cx="941147" cy="1163217"/>
            <a:chOff x="3370738" y="1643216"/>
            <a:chExt cx="1274049" cy="1804367"/>
          </a:xfrm>
        </p:grpSpPr>
        <p:pic>
          <p:nvPicPr>
            <p:cNvPr id="25" name="Picture 24">
              <a:extLst>
                <a:ext uri="{FF2B5EF4-FFF2-40B4-BE49-F238E27FC236}">
                  <a16:creationId xmlns:a16="http://schemas.microsoft.com/office/drawing/2014/main" id="{A00A1A4C-F721-4D66-BD57-A65956F9D6E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0085980">
              <a:off x="3370738" y="1643216"/>
              <a:ext cx="1274049" cy="1611360"/>
            </a:xfrm>
            <a:prstGeom prst="rect">
              <a:avLst/>
            </a:prstGeom>
          </p:spPr>
        </p:pic>
        <p:sp>
          <p:nvSpPr>
            <p:cNvPr id="26" name="TextBox 25">
              <a:extLst>
                <a:ext uri="{FF2B5EF4-FFF2-40B4-BE49-F238E27FC236}">
                  <a16:creationId xmlns:a16="http://schemas.microsoft.com/office/drawing/2014/main" id="{446EAB04-7A97-4846-A70E-1CC53647A3AC}"/>
                </a:ext>
              </a:extLst>
            </p:cNvPr>
            <p:cNvSpPr txBox="1"/>
            <p:nvPr/>
          </p:nvSpPr>
          <p:spPr bwMode="auto">
            <a:xfrm>
              <a:off x="4087121" y="3161429"/>
              <a:ext cx="147561" cy="28615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0000"/>
                  </a:solidFill>
                  <a:effectLst/>
                  <a:uLnTx/>
                  <a:uFillTx/>
                  <a:latin typeface="Arial"/>
                  <a:ea typeface="+mn-ea"/>
                  <a:cs typeface="Arial"/>
                </a:rPr>
                <a:t>G</a:t>
              </a:r>
            </a:p>
          </p:txBody>
        </p:sp>
        <p:sp>
          <p:nvSpPr>
            <p:cNvPr id="27" name="TextBox 26">
              <a:extLst>
                <a:ext uri="{FF2B5EF4-FFF2-40B4-BE49-F238E27FC236}">
                  <a16:creationId xmlns:a16="http://schemas.microsoft.com/office/drawing/2014/main" id="{0869C998-50E8-495B-8C13-4435AAF63177}"/>
                </a:ext>
              </a:extLst>
            </p:cNvPr>
            <p:cNvSpPr txBox="1"/>
            <p:nvPr/>
          </p:nvSpPr>
          <p:spPr bwMode="auto">
            <a:xfrm>
              <a:off x="3679234" y="3156209"/>
              <a:ext cx="138881" cy="28615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9C216E"/>
                  </a:solidFill>
                  <a:effectLst/>
                  <a:uLnTx/>
                  <a:uFillTx/>
                  <a:latin typeface="Arial"/>
                  <a:cs typeface="Arial"/>
                </a:rPr>
                <a:t>C</a:t>
              </a:r>
            </a:p>
          </p:txBody>
        </p:sp>
        <p:sp>
          <p:nvSpPr>
            <p:cNvPr id="28" name="TextBox 27">
              <a:extLst>
                <a:ext uri="{FF2B5EF4-FFF2-40B4-BE49-F238E27FC236}">
                  <a16:creationId xmlns:a16="http://schemas.microsoft.com/office/drawing/2014/main" id="{3677439C-3D10-43F0-BC59-FA50EECBDF8E}"/>
                </a:ext>
              </a:extLst>
            </p:cNvPr>
            <p:cNvSpPr txBox="1"/>
            <p:nvPr/>
          </p:nvSpPr>
          <p:spPr bwMode="auto">
            <a:xfrm>
              <a:off x="3884229" y="3158591"/>
              <a:ext cx="128032" cy="28615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97414"/>
                  </a:solidFill>
                  <a:effectLst/>
                  <a:uLnTx/>
                  <a:uFillTx/>
                  <a:latin typeface="Arial"/>
                  <a:cs typeface="Arial"/>
                </a:rPr>
                <a:t>E</a:t>
              </a:r>
            </a:p>
          </p:txBody>
        </p:sp>
        <p:sp>
          <p:nvSpPr>
            <p:cNvPr id="29" name="TextBox 28">
              <a:extLst>
                <a:ext uri="{FF2B5EF4-FFF2-40B4-BE49-F238E27FC236}">
                  <a16:creationId xmlns:a16="http://schemas.microsoft.com/office/drawing/2014/main" id="{F12F0D8B-A524-478D-8D17-004D504AD762}"/>
                </a:ext>
              </a:extLst>
            </p:cNvPr>
            <p:cNvSpPr txBox="1"/>
            <p:nvPr/>
          </p:nvSpPr>
          <p:spPr bwMode="auto">
            <a:xfrm>
              <a:off x="3995095" y="3155952"/>
              <a:ext cx="128032" cy="286154"/>
            </a:xfrm>
            <a:prstGeom prst="rect">
              <a:avLst/>
            </a:prstGeom>
            <a:noFill/>
            <a:ln w="9525">
              <a:noFill/>
              <a:miter lim="800000"/>
              <a:headEnd/>
              <a:tailEnd/>
            </a:ln>
            <a:effectLst/>
          </p:spPr>
          <p:txBody>
            <a:bodyPr wrap="none" lIns="0" tIns="0" rIns="0" bIns="0" rtlCol="0" anchor="t" anchorCtr="0">
              <a:spAutoFit/>
            </a:bodyPr>
            <a:lstStyle/>
            <a:p>
              <a:pPr marL="0" marR="0" lvl="0" indent="0" algn="l"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0A8276"/>
                  </a:solidFill>
                  <a:effectLst/>
                  <a:uLnTx/>
                  <a:uFillTx/>
                  <a:latin typeface="Arial"/>
                  <a:cs typeface="Arial"/>
                </a:rPr>
                <a:t>K</a:t>
              </a:r>
            </a:p>
          </p:txBody>
        </p:sp>
      </p:grpSp>
    </p:spTree>
    <p:custDataLst>
      <p:tags r:id="rId1"/>
    </p:custDataLst>
    <p:extLst>
      <p:ext uri="{BB962C8B-B14F-4D97-AF65-F5344CB8AC3E}">
        <p14:creationId xmlns:p14="http://schemas.microsoft.com/office/powerpoint/2010/main" val="208177593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wo people shaking hands during a meeting" descr="A group of people shaking hands">
            <a:extLst>
              <a:ext uri="{FF2B5EF4-FFF2-40B4-BE49-F238E27FC236}">
                <a16:creationId xmlns:a16="http://schemas.microsoft.com/office/drawing/2014/main" id="{D2603A18-1C2D-C5A6-3B41-46EFFFF28A05}"/>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5898" t="-96" r="5898" b="96"/>
          <a:stretch/>
        </p:blipFill>
        <p:spPr>
          <a:xfrm>
            <a:off x="2653100" y="1492368"/>
            <a:ext cx="9538900" cy="5365631"/>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p:spPr>
      </p:pic>
      <p:sp>
        <p:nvSpPr>
          <p:cNvPr id="12" name="Pentagon 4">
            <a:extLst>
              <a:ext uri="{FF2B5EF4-FFF2-40B4-BE49-F238E27FC236}">
                <a16:creationId xmlns:a16="http://schemas.microsoft.com/office/drawing/2014/main" id="{08A28A8B-FF08-09F5-EDBD-595B20E7771E}"/>
              </a:ext>
            </a:extLst>
          </p:cNvPr>
          <p:cNvSpPr/>
          <p:nvPr/>
        </p:nvSpPr>
        <p:spPr bwMode="auto">
          <a:xfrm>
            <a:off x="0" y="1502674"/>
            <a:ext cx="5154992" cy="5355327"/>
          </a:xfrm>
          <a:custGeom>
            <a:avLst/>
            <a:gdLst>
              <a:gd name="connsiteX0" fmla="*/ 0 w 9484522"/>
              <a:gd name="connsiteY0" fmla="*/ 0 h 5111404"/>
              <a:gd name="connsiteX1" fmla="*/ 6928820 w 9484522"/>
              <a:gd name="connsiteY1" fmla="*/ 0 h 5111404"/>
              <a:gd name="connsiteX2" fmla="*/ 9484522 w 9484522"/>
              <a:gd name="connsiteY2" fmla="*/ 2555702 h 5111404"/>
              <a:gd name="connsiteX3" fmla="*/ 6928820 w 9484522"/>
              <a:gd name="connsiteY3" fmla="*/ 5111404 h 5111404"/>
              <a:gd name="connsiteX4" fmla="*/ 0 w 9484522"/>
              <a:gd name="connsiteY4" fmla="*/ 5111404 h 5111404"/>
              <a:gd name="connsiteX5" fmla="*/ 0 w 9484522"/>
              <a:gd name="connsiteY5" fmla="*/ 0 h 5111404"/>
              <a:gd name="connsiteX0" fmla="*/ 0 w 8220166"/>
              <a:gd name="connsiteY0" fmla="*/ 0 h 5111404"/>
              <a:gd name="connsiteX1" fmla="*/ 6928820 w 8220166"/>
              <a:gd name="connsiteY1" fmla="*/ 0 h 5111404"/>
              <a:gd name="connsiteX2" fmla="*/ 8220166 w 8220166"/>
              <a:gd name="connsiteY2" fmla="*/ 1765480 h 5111404"/>
              <a:gd name="connsiteX3" fmla="*/ 6928820 w 8220166"/>
              <a:gd name="connsiteY3" fmla="*/ 5111404 h 5111404"/>
              <a:gd name="connsiteX4" fmla="*/ 0 w 8220166"/>
              <a:gd name="connsiteY4" fmla="*/ 5111404 h 5111404"/>
              <a:gd name="connsiteX5" fmla="*/ 0 w 8220166"/>
              <a:gd name="connsiteY5" fmla="*/ 0 h 5111404"/>
              <a:gd name="connsiteX0" fmla="*/ 0 w 8605867"/>
              <a:gd name="connsiteY0" fmla="*/ 0 h 5111404"/>
              <a:gd name="connsiteX1" fmla="*/ 6928820 w 8605867"/>
              <a:gd name="connsiteY1" fmla="*/ 0 h 5111404"/>
              <a:gd name="connsiteX2" fmla="*/ 8605867 w 8605867"/>
              <a:gd name="connsiteY2" fmla="*/ 1745867 h 5111404"/>
              <a:gd name="connsiteX3" fmla="*/ 6928820 w 8605867"/>
              <a:gd name="connsiteY3" fmla="*/ 5111404 h 5111404"/>
              <a:gd name="connsiteX4" fmla="*/ 0 w 8605867"/>
              <a:gd name="connsiteY4" fmla="*/ 5111404 h 5111404"/>
              <a:gd name="connsiteX5" fmla="*/ 0 w 8605867"/>
              <a:gd name="connsiteY5" fmla="*/ 0 h 5111404"/>
              <a:gd name="connsiteX0" fmla="*/ 0 w 8605867"/>
              <a:gd name="connsiteY0" fmla="*/ 0 h 5131017"/>
              <a:gd name="connsiteX1" fmla="*/ 6928820 w 8605867"/>
              <a:gd name="connsiteY1" fmla="*/ 0 h 5131017"/>
              <a:gd name="connsiteX2" fmla="*/ 8605867 w 8605867"/>
              <a:gd name="connsiteY2" fmla="*/ 1745867 h 5131017"/>
              <a:gd name="connsiteX3" fmla="*/ 6446693 w 8605867"/>
              <a:gd name="connsiteY3" fmla="*/ 5131017 h 5131017"/>
              <a:gd name="connsiteX4" fmla="*/ 0 w 8605867"/>
              <a:gd name="connsiteY4" fmla="*/ 5111404 h 5131017"/>
              <a:gd name="connsiteX5" fmla="*/ 0 w 8605867"/>
              <a:gd name="connsiteY5" fmla="*/ 0 h 5131017"/>
              <a:gd name="connsiteX0" fmla="*/ 0 w 8686222"/>
              <a:gd name="connsiteY0" fmla="*/ 0 h 5131017"/>
              <a:gd name="connsiteX1" fmla="*/ 6928820 w 8686222"/>
              <a:gd name="connsiteY1" fmla="*/ 0 h 5131017"/>
              <a:gd name="connsiteX2" fmla="*/ 8686222 w 8686222"/>
              <a:gd name="connsiteY2" fmla="*/ 1677224 h 5131017"/>
              <a:gd name="connsiteX3" fmla="*/ 6446693 w 8686222"/>
              <a:gd name="connsiteY3" fmla="*/ 5131017 h 5131017"/>
              <a:gd name="connsiteX4" fmla="*/ 0 w 8686222"/>
              <a:gd name="connsiteY4" fmla="*/ 5111404 h 5131017"/>
              <a:gd name="connsiteX5" fmla="*/ 0 w 8686222"/>
              <a:gd name="connsiteY5" fmla="*/ 0 h 5131017"/>
              <a:gd name="connsiteX0" fmla="*/ 0 w 8686222"/>
              <a:gd name="connsiteY0" fmla="*/ 0 h 5111404"/>
              <a:gd name="connsiteX1" fmla="*/ 6928820 w 8686222"/>
              <a:gd name="connsiteY1" fmla="*/ 0 h 5111404"/>
              <a:gd name="connsiteX2" fmla="*/ 8686222 w 8686222"/>
              <a:gd name="connsiteY2" fmla="*/ 1677224 h 5111404"/>
              <a:gd name="connsiteX3" fmla="*/ 6768111 w 8686222"/>
              <a:gd name="connsiteY3" fmla="*/ 5111404 h 5111404"/>
              <a:gd name="connsiteX4" fmla="*/ 0 w 8686222"/>
              <a:gd name="connsiteY4" fmla="*/ 5111404 h 5111404"/>
              <a:gd name="connsiteX5" fmla="*/ 0 w 8686222"/>
              <a:gd name="connsiteY5" fmla="*/ 0 h 5111404"/>
              <a:gd name="connsiteX0" fmla="*/ 0 w 8766577"/>
              <a:gd name="connsiteY0" fmla="*/ 0 h 5111404"/>
              <a:gd name="connsiteX1" fmla="*/ 6928820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8766577"/>
              <a:gd name="connsiteY0" fmla="*/ 0 h 5111404"/>
              <a:gd name="connsiteX1" fmla="*/ 7153813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7153813"/>
              <a:gd name="connsiteY0" fmla="*/ 0 h 5111404"/>
              <a:gd name="connsiteX1" fmla="*/ 7153813 w 7153813"/>
              <a:gd name="connsiteY1" fmla="*/ 0 h 5111404"/>
              <a:gd name="connsiteX2" fmla="*/ 4952408 w 7153813"/>
              <a:gd name="connsiteY2" fmla="*/ 3237608 h 5111404"/>
              <a:gd name="connsiteX3" fmla="*/ 6768111 w 7153813"/>
              <a:gd name="connsiteY3" fmla="*/ 5111404 h 5111404"/>
              <a:gd name="connsiteX4" fmla="*/ 0 w 7153813"/>
              <a:gd name="connsiteY4" fmla="*/ 5111404 h 5111404"/>
              <a:gd name="connsiteX5" fmla="*/ 0 w 7153813"/>
              <a:gd name="connsiteY5" fmla="*/ 0 h 5111404"/>
              <a:gd name="connsiteX0" fmla="*/ 0 w 7153813"/>
              <a:gd name="connsiteY0" fmla="*/ 0 h 5111404"/>
              <a:gd name="connsiteX1" fmla="*/ 7153813 w 7153813"/>
              <a:gd name="connsiteY1" fmla="*/ 0 h 5111404"/>
              <a:gd name="connsiteX2" fmla="*/ 5775513 w 7153813"/>
              <a:gd name="connsiteY2" fmla="*/ 3245842 h 5111404"/>
              <a:gd name="connsiteX3" fmla="*/ 6768111 w 7153813"/>
              <a:gd name="connsiteY3" fmla="*/ 5111404 h 5111404"/>
              <a:gd name="connsiteX4" fmla="*/ 0 w 7153813"/>
              <a:gd name="connsiteY4" fmla="*/ 5111404 h 5111404"/>
              <a:gd name="connsiteX5" fmla="*/ 0 w 7153813"/>
              <a:gd name="connsiteY5" fmla="*/ 0 h 5111404"/>
              <a:gd name="connsiteX0" fmla="*/ 0 w 8063489"/>
              <a:gd name="connsiteY0" fmla="*/ 0 h 5111404"/>
              <a:gd name="connsiteX1" fmla="*/ 715381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6261280 w 8063489"/>
              <a:gd name="connsiteY2" fmla="*/ 3583415 h 5111404"/>
              <a:gd name="connsiteX3" fmla="*/ 8063489 w 8063489"/>
              <a:gd name="connsiteY3" fmla="*/ 5111404 h 5111404"/>
              <a:gd name="connsiteX4" fmla="*/ 0 w 8063489"/>
              <a:gd name="connsiteY4" fmla="*/ 5111404 h 5111404"/>
              <a:gd name="connsiteX5" fmla="*/ 0 w 8063489"/>
              <a:gd name="connsiteY5" fmla="*/ 0 h 511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3489" h="5111404">
                <a:moveTo>
                  <a:pt x="0" y="0"/>
                </a:moveTo>
                <a:lnTo>
                  <a:pt x="7693553" y="0"/>
                </a:lnTo>
                <a:lnTo>
                  <a:pt x="6261280" y="3583415"/>
                </a:lnTo>
                <a:lnTo>
                  <a:pt x="8063489" y="5111404"/>
                </a:lnTo>
                <a:lnTo>
                  <a:pt x="0" y="5111404"/>
                </a:lnTo>
                <a:lnTo>
                  <a:pt x="0" y="0"/>
                </a:lnTo>
                <a:close/>
              </a:path>
            </a:pathLst>
          </a:custGeom>
          <a:solidFill>
            <a:schemeClr val="tx2"/>
          </a:solidFill>
          <a:ln w="9525">
            <a:noFill/>
            <a:miter lim="800000"/>
            <a:headEnd/>
            <a:tailEnd/>
          </a:ln>
        </p:spPr>
        <p:txBody>
          <a:bodyPr wrap="square" lIns="72000" tIns="72000" rIns="72000" bIns="72000" rtlCol="0" anchor="ctr"/>
          <a:lstStyle/>
          <a:p>
            <a:pPr algn="ctr" defTabSz="575986" eaLnBrk="0" hangingPunct="0">
              <a:lnSpc>
                <a:spcPct val="120000"/>
              </a:lnSpc>
            </a:pPr>
            <a:endParaRPr lang="en-US" sz="1600" dirty="0">
              <a:solidFill>
                <a:srgbClr val="FFFFFF"/>
              </a:solidFill>
              <a:latin typeface="Arial"/>
              <a:ea typeface="Arial Unicode MS"/>
              <a:cs typeface="Arial"/>
            </a:endParaRPr>
          </a:p>
        </p:txBody>
      </p:sp>
      <p:sp>
        <p:nvSpPr>
          <p:cNvPr id="64" name="Title 63"/>
          <p:cNvSpPr>
            <a:spLocks noGrp="1"/>
          </p:cNvSpPr>
          <p:nvPr>
            <p:ph type="title"/>
          </p:nvPr>
        </p:nvSpPr>
        <p:spPr/>
        <p:txBody>
          <a:bodyPr/>
          <a:lstStyle/>
          <a:p>
            <a:br>
              <a:rPr lang="en-US" dirty="0"/>
            </a:br>
            <a:r>
              <a:rPr lang="en-US" dirty="0"/>
              <a:t>System cost – „Affordability“</a:t>
            </a:r>
          </a:p>
        </p:txBody>
      </p:sp>
      <p:grpSp>
        <p:nvGrpSpPr>
          <p:cNvPr id="3" name="Group 2">
            <a:extLst>
              <a:ext uri="{FF2B5EF4-FFF2-40B4-BE49-F238E27FC236}">
                <a16:creationId xmlns:a16="http://schemas.microsoft.com/office/drawing/2014/main" id="{18E1978E-57C3-B7B9-3D45-CEFF0A90C407}"/>
              </a:ext>
            </a:extLst>
          </p:cNvPr>
          <p:cNvGrpSpPr/>
          <p:nvPr/>
        </p:nvGrpSpPr>
        <p:grpSpPr>
          <a:xfrm>
            <a:off x="5110294" y="1973179"/>
            <a:ext cx="1495248" cy="1495248"/>
            <a:chOff x="4974455" y="2704594"/>
            <a:chExt cx="2240977" cy="2240977"/>
          </a:xfrm>
        </p:grpSpPr>
        <p:sp>
          <p:nvSpPr>
            <p:cNvPr id="4" name="Flowchart: Connector 3">
              <a:extLst>
                <a:ext uri="{FF2B5EF4-FFF2-40B4-BE49-F238E27FC236}">
                  <a16:creationId xmlns:a16="http://schemas.microsoft.com/office/drawing/2014/main" id="{ACBEF34A-7AB1-EA0F-5EDA-B2BF244661F1}"/>
                </a:ext>
              </a:extLst>
            </p:cNvPr>
            <p:cNvSpPr/>
            <p:nvPr/>
          </p:nvSpPr>
          <p:spPr bwMode="auto">
            <a:xfrm>
              <a:off x="5055119" y="2780966"/>
              <a:ext cx="2088232" cy="2088232"/>
            </a:xfrm>
            <a:prstGeom prst="flowChartConnector">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5" name="Picture 4">
              <a:extLst>
                <a:ext uri="{FF2B5EF4-FFF2-40B4-BE49-F238E27FC236}">
                  <a16:creationId xmlns:a16="http://schemas.microsoft.com/office/drawing/2014/main" id="{67175A73-56A8-B9D2-5674-0D961450B5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4455" y="2704594"/>
              <a:ext cx="2240977" cy="2240977"/>
            </a:xfrm>
            <a:prstGeom prst="rect">
              <a:avLst/>
            </a:prstGeom>
          </p:spPr>
        </p:pic>
      </p:grpSp>
    </p:spTree>
    <p:extLst>
      <p:ext uri="{BB962C8B-B14F-4D97-AF65-F5344CB8AC3E}">
        <p14:creationId xmlns:p14="http://schemas.microsoft.com/office/powerpoint/2010/main" val="28908153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C3E041-DF95-45CA-996B-AAA82B26EC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ACC3E041-DF95-45CA-996B-AAA82B26EC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8FC8074-4A0E-48AE-8E20-8CD12A555075}"/>
              </a:ext>
            </a:extLst>
          </p:cNvPr>
          <p:cNvSpPr>
            <a:spLocks noGrp="1"/>
          </p:cNvSpPr>
          <p:nvPr>
            <p:ph type="title"/>
          </p:nvPr>
        </p:nvSpPr>
        <p:spPr>
          <a:xfrm>
            <a:off x="371364" y="188720"/>
            <a:ext cx="9613068" cy="720000"/>
          </a:xfrm>
        </p:spPr>
        <p:txBody>
          <a:bodyPr vert="horz"/>
          <a:lstStyle/>
          <a:p>
            <a:r>
              <a:rPr lang="en-US" dirty="0">
                <a:solidFill>
                  <a:srgbClr val="0A8276"/>
                </a:solidFill>
              </a:rPr>
              <a:t>IGBT7: The cost-effective alternative to wide-bandgap solutions</a:t>
            </a:r>
            <a:endParaRPr lang="en-US" b="1" dirty="0">
              <a:solidFill>
                <a:srgbClr val="0A8276"/>
              </a:solidFill>
            </a:endParaRPr>
          </a:p>
        </p:txBody>
      </p:sp>
      <p:sp>
        <p:nvSpPr>
          <p:cNvPr id="33" name="Freihandform 21">
            <a:extLst>
              <a:ext uri="{FF2B5EF4-FFF2-40B4-BE49-F238E27FC236}">
                <a16:creationId xmlns:a16="http://schemas.microsoft.com/office/drawing/2014/main" id="{B5990539-A0B5-48FA-95BE-58E4684A27F2}"/>
              </a:ext>
            </a:extLst>
          </p:cNvPr>
          <p:cNvSpPr/>
          <p:nvPr/>
        </p:nvSpPr>
        <p:spPr>
          <a:xfrm rot="16200000">
            <a:off x="7271410" y="1461157"/>
            <a:ext cx="5113337" cy="4727848"/>
          </a:xfrm>
          <a:custGeom>
            <a:avLst/>
            <a:gdLst>
              <a:gd name="connsiteX0" fmla="*/ 0 w 5113337"/>
              <a:gd name="connsiteY0" fmla="*/ 5952003 h 5952003"/>
              <a:gd name="connsiteX1" fmla="*/ 0 w 5113337"/>
              <a:gd name="connsiteY1" fmla="*/ 4976581 h 5952003"/>
              <a:gd name="connsiteX2" fmla="*/ 0 w 5113337"/>
              <a:gd name="connsiteY2" fmla="*/ 1623200 h 5952003"/>
              <a:gd name="connsiteX3" fmla="*/ 0 w 5113337"/>
              <a:gd name="connsiteY3" fmla="*/ 647778 h 5952003"/>
              <a:gd name="connsiteX4" fmla="*/ 1284780 w 5113337"/>
              <a:gd name="connsiteY4" fmla="*/ 0 h 5952003"/>
              <a:gd name="connsiteX5" fmla="*/ 5113337 w 5113337"/>
              <a:gd name="connsiteY5" fmla="*/ 1011748 h 5952003"/>
              <a:gd name="connsiteX6" fmla="*/ 5113337 w 5113337"/>
              <a:gd name="connsiteY6" fmla="*/ 1987170 h 5952003"/>
              <a:gd name="connsiteX7" fmla="*/ 5113337 w 5113337"/>
              <a:gd name="connsiteY7" fmla="*/ 4976581 h 5952003"/>
              <a:gd name="connsiteX8" fmla="*/ 5113337 w 5113337"/>
              <a:gd name="connsiteY8" fmla="*/ 5952003 h 59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3337" h="5952003">
                <a:moveTo>
                  <a:pt x="0" y="5952003"/>
                </a:moveTo>
                <a:lnTo>
                  <a:pt x="0" y="4976581"/>
                </a:lnTo>
                <a:lnTo>
                  <a:pt x="0" y="1623200"/>
                </a:lnTo>
                <a:lnTo>
                  <a:pt x="0" y="647778"/>
                </a:lnTo>
                <a:lnTo>
                  <a:pt x="1284780" y="0"/>
                </a:lnTo>
                <a:lnTo>
                  <a:pt x="5113337" y="1011748"/>
                </a:lnTo>
                <a:lnTo>
                  <a:pt x="5113337" y="1987170"/>
                </a:lnTo>
                <a:lnTo>
                  <a:pt x="5113337" y="4976581"/>
                </a:lnTo>
                <a:lnTo>
                  <a:pt x="5113337" y="5952003"/>
                </a:lnTo>
                <a:close/>
              </a:path>
            </a:pathLst>
          </a:custGeom>
          <a:solidFill>
            <a:srgbClr val="0A8276"/>
          </a:solidFill>
          <a:ln w="8581" cap="flat">
            <a:noFill/>
            <a:prstDash val="solid"/>
            <a:miter/>
          </a:ln>
        </p:spPr>
        <p:txBody>
          <a:bodyPr rtlCol="0" anchor="ctr"/>
          <a:lstStyle/>
          <a:p>
            <a:endParaRPr lang="en-US" dirty="0"/>
          </a:p>
        </p:txBody>
      </p:sp>
      <p:sp>
        <p:nvSpPr>
          <p:cNvPr id="19" name="TextBox 18">
            <a:extLst>
              <a:ext uri="{FF2B5EF4-FFF2-40B4-BE49-F238E27FC236}">
                <a16:creationId xmlns:a16="http://schemas.microsoft.com/office/drawing/2014/main" id="{DF1C89D4-FB02-48E3-9C8F-B78B99A65503}"/>
              </a:ext>
            </a:extLst>
          </p:cNvPr>
          <p:cNvSpPr txBox="1"/>
          <p:nvPr/>
        </p:nvSpPr>
        <p:spPr bwMode="auto">
          <a:xfrm>
            <a:off x="8213532" y="2625639"/>
            <a:ext cx="3454172" cy="2618409"/>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2400" kern="0" dirty="0">
                <a:solidFill>
                  <a:schemeClr val="lt1"/>
                </a:solidFill>
                <a:latin typeface="+mn-lt"/>
              </a:rPr>
              <a:t>Discrete IGBT7 is</a:t>
            </a:r>
          </a:p>
          <a:p>
            <a:pPr marR="0" algn="ctr" defTabSz="576000" eaLnBrk="0" fontAlgn="auto" latinLnBrk="0" hangingPunct="0">
              <a:lnSpc>
                <a:spcPct val="120000"/>
              </a:lnSpc>
              <a:spcBef>
                <a:spcPts val="0"/>
              </a:spcBef>
              <a:spcAft>
                <a:spcPts val="0"/>
              </a:spcAft>
              <a:buClr>
                <a:schemeClr val="tx2"/>
              </a:buClr>
              <a:buSzTx/>
              <a:tabLst/>
            </a:pPr>
            <a:r>
              <a:rPr lang="en-US" sz="2400" kern="0" dirty="0">
                <a:solidFill>
                  <a:schemeClr val="lt1"/>
                </a:solidFill>
                <a:latin typeface="+mn-lt"/>
              </a:rPr>
              <a:t>bridging the gap between traditional silicon IGBTs and offering a cost-effective alternative to wide-bandgap solutions</a:t>
            </a:r>
          </a:p>
        </p:txBody>
      </p:sp>
      <p:sp>
        <p:nvSpPr>
          <p:cNvPr id="11" name="TextBox 10">
            <a:extLst>
              <a:ext uri="{FF2B5EF4-FFF2-40B4-BE49-F238E27FC236}">
                <a16:creationId xmlns:a16="http://schemas.microsoft.com/office/drawing/2014/main" id="{45CD6908-8757-F414-2A71-FC41C1537B4E}"/>
              </a:ext>
            </a:extLst>
          </p:cNvPr>
          <p:cNvSpPr txBox="1"/>
          <p:nvPr/>
        </p:nvSpPr>
        <p:spPr bwMode="auto">
          <a:xfrm rot="16200000">
            <a:off x="-529325" y="3613650"/>
            <a:ext cx="2211463" cy="234744"/>
          </a:xfrm>
          <a:prstGeom prst="rect">
            <a:avLst/>
          </a:prstGeom>
          <a:noFill/>
          <a:ln w="9525">
            <a:noFill/>
            <a:prstDash val="dash"/>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kern="0">
                <a:solidFill>
                  <a:srgbClr val="1D1D1D"/>
                </a:solidFill>
                <a:latin typeface="+mn-lt"/>
              </a:rPr>
              <a:t>System cost</a:t>
            </a:r>
            <a:endParaRPr lang="en-US" kern="0" baseline="0" dirty="0">
              <a:solidFill>
                <a:srgbClr val="1D1D1D"/>
              </a:solidFill>
              <a:latin typeface="+mn-lt"/>
              <a:ea typeface="+mn-ea"/>
              <a:cs typeface="+mn-cs"/>
            </a:endParaRPr>
          </a:p>
        </p:txBody>
      </p:sp>
      <p:sp>
        <p:nvSpPr>
          <p:cNvPr id="16" name="TextBox 15">
            <a:extLst>
              <a:ext uri="{FF2B5EF4-FFF2-40B4-BE49-F238E27FC236}">
                <a16:creationId xmlns:a16="http://schemas.microsoft.com/office/drawing/2014/main" id="{B049EC8E-025A-F483-EE5E-5C2A32A4A712}"/>
              </a:ext>
            </a:extLst>
          </p:cNvPr>
          <p:cNvSpPr txBox="1"/>
          <p:nvPr/>
        </p:nvSpPr>
        <p:spPr bwMode="auto">
          <a:xfrm>
            <a:off x="5941382" y="2534707"/>
            <a:ext cx="1524883" cy="215444"/>
          </a:xfrm>
          <a:prstGeom prst="rect">
            <a:avLst/>
          </a:prstGeom>
          <a:solidFill>
            <a:schemeClr val="bg1"/>
          </a:solidFill>
          <a:ln w="9525">
            <a:noFill/>
            <a:miter lim="800000"/>
            <a:headEnd/>
            <a:tailEnd/>
          </a:ln>
          <a:effectLst/>
        </p:spPr>
        <p:txBody>
          <a:bodyPr wrap="square" lIns="0" tIns="0" rIns="0" bIns="0" rtlCol="0" anchor="t" anchorCtr="0">
            <a:spAutoFit/>
          </a:bodyPr>
          <a:lstStyle/>
          <a:p>
            <a:r>
              <a:rPr lang="en-US" b="1">
                <a:solidFill>
                  <a:srgbClr val="0A8276"/>
                </a:solidFill>
              </a:rPr>
              <a:t>Wide-</a:t>
            </a:r>
            <a:r>
              <a:rPr lang="en-US" b="1" kern="0" baseline="0">
                <a:solidFill>
                  <a:srgbClr val="0A8276"/>
                </a:solidFill>
                <a:latin typeface="+mn-lt"/>
                <a:ea typeface="+mn-ea"/>
                <a:cs typeface="+mn-cs"/>
              </a:rPr>
              <a:t>bandgap</a:t>
            </a:r>
            <a:endParaRPr lang="en-US" b="1" kern="0" baseline="0" dirty="0">
              <a:solidFill>
                <a:srgbClr val="0A8276"/>
              </a:solidFill>
              <a:latin typeface="+mn-lt"/>
              <a:ea typeface="+mn-ea"/>
              <a:cs typeface="+mn-cs"/>
            </a:endParaRPr>
          </a:p>
        </p:txBody>
      </p:sp>
      <p:sp>
        <p:nvSpPr>
          <p:cNvPr id="18" name="TextBox 17">
            <a:extLst>
              <a:ext uri="{FF2B5EF4-FFF2-40B4-BE49-F238E27FC236}">
                <a16:creationId xmlns:a16="http://schemas.microsoft.com/office/drawing/2014/main" id="{2FC27434-9D33-E62F-3B84-33F8E7ACECA1}"/>
              </a:ext>
            </a:extLst>
          </p:cNvPr>
          <p:cNvSpPr txBox="1"/>
          <p:nvPr/>
        </p:nvSpPr>
        <p:spPr bwMode="auto">
          <a:xfrm>
            <a:off x="1768547" y="5978418"/>
            <a:ext cx="4015695" cy="234744"/>
          </a:xfrm>
          <a:prstGeom prst="rect">
            <a:avLst/>
          </a:prstGeom>
          <a:noFill/>
          <a:ln w="9525">
            <a:noFill/>
            <a:prstDash val="dash"/>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kern="0">
                <a:solidFill>
                  <a:srgbClr val="1D1D1D"/>
                </a:solidFill>
                <a:latin typeface="+mn-lt"/>
              </a:rPr>
              <a:t>Performance</a:t>
            </a:r>
            <a:endParaRPr lang="en-US" kern="0" baseline="0" dirty="0">
              <a:solidFill>
                <a:srgbClr val="1D1D1D"/>
              </a:solidFill>
              <a:latin typeface="+mn-lt"/>
              <a:ea typeface="+mn-ea"/>
              <a:cs typeface="+mn-cs"/>
            </a:endParaRPr>
          </a:p>
        </p:txBody>
      </p:sp>
      <p:sp>
        <p:nvSpPr>
          <p:cNvPr id="21" name="TextBox 20">
            <a:extLst>
              <a:ext uri="{FF2B5EF4-FFF2-40B4-BE49-F238E27FC236}">
                <a16:creationId xmlns:a16="http://schemas.microsoft.com/office/drawing/2014/main" id="{7393A1E1-0E2E-D8EF-5AD3-703CF16267A2}"/>
              </a:ext>
            </a:extLst>
          </p:cNvPr>
          <p:cNvSpPr txBox="1"/>
          <p:nvPr/>
        </p:nvSpPr>
        <p:spPr bwMode="auto">
          <a:xfrm>
            <a:off x="2086235" y="2422221"/>
            <a:ext cx="1433533" cy="234744"/>
          </a:xfrm>
          <a:prstGeom prst="rect">
            <a:avLst/>
          </a:prstGeom>
          <a:noFill/>
          <a:ln w="9525">
            <a:noFill/>
            <a:prstDash val="dash"/>
            <a:miter lim="800000"/>
            <a:headEnd/>
            <a:tailEnd/>
          </a:ln>
          <a:effectLst/>
        </p:spPr>
        <p:txBody>
          <a:bodyPr wrap="square" lIns="0" tIns="0" rIns="0" bIns="0" rtlCol="0" anchor="t" anchorCtr="0">
            <a:spAutoFit/>
          </a:bodyPr>
          <a:lstStyle/>
          <a:p>
            <a:pPr marR="0" defTabSz="576000" eaLnBrk="0" latinLnBrk="0" hangingPunct="0">
              <a:lnSpc>
                <a:spcPct val="120000"/>
              </a:lnSpc>
              <a:buClr>
                <a:schemeClr val="tx2"/>
              </a:buClr>
              <a:buSzTx/>
              <a:tabLst/>
            </a:pPr>
            <a:r>
              <a:rPr lang="en-US" b="1">
                <a:solidFill>
                  <a:srgbClr val="0A8276"/>
                </a:solidFill>
              </a:rPr>
              <a:t>2007-2012</a:t>
            </a:r>
            <a:endParaRPr lang="en-US" b="1" dirty="0">
              <a:solidFill>
                <a:srgbClr val="0A8276"/>
              </a:solidFill>
            </a:endParaRPr>
          </a:p>
        </p:txBody>
      </p:sp>
      <p:sp>
        <p:nvSpPr>
          <p:cNvPr id="6" name="Freeform: Shape 5">
            <a:extLst>
              <a:ext uri="{FF2B5EF4-FFF2-40B4-BE49-F238E27FC236}">
                <a16:creationId xmlns:a16="http://schemas.microsoft.com/office/drawing/2014/main" id="{C8177367-A01A-4E89-B3EE-7B0A113CB68F}"/>
              </a:ext>
            </a:extLst>
          </p:cNvPr>
          <p:cNvSpPr/>
          <p:nvPr/>
        </p:nvSpPr>
        <p:spPr>
          <a:xfrm>
            <a:off x="824218" y="1864606"/>
            <a:ext cx="45719" cy="4054843"/>
          </a:xfrm>
          <a:custGeom>
            <a:avLst/>
            <a:gdLst>
              <a:gd name="connsiteX0" fmla="*/ 5934 w 0"/>
              <a:gd name="connsiteY0" fmla="*/ 3456993 h 3456472"/>
              <a:gd name="connsiteX1" fmla="*/ 5934 w 0"/>
              <a:gd name="connsiteY1" fmla="*/ 5934 h 3456472"/>
            </a:gdLst>
            <a:ahLst/>
            <a:cxnLst>
              <a:cxn ang="0">
                <a:pos x="connsiteX0" y="connsiteY0"/>
              </a:cxn>
              <a:cxn ang="0">
                <a:pos x="connsiteX1" y="connsiteY1"/>
              </a:cxn>
            </a:cxnLst>
            <a:rect l="l" t="t" r="r" b="b"/>
            <a:pathLst>
              <a:path h="3456472">
                <a:moveTo>
                  <a:pt x="5934" y="3456993"/>
                </a:moveTo>
                <a:lnTo>
                  <a:pt x="5934" y="5934"/>
                </a:lnTo>
              </a:path>
            </a:pathLst>
          </a:custGeom>
          <a:ln w="5429" cap="flat">
            <a:solidFill>
              <a:srgbClr val="8D8786"/>
            </a:solid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01A897E-E9FD-4ED3-AC38-29D421ABA522}"/>
              </a:ext>
            </a:extLst>
          </p:cNvPr>
          <p:cNvSpPr/>
          <p:nvPr/>
        </p:nvSpPr>
        <p:spPr>
          <a:xfrm>
            <a:off x="767408" y="1772816"/>
            <a:ext cx="124933" cy="105636"/>
          </a:xfrm>
          <a:custGeom>
            <a:avLst/>
            <a:gdLst>
              <a:gd name="connsiteX0" fmla="*/ 125627 w 124932"/>
              <a:gd name="connsiteY0" fmla="*/ 108691 h 97169"/>
              <a:gd name="connsiteX1" fmla="*/ 62744 w 124932"/>
              <a:gd name="connsiteY1" fmla="*/ 0 h 97169"/>
              <a:gd name="connsiteX2" fmla="*/ 0 w 124932"/>
              <a:gd name="connsiteY2" fmla="*/ 108691 h 97169"/>
              <a:gd name="connsiteX3" fmla="*/ 125627 w 124932"/>
              <a:gd name="connsiteY3" fmla="*/ 108691 h 97169"/>
            </a:gdLst>
            <a:ahLst/>
            <a:cxnLst>
              <a:cxn ang="0">
                <a:pos x="connsiteX0" y="connsiteY0"/>
              </a:cxn>
              <a:cxn ang="0">
                <a:pos x="connsiteX1" y="connsiteY1"/>
              </a:cxn>
              <a:cxn ang="0">
                <a:pos x="connsiteX2" y="connsiteY2"/>
              </a:cxn>
              <a:cxn ang="0">
                <a:pos x="connsiteX3" y="connsiteY3"/>
              </a:cxn>
            </a:cxnLst>
            <a:rect l="l" t="t" r="r" b="b"/>
            <a:pathLst>
              <a:path w="124932" h="97169">
                <a:moveTo>
                  <a:pt x="125627" y="108691"/>
                </a:moveTo>
                <a:lnTo>
                  <a:pt x="62744" y="0"/>
                </a:lnTo>
                <a:lnTo>
                  <a:pt x="0" y="108691"/>
                </a:lnTo>
                <a:lnTo>
                  <a:pt x="125627" y="108691"/>
                </a:lnTo>
                <a:close/>
              </a:path>
            </a:pathLst>
          </a:custGeom>
          <a:solidFill>
            <a:srgbClr val="8D8786"/>
          </a:solidFill>
          <a:ln w="0"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38DBC8B0-1714-4DF4-AE88-AB9FC8D0593D}"/>
              </a:ext>
            </a:extLst>
          </p:cNvPr>
          <p:cNvSpPr/>
          <p:nvPr/>
        </p:nvSpPr>
        <p:spPr>
          <a:xfrm flipH="1">
            <a:off x="2260717" y="4141206"/>
            <a:ext cx="45719" cy="1739093"/>
          </a:xfrm>
          <a:custGeom>
            <a:avLst/>
            <a:gdLst>
              <a:gd name="connsiteX0" fmla="*/ 5934 w 0"/>
              <a:gd name="connsiteY0" fmla="*/ 5934 h 2720757"/>
              <a:gd name="connsiteX1" fmla="*/ 5934 w 0"/>
              <a:gd name="connsiteY1" fmla="*/ 2727525 h 2720757"/>
            </a:gdLst>
            <a:ahLst/>
            <a:cxnLst>
              <a:cxn ang="0">
                <a:pos x="connsiteX0" y="connsiteY0"/>
              </a:cxn>
              <a:cxn ang="0">
                <a:pos x="connsiteX1" y="connsiteY1"/>
              </a:cxn>
            </a:cxnLst>
            <a:rect l="l" t="t" r="r" b="b"/>
            <a:pathLst>
              <a:path h="2720757">
                <a:moveTo>
                  <a:pt x="5934" y="5934"/>
                </a:moveTo>
                <a:lnTo>
                  <a:pt x="5934" y="2727525"/>
                </a:lnTo>
              </a:path>
            </a:pathLst>
          </a:custGeom>
          <a:ln w="5429" cap="flat">
            <a:solidFill>
              <a:srgbClr val="8D8786"/>
            </a:solidFill>
            <a:custDash>
              <a:ds d="0" sp="0"/>
              <a:ds d="318000" sp="159000"/>
            </a:custDash>
            <a:miter/>
          </a:ln>
        </p:spPr>
        <p:txBody>
          <a:bodyPr rtlCol="0" anchor="ctr"/>
          <a:lstStyle/>
          <a:p>
            <a:endParaRPr lang="en-US" dirty="0"/>
          </a:p>
        </p:txBody>
      </p:sp>
      <p:sp>
        <p:nvSpPr>
          <p:cNvPr id="42" name="Freeform: Shape 41">
            <a:extLst>
              <a:ext uri="{FF2B5EF4-FFF2-40B4-BE49-F238E27FC236}">
                <a16:creationId xmlns:a16="http://schemas.microsoft.com/office/drawing/2014/main" id="{992D019B-5E88-42AF-8292-8F611A57F0E0}"/>
              </a:ext>
            </a:extLst>
          </p:cNvPr>
          <p:cNvSpPr/>
          <p:nvPr/>
        </p:nvSpPr>
        <p:spPr>
          <a:xfrm>
            <a:off x="824218" y="5904359"/>
            <a:ext cx="6204993" cy="15090"/>
          </a:xfrm>
          <a:custGeom>
            <a:avLst/>
            <a:gdLst>
              <a:gd name="connsiteX0" fmla="*/ 5934 w 6204993"/>
              <a:gd name="connsiteY0" fmla="*/ 5934 h 0"/>
              <a:gd name="connsiteX1" fmla="*/ 6211483 w 6204993"/>
              <a:gd name="connsiteY1" fmla="*/ 5934 h 0"/>
            </a:gdLst>
            <a:ahLst/>
            <a:cxnLst>
              <a:cxn ang="0">
                <a:pos x="connsiteX0" y="connsiteY0"/>
              </a:cxn>
              <a:cxn ang="0">
                <a:pos x="connsiteX1" y="connsiteY1"/>
              </a:cxn>
            </a:cxnLst>
            <a:rect l="l" t="t" r="r" b="b"/>
            <a:pathLst>
              <a:path w="6204993">
                <a:moveTo>
                  <a:pt x="5934" y="5934"/>
                </a:moveTo>
                <a:lnTo>
                  <a:pt x="6211483" y="5934"/>
                </a:lnTo>
              </a:path>
            </a:pathLst>
          </a:custGeom>
          <a:ln w="5429" cap="flat">
            <a:solidFill>
              <a:srgbClr val="8D8786"/>
            </a:solid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67789A34-D8A0-4922-9F2C-4EE7C70E8FE5}"/>
              </a:ext>
            </a:extLst>
          </p:cNvPr>
          <p:cNvSpPr/>
          <p:nvPr/>
        </p:nvSpPr>
        <p:spPr>
          <a:xfrm>
            <a:off x="7017239" y="5842601"/>
            <a:ext cx="97170" cy="135817"/>
          </a:xfrm>
          <a:custGeom>
            <a:avLst/>
            <a:gdLst>
              <a:gd name="connsiteX0" fmla="*/ 0 w 97169"/>
              <a:gd name="connsiteY0" fmla="*/ 125488 h 124932"/>
              <a:gd name="connsiteX1" fmla="*/ 108830 w 97169"/>
              <a:gd name="connsiteY1" fmla="*/ 62744 h 124932"/>
              <a:gd name="connsiteX2" fmla="*/ 0 w 97169"/>
              <a:gd name="connsiteY2" fmla="*/ 0 h 124932"/>
              <a:gd name="connsiteX3" fmla="*/ 0 w 97169"/>
              <a:gd name="connsiteY3" fmla="*/ 125488 h 124932"/>
            </a:gdLst>
            <a:ahLst/>
            <a:cxnLst>
              <a:cxn ang="0">
                <a:pos x="connsiteX0" y="connsiteY0"/>
              </a:cxn>
              <a:cxn ang="0">
                <a:pos x="connsiteX1" y="connsiteY1"/>
              </a:cxn>
              <a:cxn ang="0">
                <a:pos x="connsiteX2" y="connsiteY2"/>
              </a:cxn>
              <a:cxn ang="0">
                <a:pos x="connsiteX3" y="connsiteY3"/>
              </a:cxn>
            </a:cxnLst>
            <a:rect l="l" t="t" r="r" b="b"/>
            <a:pathLst>
              <a:path w="97169" h="124932">
                <a:moveTo>
                  <a:pt x="0" y="125488"/>
                </a:moveTo>
                <a:lnTo>
                  <a:pt x="108830" y="62744"/>
                </a:lnTo>
                <a:lnTo>
                  <a:pt x="0" y="0"/>
                </a:lnTo>
                <a:lnTo>
                  <a:pt x="0" y="125488"/>
                </a:lnTo>
                <a:close/>
              </a:path>
            </a:pathLst>
          </a:custGeom>
          <a:solidFill>
            <a:srgbClr val="8D8786"/>
          </a:solidFill>
          <a:ln w="0" cap="flat">
            <a:noFill/>
            <a:prstDash val="solid"/>
            <a:miter/>
          </a:ln>
        </p:spPr>
        <p:txBody>
          <a:bodyPr rtlCol="0" anchor="ctr"/>
          <a:lstStyle/>
          <a:p>
            <a:endParaRPr lang="en-US" dirty="0"/>
          </a:p>
        </p:txBody>
      </p:sp>
      <p:sp>
        <p:nvSpPr>
          <p:cNvPr id="49" name="Rectangle 48">
            <a:extLst>
              <a:ext uri="{FF2B5EF4-FFF2-40B4-BE49-F238E27FC236}">
                <a16:creationId xmlns:a16="http://schemas.microsoft.com/office/drawing/2014/main" id="{264EE4B3-39A1-4B8D-AE5D-95FB15363325}"/>
              </a:ext>
            </a:extLst>
          </p:cNvPr>
          <p:cNvSpPr/>
          <p:nvPr/>
        </p:nvSpPr>
        <p:spPr>
          <a:xfrm>
            <a:off x="2858206" y="3173931"/>
            <a:ext cx="1247457" cy="327077"/>
          </a:xfrm>
          <a:prstGeom prst="rect">
            <a:avLst/>
          </a:prstGeom>
        </p:spPr>
        <p:txBody>
          <a:bodyPr wrap="none">
            <a:spAutoFit/>
          </a:bodyPr>
          <a:lstStyle/>
          <a:p>
            <a:pPr defTabSz="576000" eaLnBrk="0" fontAlgn="auto" hangingPunct="0">
              <a:lnSpc>
                <a:spcPct val="120000"/>
              </a:lnSpc>
              <a:spcBef>
                <a:spcPts val="0"/>
              </a:spcBef>
              <a:spcAft>
                <a:spcPts val="0"/>
              </a:spcAft>
              <a:buClr>
                <a:schemeClr val="tx2"/>
              </a:buClr>
            </a:pPr>
            <a:r>
              <a:rPr lang="en-US" b="1" dirty="0">
                <a:solidFill>
                  <a:srgbClr val="9BBA43"/>
                </a:solidFill>
              </a:rPr>
              <a:t>Highspeed 3</a:t>
            </a:r>
          </a:p>
        </p:txBody>
      </p:sp>
      <p:sp>
        <p:nvSpPr>
          <p:cNvPr id="50" name="Rectangle 49">
            <a:extLst>
              <a:ext uri="{FF2B5EF4-FFF2-40B4-BE49-F238E27FC236}">
                <a16:creationId xmlns:a16="http://schemas.microsoft.com/office/drawing/2014/main" id="{C2BE27FE-F7F7-480E-8EA7-CF89D7612D38}"/>
              </a:ext>
            </a:extLst>
          </p:cNvPr>
          <p:cNvSpPr/>
          <p:nvPr/>
        </p:nvSpPr>
        <p:spPr>
          <a:xfrm>
            <a:off x="1017829" y="3418750"/>
            <a:ext cx="2733377" cy="585610"/>
          </a:xfrm>
          <a:prstGeom prst="rect">
            <a:avLst/>
          </a:prstGeom>
        </p:spPr>
        <p:txBody>
          <a:bodyPr wrap="none">
            <a:spAutoFit/>
          </a:bodyPr>
          <a:lstStyle/>
          <a:p>
            <a:pPr defTabSz="576000" eaLnBrk="0" fontAlgn="auto" hangingPunct="0">
              <a:lnSpc>
                <a:spcPct val="120000"/>
              </a:lnSpc>
              <a:spcBef>
                <a:spcPts val="0"/>
              </a:spcBef>
              <a:spcAft>
                <a:spcPts val="0"/>
              </a:spcAft>
              <a:buClr>
                <a:schemeClr val="tx2"/>
              </a:buClr>
            </a:pPr>
            <a:r>
              <a:rPr lang="en-US" b="1" dirty="0">
                <a:solidFill>
                  <a:srgbClr val="9BBA43"/>
                </a:solidFill>
              </a:rPr>
              <a:t>TRENCHSTOP™ performance</a:t>
            </a:r>
          </a:p>
          <a:p>
            <a:pPr defTabSz="576000" eaLnBrk="0" fontAlgn="auto" hangingPunct="0">
              <a:lnSpc>
                <a:spcPct val="120000"/>
              </a:lnSpc>
              <a:spcBef>
                <a:spcPts val="0"/>
              </a:spcBef>
              <a:spcAft>
                <a:spcPts val="0"/>
              </a:spcAft>
              <a:buClr>
                <a:schemeClr val="tx2"/>
              </a:buClr>
            </a:pPr>
            <a:r>
              <a:rPr lang="en-US" b="1" dirty="0">
                <a:solidFill>
                  <a:srgbClr val="9BBA43"/>
                </a:solidFill>
              </a:rPr>
              <a:t>		</a:t>
            </a:r>
          </a:p>
        </p:txBody>
      </p:sp>
      <p:sp>
        <p:nvSpPr>
          <p:cNvPr id="51" name="Freeform: Shape 50">
            <a:extLst>
              <a:ext uri="{FF2B5EF4-FFF2-40B4-BE49-F238E27FC236}">
                <a16:creationId xmlns:a16="http://schemas.microsoft.com/office/drawing/2014/main" id="{2016E930-08CB-409C-A21B-E5A22231E76C}"/>
              </a:ext>
            </a:extLst>
          </p:cNvPr>
          <p:cNvSpPr/>
          <p:nvPr/>
        </p:nvSpPr>
        <p:spPr>
          <a:xfrm>
            <a:off x="6554337" y="4289541"/>
            <a:ext cx="45719" cy="1627738"/>
          </a:xfrm>
          <a:custGeom>
            <a:avLst/>
            <a:gdLst>
              <a:gd name="connsiteX0" fmla="*/ 5934 w 0"/>
              <a:gd name="connsiteY0" fmla="*/ 5934 h 2720757"/>
              <a:gd name="connsiteX1" fmla="*/ 5934 w 0"/>
              <a:gd name="connsiteY1" fmla="*/ 2727525 h 2720757"/>
            </a:gdLst>
            <a:ahLst/>
            <a:cxnLst>
              <a:cxn ang="0">
                <a:pos x="connsiteX0" y="connsiteY0"/>
              </a:cxn>
              <a:cxn ang="0">
                <a:pos x="connsiteX1" y="connsiteY1"/>
              </a:cxn>
            </a:cxnLst>
            <a:rect l="l" t="t" r="r" b="b"/>
            <a:pathLst>
              <a:path h="2720757">
                <a:moveTo>
                  <a:pt x="5934" y="5934"/>
                </a:moveTo>
                <a:lnTo>
                  <a:pt x="5934" y="2727525"/>
                </a:lnTo>
              </a:path>
            </a:pathLst>
          </a:custGeom>
          <a:ln w="5429" cap="flat">
            <a:solidFill>
              <a:srgbClr val="8D8786"/>
            </a:solidFill>
            <a:custDash>
              <a:ds d="0" sp="0"/>
              <a:ds d="318000" sp="159000"/>
            </a:custDash>
            <a:miter/>
          </a:ln>
        </p:spPr>
        <p:txBody>
          <a:bodyPr rtlCol="0" anchor="ctr"/>
          <a:lstStyle/>
          <a:p>
            <a:endParaRPr lang="en-US" dirty="0"/>
          </a:p>
        </p:txBody>
      </p:sp>
      <p:sp>
        <p:nvSpPr>
          <p:cNvPr id="52" name="TextBox 51">
            <a:extLst>
              <a:ext uri="{FF2B5EF4-FFF2-40B4-BE49-F238E27FC236}">
                <a16:creationId xmlns:a16="http://schemas.microsoft.com/office/drawing/2014/main" id="{92E47FC9-9AF4-4633-9600-060242D3E97C}"/>
              </a:ext>
            </a:extLst>
          </p:cNvPr>
          <p:cNvSpPr txBox="1"/>
          <p:nvPr/>
        </p:nvSpPr>
        <p:spPr bwMode="auto">
          <a:xfrm>
            <a:off x="1394672" y="1916832"/>
            <a:ext cx="2181048" cy="430887"/>
          </a:xfrm>
          <a:prstGeom prst="rect">
            <a:avLst/>
          </a:prstGeom>
          <a:solidFill>
            <a:schemeClr val="bg1"/>
          </a:solidFill>
          <a:ln w="9525">
            <a:noFill/>
            <a:miter lim="800000"/>
            <a:headEnd/>
            <a:tailEnd/>
          </a:ln>
          <a:effectLst/>
        </p:spPr>
        <p:txBody>
          <a:bodyPr wrap="square" lIns="0" tIns="0" rIns="0" bIns="0" rtlCol="0" anchor="t" anchorCtr="0">
            <a:spAutoFit/>
          </a:bodyPr>
          <a:lstStyle/>
          <a:p>
            <a:r>
              <a:rPr lang="en-US" b="1" dirty="0">
                <a:solidFill>
                  <a:srgbClr val="0A8276"/>
                </a:solidFill>
              </a:rPr>
              <a:t>Older discrete silicon technologies</a:t>
            </a:r>
            <a:endParaRPr lang="en-US" b="1" kern="0" baseline="0" dirty="0">
              <a:solidFill>
                <a:srgbClr val="0A8276"/>
              </a:solidFill>
              <a:latin typeface="+mn-lt"/>
              <a:ea typeface="+mn-ea"/>
              <a:cs typeface="+mn-cs"/>
            </a:endParaRPr>
          </a:p>
        </p:txBody>
      </p:sp>
      <p:pic>
        <p:nvPicPr>
          <p:cNvPr id="53" name="Picture 52">
            <a:extLst>
              <a:ext uri="{FF2B5EF4-FFF2-40B4-BE49-F238E27FC236}">
                <a16:creationId xmlns:a16="http://schemas.microsoft.com/office/drawing/2014/main" id="{0C952638-8682-4E05-AB44-BDFC9B60AB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0102" y="3913642"/>
            <a:ext cx="1311535" cy="1311535"/>
          </a:xfrm>
          <a:prstGeom prst="rect">
            <a:avLst/>
          </a:prstGeom>
        </p:spPr>
      </p:pic>
      <p:sp>
        <p:nvSpPr>
          <p:cNvPr id="55" name="Rectangle 54">
            <a:extLst>
              <a:ext uri="{FF2B5EF4-FFF2-40B4-BE49-F238E27FC236}">
                <a16:creationId xmlns:a16="http://schemas.microsoft.com/office/drawing/2014/main" id="{A4519BDF-6044-4C26-A781-85C9331BBA0E}"/>
              </a:ext>
            </a:extLst>
          </p:cNvPr>
          <p:cNvSpPr/>
          <p:nvPr/>
        </p:nvSpPr>
        <p:spPr>
          <a:xfrm>
            <a:off x="903358" y="2691997"/>
            <a:ext cx="1648143" cy="307777"/>
          </a:xfrm>
          <a:prstGeom prst="rect">
            <a:avLst/>
          </a:prstGeom>
        </p:spPr>
        <p:txBody>
          <a:bodyPr wrap="none">
            <a:spAutoFit/>
          </a:bodyPr>
          <a:lstStyle/>
          <a:p>
            <a:r>
              <a:rPr lang="en-US" b="1" dirty="0">
                <a:solidFill>
                  <a:srgbClr val="9BBA43"/>
                </a:solidFill>
              </a:rPr>
              <a:t>TRENCHSTOP™ </a:t>
            </a:r>
            <a:endParaRPr lang="en-US" dirty="0"/>
          </a:p>
        </p:txBody>
      </p:sp>
      <p:sp>
        <p:nvSpPr>
          <p:cNvPr id="56" name="Rectangle 55">
            <a:extLst>
              <a:ext uri="{FF2B5EF4-FFF2-40B4-BE49-F238E27FC236}">
                <a16:creationId xmlns:a16="http://schemas.microsoft.com/office/drawing/2014/main" id="{31394CF9-1AC3-43F8-94C4-A984AD1D3AC6}"/>
              </a:ext>
            </a:extLst>
          </p:cNvPr>
          <p:cNvSpPr/>
          <p:nvPr/>
        </p:nvSpPr>
        <p:spPr>
          <a:xfrm>
            <a:off x="1395455" y="2981418"/>
            <a:ext cx="1747530" cy="327077"/>
          </a:xfrm>
          <a:prstGeom prst="rect">
            <a:avLst/>
          </a:prstGeom>
        </p:spPr>
        <p:txBody>
          <a:bodyPr wrap="none">
            <a:spAutoFit/>
          </a:bodyPr>
          <a:lstStyle/>
          <a:p>
            <a:pPr defTabSz="576000" eaLnBrk="0" fontAlgn="auto" hangingPunct="0">
              <a:lnSpc>
                <a:spcPct val="120000"/>
              </a:lnSpc>
              <a:spcBef>
                <a:spcPts val="0"/>
              </a:spcBef>
              <a:spcAft>
                <a:spcPts val="0"/>
              </a:spcAft>
              <a:buClr>
                <a:schemeClr val="tx2"/>
              </a:buClr>
            </a:pPr>
            <a:r>
              <a:rPr lang="en-US" b="1" dirty="0">
                <a:solidFill>
                  <a:srgbClr val="9BBA43"/>
                </a:solidFill>
              </a:rPr>
              <a:t>TRENCHSTOP™ 2</a:t>
            </a:r>
          </a:p>
        </p:txBody>
      </p:sp>
      <p:sp>
        <p:nvSpPr>
          <p:cNvPr id="57" name="Rectangle 56">
            <a:extLst>
              <a:ext uri="{FF2B5EF4-FFF2-40B4-BE49-F238E27FC236}">
                <a16:creationId xmlns:a16="http://schemas.microsoft.com/office/drawing/2014/main" id="{16C23B52-4D3A-42C7-BCBC-C351508C2089}"/>
              </a:ext>
            </a:extLst>
          </p:cNvPr>
          <p:cNvSpPr/>
          <p:nvPr/>
        </p:nvSpPr>
        <p:spPr>
          <a:xfrm>
            <a:off x="2479244" y="4038217"/>
            <a:ext cx="1747530" cy="327077"/>
          </a:xfrm>
          <a:prstGeom prst="rect">
            <a:avLst/>
          </a:prstGeom>
        </p:spPr>
        <p:txBody>
          <a:bodyPr wrap="none">
            <a:spAutoFit/>
          </a:bodyPr>
          <a:lstStyle/>
          <a:p>
            <a:pPr defTabSz="576000" eaLnBrk="0" fontAlgn="auto" hangingPunct="0">
              <a:lnSpc>
                <a:spcPct val="120000"/>
              </a:lnSpc>
              <a:spcBef>
                <a:spcPts val="0"/>
              </a:spcBef>
              <a:spcAft>
                <a:spcPts val="0"/>
              </a:spcAft>
              <a:buClr>
                <a:schemeClr val="tx2"/>
              </a:buClr>
            </a:pPr>
            <a:r>
              <a:rPr lang="en-US" b="1" dirty="0">
                <a:solidFill>
                  <a:srgbClr val="9BBA43"/>
                </a:solidFill>
              </a:rPr>
              <a:t>TRENCHSTOP™ 5</a:t>
            </a:r>
          </a:p>
        </p:txBody>
      </p:sp>
      <p:sp>
        <p:nvSpPr>
          <p:cNvPr id="58" name="Rectangle 57">
            <a:extLst>
              <a:ext uri="{FF2B5EF4-FFF2-40B4-BE49-F238E27FC236}">
                <a16:creationId xmlns:a16="http://schemas.microsoft.com/office/drawing/2014/main" id="{81F5E4CE-4563-41CF-9709-B4282E7CB0F7}"/>
              </a:ext>
            </a:extLst>
          </p:cNvPr>
          <p:cNvSpPr/>
          <p:nvPr/>
        </p:nvSpPr>
        <p:spPr>
          <a:xfrm>
            <a:off x="2021469" y="3745056"/>
            <a:ext cx="2225225" cy="327077"/>
          </a:xfrm>
          <a:prstGeom prst="rect">
            <a:avLst/>
          </a:prstGeom>
        </p:spPr>
        <p:txBody>
          <a:bodyPr wrap="none">
            <a:spAutoFit/>
          </a:bodyPr>
          <a:lstStyle/>
          <a:p>
            <a:pPr defTabSz="576000" eaLnBrk="0" fontAlgn="auto" hangingPunct="0">
              <a:lnSpc>
                <a:spcPct val="120000"/>
              </a:lnSpc>
              <a:spcBef>
                <a:spcPts val="0"/>
              </a:spcBef>
              <a:spcAft>
                <a:spcPts val="0"/>
              </a:spcAft>
              <a:buClr>
                <a:schemeClr val="tx2"/>
              </a:buClr>
            </a:pPr>
            <a:r>
              <a:rPr lang="en-US" b="1" dirty="0">
                <a:solidFill>
                  <a:srgbClr val="9BBA43"/>
                </a:solidFill>
              </a:rPr>
              <a:t>TRENCHSTOP™ IGBT 6</a:t>
            </a:r>
          </a:p>
        </p:txBody>
      </p:sp>
      <p:sp>
        <p:nvSpPr>
          <p:cNvPr id="59" name="TextBox 58">
            <a:extLst>
              <a:ext uri="{FF2B5EF4-FFF2-40B4-BE49-F238E27FC236}">
                <a16:creationId xmlns:a16="http://schemas.microsoft.com/office/drawing/2014/main" id="{E2B05749-E5F1-4E02-875D-F1F051E10020}"/>
              </a:ext>
            </a:extLst>
          </p:cNvPr>
          <p:cNvSpPr txBox="1"/>
          <p:nvPr/>
        </p:nvSpPr>
        <p:spPr bwMode="auto">
          <a:xfrm>
            <a:off x="4229165" y="5199339"/>
            <a:ext cx="1433533" cy="493277"/>
          </a:xfrm>
          <a:prstGeom prst="rect">
            <a:avLst/>
          </a:prstGeom>
          <a:noFill/>
          <a:ln w="9525">
            <a:noFill/>
            <a:prstDash val="dash"/>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b="1" dirty="0">
                <a:solidFill>
                  <a:srgbClr val="0A8276"/>
                </a:solidFill>
              </a:rPr>
              <a:t>2021-2025</a:t>
            </a:r>
          </a:p>
          <a:p>
            <a:pPr marR="0" algn="ctr" defTabSz="576000" eaLnBrk="0" fontAlgn="auto" latinLnBrk="0" hangingPunct="0">
              <a:lnSpc>
                <a:spcPct val="120000"/>
              </a:lnSpc>
              <a:spcBef>
                <a:spcPts val="0"/>
              </a:spcBef>
              <a:spcAft>
                <a:spcPts val="0"/>
              </a:spcAft>
              <a:buClr>
                <a:schemeClr val="tx2"/>
              </a:buClr>
              <a:buSzTx/>
              <a:tabLst/>
            </a:pPr>
            <a:r>
              <a:rPr lang="en-US" b="1" dirty="0">
                <a:solidFill>
                  <a:srgbClr val="0A8276"/>
                </a:solidFill>
              </a:rPr>
              <a:t>6</a:t>
            </a:r>
            <a:r>
              <a:rPr lang="sl-SI" b="1" dirty="0">
                <a:solidFill>
                  <a:srgbClr val="0A8276"/>
                </a:solidFill>
              </a:rPr>
              <a:t>1</a:t>
            </a:r>
            <a:r>
              <a:rPr lang="en-US" b="1" dirty="0">
                <a:solidFill>
                  <a:srgbClr val="0A8276"/>
                </a:solidFill>
              </a:rPr>
              <a:t> products</a:t>
            </a:r>
          </a:p>
        </p:txBody>
      </p:sp>
      <p:sp>
        <p:nvSpPr>
          <p:cNvPr id="60" name="Freeform: Shape 59">
            <a:extLst>
              <a:ext uri="{FF2B5EF4-FFF2-40B4-BE49-F238E27FC236}">
                <a16:creationId xmlns:a16="http://schemas.microsoft.com/office/drawing/2014/main" id="{A3D6E7F8-52DC-47FC-AB12-E4F23424C371}"/>
              </a:ext>
            </a:extLst>
          </p:cNvPr>
          <p:cNvSpPr/>
          <p:nvPr/>
        </p:nvSpPr>
        <p:spPr>
          <a:xfrm>
            <a:off x="4948743" y="5722356"/>
            <a:ext cx="45719" cy="178263"/>
          </a:xfrm>
          <a:custGeom>
            <a:avLst/>
            <a:gdLst>
              <a:gd name="connsiteX0" fmla="*/ 5934 w 0"/>
              <a:gd name="connsiteY0" fmla="*/ 5934 h 2720757"/>
              <a:gd name="connsiteX1" fmla="*/ 5934 w 0"/>
              <a:gd name="connsiteY1" fmla="*/ 2727525 h 2720757"/>
            </a:gdLst>
            <a:ahLst/>
            <a:cxnLst>
              <a:cxn ang="0">
                <a:pos x="connsiteX0" y="connsiteY0"/>
              </a:cxn>
              <a:cxn ang="0">
                <a:pos x="connsiteX1" y="connsiteY1"/>
              </a:cxn>
            </a:cxnLst>
            <a:rect l="l" t="t" r="r" b="b"/>
            <a:pathLst>
              <a:path h="2720757">
                <a:moveTo>
                  <a:pt x="5934" y="5934"/>
                </a:moveTo>
                <a:lnTo>
                  <a:pt x="5934" y="2727525"/>
                </a:lnTo>
              </a:path>
            </a:pathLst>
          </a:custGeom>
          <a:ln w="5429" cap="flat">
            <a:solidFill>
              <a:srgbClr val="8D8786"/>
            </a:solidFill>
            <a:custDash>
              <a:ds d="0" sp="0"/>
              <a:ds d="318000" sp="159000"/>
            </a:custDash>
            <a:miter/>
          </a:ln>
        </p:spPr>
        <p:txBody>
          <a:bodyPr rtlCol="0" anchor="ctr"/>
          <a:lstStyle/>
          <a:p>
            <a:endParaRPr lang="en-US" dirty="0"/>
          </a:p>
        </p:txBody>
      </p:sp>
      <p:pic>
        <p:nvPicPr>
          <p:cNvPr id="8" name="Picture 7">
            <a:extLst>
              <a:ext uri="{FF2B5EF4-FFF2-40B4-BE49-F238E27FC236}">
                <a16:creationId xmlns:a16="http://schemas.microsoft.com/office/drawing/2014/main" id="{B2EA83D9-661C-42FC-B053-654EF4621E3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79976" y="2962979"/>
            <a:ext cx="1330117" cy="1330117"/>
          </a:xfrm>
          <a:prstGeom prst="rect">
            <a:avLst/>
          </a:prstGeom>
        </p:spPr>
      </p:pic>
      <p:sp>
        <p:nvSpPr>
          <p:cNvPr id="27" name="TextBox 26">
            <a:extLst>
              <a:ext uri="{FF2B5EF4-FFF2-40B4-BE49-F238E27FC236}">
                <a16:creationId xmlns:a16="http://schemas.microsoft.com/office/drawing/2014/main" id="{21887F04-D680-4E26-8610-FB535E9DFE37}"/>
              </a:ext>
            </a:extLst>
          </p:cNvPr>
          <p:cNvSpPr txBox="1"/>
          <p:nvPr/>
        </p:nvSpPr>
        <p:spPr bwMode="auto">
          <a:xfrm>
            <a:off x="5828267" y="1971814"/>
            <a:ext cx="1433533" cy="751809"/>
          </a:xfrm>
          <a:prstGeom prst="rect">
            <a:avLst/>
          </a:prstGeom>
          <a:noFill/>
          <a:ln w="9525">
            <a:noFill/>
            <a:prstDash val="dash"/>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b="1" dirty="0">
                <a:solidFill>
                  <a:srgbClr val="0A8276"/>
                </a:solidFill>
              </a:rPr>
              <a:t>2016 – Gen1</a:t>
            </a:r>
          </a:p>
          <a:p>
            <a:pPr marR="0" algn="ctr" defTabSz="576000" eaLnBrk="0" fontAlgn="auto" latinLnBrk="0" hangingPunct="0">
              <a:lnSpc>
                <a:spcPct val="120000"/>
              </a:lnSpc>
              <a:spcBef>
                <a:spcPts val="0"/>
              </a:spcBef>
              <a:spcAft>
                <a:spcPts val="0"/>
              </a:spcAft>
              <a:buClr>
                <a:schemeClr val="tx2"/>
              </a:buClr>
              <a:buSzTx/>
              <a:tabLst/>
            </a:pPr>
            <a:r>
              <a:rPr lang="en-US" b="1" dirty="0">
                <a:solidFill>
                  <a:srgbClr val="0A8276"/>
                </a:solidFill>
              </a:rPr>
              <a:t>2024 – Gen2</a:t>
            </a:r>
          </a:p>
          <a:p>
            <a:pPr marR="0" algn="ctr" defTabSz="576000" eaLnBrk="0" fontAlgn="auto" latinLnBrk="0" hangingPunct="0">
              <a:lnSpc>
                <a:spcPct val="120000"/>
              </a:lnSpc>
              <a:spcBef>
                <a:spcPts val="0"/>
              </a:spcBef>
              <a:spcAft>
                <a:spcPts val="0"/>
              </a:spcAft>
              <a:buClr>
                <a:schemeClr val="tx2"/>
              </a:buClr>
              <a:buSzTx/>
              <a:tabLst/>
            </a:pPr>
            <a:endParaRPr lang="en-US" b="1" dirty="0">
              <a:solidFill>
                <a:srgbClr val="0A8276"/>
              </a:solidFill>
            </a:endParaRPr>
          </a:p>
        </p:txBody>
      </p:sp>
    </p:spTree>
    <p:extLst>
      <p:ext uri="{BB962C8B-B14F-4D97-AF65-F5344CB8AC3E}">
        <p14:creationId xmlns:p14="http://schemas.microsoft.com/office/powerpoint/2010/main" val="25642089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107A895A-073A-4A7A-8CF3-FF938C909108}"/>
              </a:ext>
            </a:extLst>
          </p:cNvPr>
          <p:cNvGraphicFramePr>
            <a:graphicFrameLocks noGrp="1"/>
          </p:cNvGraphicFramePr>
          <p:nvPr>
            <p:extLst>
              <p:ext uri="{D42A27DB-BD31-4B8C-83A1-F6EECF244321}">
                <p14:modId xmlns:p14="http://schemas.microsoft.com/office/powerpoint/2010/main" val="3989944583"/>
              </p:ext>
            </p:extLst>
          </p:nvPr>
        </p:nvGraphicFramePr>
        <p:xfrm>
          <a:off x="444473" y="914544"/>
          <a:ext cx="10764095" cy="545458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26A7307A-1BAD-4919-B4D2-7DD2AF2F1980}"/>
              </a:ext>
            </a:extLst>
          </p:cNvPr>
          <p:cNvSpPr>
            <a:spLocks noGrp="1"/>
          </p:cNvSpPr>
          <p:nvPr>
            <p:ph type="title"/>
          </p:nvPr>
        </p:nvSpPr>
        <p:spPr/>
        <p:txBody>
          <a:bodyPr/>
          <a:lstStyle/>
          <a:p>
            <a:r>
              <a:rPr lang="de-AT" dirty="0"/>
              <a:t>1200 V IGBT7 vs. SiC MOSFET positioning</a:t>
            </a:r>
          </a:p>
        </p:txBody>
      </p:sp>
      <p:sp>
        <p:nvSpPr>
          <p:cNvPr id="7" name="TextBox 6">
            <a:extLst>
              <a:ext uri="{FF2B5EF4-FFF2-40B4-BE49-F238E27FC236}">
                <a16:creationId xmlns:a16="http://schemas.microsoft.com/office/drawing/2014/main" id="{4AA231C7-D5C5-4311-BC1D-7307C30F694B}"/>
              </a:ext>
            </a:extLst>
          </p:cNvPr>
          <p:cNvSpPr txBox="1"/>
          <p:nvPr/>
        </p:nvSpPr>
        <p:spPr bwMode="auto">
          <a:xfrm>
            <a:off x="3899756" y="5861501"/>
            <a:ext cx="792088"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kern="0" baseline="0" dirty="0">
                <a:solidFill>
                  <a:schemeClr val="accent3"/>
                </a:solidFill>
                <a:latin typeface="+mn-lt"/>
                <a:ea typeface="+mn-ea"/>
                <a:cs typeface="+mn-cs"/>
              </a:rPr>
              <a:t>40 kHz</a:t>
            </a:r>
          </a:p>
        </p:txBody>
      </p:sp>
      <p:cxnSp>
        <p:nvCxnSpPr>
          <p:cNvPr id="9" name="Straight Connector 8">
            <a:extLst>
              <a:ext uri="{FF2B5EF4-FFF2-40B4-BE49-F238E27FC236}">
                <a16:creationId xmlns:a16="http://schemas.microsoft.com/office/drawing/2014/main" id="{6A53B401-A947-405E-BC54-7F692028BDFE}"/>
              </a:ext>
            </a:extLst>
          </p:cNvPr>
          <p:cNvCxnSpPr>
            <a:cxnSpLocks/>
          </p:cNvCxnSpPr>
          <p:nvPr/>
        </p:nvCxnSpPr>
        <p:spPr>
          <a:xfrm>
            <a:off x="4151784" y="4438504"/>
            <a:ext cx="0" cy="1392061"/>
          </a:xfrm>
          <a:prstGeom prst="line">
            <a:avLst/>
          </a:prstGeom>
          <a:ln w="28575">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693E92E-4D09-4F49-AC43-E3E266976839}"/>
              </a:ext>
            </a:extLst>
          </p:cNvPr>
          <p:cNvCxnSpPr>
            <a:cxnSpLocks/>
          </p:cNvCxnSpPr>
          <p:nvPr/>
        </p:nvCxnSpPr>
        <p:spPr>
          <a:xfrm>
            <a:off x="2603612" y="4641517"/>
            <a:ext cx="0" cy="1189048"/>
          </a:xfrm>
          <a:prstGeom prst="line">
            <a:avLst/>
          </a:prstGeom>
          <a:ln w="28575">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E8E7C1C-442E-4CF6-B154-80B6AF5A7D83}"/>
              </a:ext>
            </a:extLst>
          </p:cNvPr>
          <p:cNvSpPr txBox="1"/>
          <p:nvPr/>
        </p:nvSpPr>
        <p:spPr bwMode="auto">
          <a:xfrm>
            <a:off x="4370597" y="5431378"/>
            <a:ext cx="1980220"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1800" kern="0" baseline="0" dirty="0">
                <a:latin typeface="+mn-lt"/>
                <a:ea typeface="+mn-ea"/>
                <a:cs typeface="+mn-cs"/>
              </a:rPr>
              <a:t>SiC MOSFET</a:t>
            </a:r>
          </a:p>
        </p:txBody>
      </p:sp>
      <p:sp>
        <p:nvSpPr>
          <p:cNvPr id="10" name="TextBox 9">
            <a:extLst>
              <a:ext uri="{FF2B5EF4-FFF2-40B4-BE49-F238E27FC236}">
                <a16:creationId xmlns:a16="http://schemas.microsoft.com/office/drawing/2014/main" id="{DAFE5C5D-1297-4995-9EE8-A5CBDB84E60C}"/>
              </a:ext>
            </a:extLst>
          </p:cNvPr>
          <p:cNvSpPr txBox="1"/>
          <p:nvPr/>
        </p:nvSpPr>
        <p:spPr bwMode="auto">
          <a:xfrm>
            <a:off x="3082400" y="5492095"/>
            <a:ext cx="626599"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1800" kern="0" baseline="0" dirty="0">
                <a:latin typeface="+mn-lt"/>
                <a:ea typeface="+mn-ea"/>
                <a:cs typeface="+mn-cs"/>
              </a:rPr>
              <a:t>both</a:t>
            </a:r>
          </a:p>
        </p:txBody>
      </p:sp>
      <p:sp>
        <p:nvSpPr>
          <p:cNvPr id="11" name="TextBox 10">
            <a:extLst>
              <a:ext uri="{FF2B5EF4-FFF2-40B4-BE49-F238E27FC236}">
                <a16:creationId xmlns:a16="http://schemas.microsoft.com/office/drawing/2014/main" id="{5DF6B731-32C9-4A65-A38C-73C74C1AE568}"/>
              </a:ext>
            </a:extLst>
          </p:cNvPr>
          <p:cNvSpPr txBox="1"/>
          <p:nvPr/>
        </p:nvSpPr>
        <p:spPr bwMode="auto">
          <a:xfrm>
            <a:off x="1522942" y="5487711"/>
            <a:ext cx="684076"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1800" kern="0" baseline="0" dirty="0">
                <a:latin typeface="+mn-lt"/>
                <a:ea typeface="+mn-ea"/>
                <a:cs typeface="+mn-cs"/>
              </a:rPr>
              <a:t>IGBT</a:t>
            </a:r>
          </a:p>
        </p:txBody>
      </p:sp>
      <p:sp>
        <p:nvSpPr>
          <p:cNvPr id="14" name="TextBox 13">
            <a:extLst>
              <a:ext uri="{FF2B5EF4-FFF2-40B4-BE49-F238E27FC236}">
                <a16:creationId xmlns:a16="http://schemas.microsoft.com/office/drawing/2014/main" id="{8FAED107-6F8E-414A-8859-6678B3CA7F2A}"/>
              </a:ext>
            </a:extLst>
          </p:cNvPr>
          <p:cNvSpPr txBox="1"/>
          <p:nvPr/>
        </p:nvSpPr>
        <p:spPr bwMode="auto">
          <a:xfrm>
            <a:off x="2351585" y="5830565"/>
            <a:ext cx="792088"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kern="0" dirty="0">
                <a:solidFill>
                  <a:schemeClr val="accent3"/>
                </a:solidFill>
                <a:latin typeface="+mn-lt"/>
              </a:rPr>
              <a:t>2</a:t>
            </a:r>
            <a:r>
              <a:rPr lang="de-AT" kern="0" baseline="0" dirty="0">
                <a:solidFill>
                  <a:schemeClr val="accent3"/>
                </a:solidFill>
                <a:latin typeface="+mn-lt"/>
                <a:ea typeface="+mn-ea"/>
                <a:cs typeface="+mn-cs"/>
              </a:rPr>
              <a:t>0 kHz</a:t>
            </a:r>
          </a:p>
        </p:txBody>
      </p:sp>
      <p:sp>
        <p:nvSpPr>
          <p:cNvPr id="12" name="TextBox 11">
            <a:extLst>
              <a:ext uri="{FF2B5EF4-FFF2-40B4-BE49-F238E27FC236}">
                <a16:creationId xmlns:a16="http://schemas.microsoft.com/office/drawing/2014/main" id="{4D248976-9022-4E4B-BC48-735653C04428}"/>
              </a:ext>
            </a:extLst>
          </p:cNvPr>
          <p:cNvSpPr txBox="1"/>
          <p:nvPr/>
        </p:nvSpPr>
        <p:spPr bwMode="auto">
          <a:xfrm>
            <a:off x="3290480" y="1645165"/>
            <a:ext cx="2160234" cy="26827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1600" b="1" kern="0" baseline="0" dirty="0">
                <a:solidFill>
                  <a:schemeClr val="accent4"/>
                </a:solidFill>
                <a:latin typeface="+mn-lt"/>
                <a:ea typeface="+mn-ea"/>
                <a:cs typeface="+mn-cs"/>
              </a:rPr>
              <a:t>CoolSiC</a:t>
            </a:r>
            <a:r>
              <a:rPr lang="de-AT" sz="1600" b="1" kern="0" baseline="30000" dirty="0">
                <a:solidFill>
                  <a:schemeClr val="accent4"/>
                </a:solidFill>
                <a:latin typeface="+mn-lt"/>
                <a:ea typeface="+mn-ea"/>
                <a:cs typeface="+mn-cs"/>
              </a:rPr>
              <a:t>TM</a:t>
            </a:r>
            <a:r>
              <a:rPr lang="de-AT" sz="1600" b="1" kern="0" baseline="0" dirty="0">
                <a:solidFill>
                  <a:schemeClr val="accent4"/>
                </a:solidFill>
                <a:latin typeface="+mn-lt"/>
                <a:ea typeface="+mn-ea"/>
                <a:cs typeface="+mn-cs"/>
              </a:rPr>
              <a:t> MOSFET</a:t>
            </a:r>
          </a:p>
        </p:txBody>
      </p:sp>
      <p:sp>
        <p:nvSpPr>
          <p:cNvPr id="15" name="TextBox 14">
            <a:extLst>
              <a:ext uri="{FF2B5EF4-FFF2-40B4-BE49-F238E27FC236}">
                <a16:creationId xmlns:a16="http://schemas.microsoft.com/office/drawing/2014/main" id="{BEA9E806-090C-4566-A683-1FAA6C6243CF}"/>
              </a:ext>
            </a:extLst>
          </p:cNvPr>
          <p:cNvSpPr txBox="1"/>
          <p:nvPr/>
        </p:nvSpPr>
        <p:spPr bwMode="auto">
          <a:xfrm rot="1295137">
            <a:off x="1168026" y="3481736"/>
            <a:ext cx="3096343"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1200" b="1" kern="0" baseline="0" dirty="0">
                <a:solidFill>
                  <a:schemeClr val="tx2"/>
                </a:solidFill>
                <a:latin typeface="+mn-lt"/>
                <a:ea typeface="+mn-ea"/>
                <a:cs typeface="+mn-cs"/>
              </a:rPr>
              <a:t>TRENCHSTOP</a:t>
            </a:r>
            <a:r>
              <a:rPr lang="de-AT" sz="1200" b="1" kern="0" baseline="30000" dirty="0">
                <a:solidFill>
                  <a:schemeClr val="tx2"/>
                </a:solidFill>
                <a:latin typeface="+mn-lt"/>
                <a:ea typeface="+mn-ea"/>
                <a:cs typeface="+mn-cs"/>
              </a:rPr>
              <a:t>TM</a:t>
            </a:r>
            <a:r>
              <a:rPr lang="de-AT" sz="1200" b="1" kern="0" baseline="0" dirty="0">
                <a:solidFill>
                  <a:schemeClr val="tx2"/>
                </a:solidFill>
                <a:latin typeface="+mn-lt"/>
                <a:ea typeface="+mn-ea"/>
                <a:cs typeface="+mn-cs"/>
              </a:rPr>
              <a:t> IGBT7 H7</a:t>
            </a:r>
          </a:p>
        </p:txBody>
      </p:sp>
      <p:cxnSp>
        <p:nvCxnSpPr>
          <p:cNvPr id="20" name="Straight Connector 19">
            <a:extLst>
              <a:ext uri="{FF2B5EF4-FFF2-40B4-BE49-F238E27FC236}">
                <a16:creationId xmlns:a16="http://schemas.microsoft.com/office/drawing/2014/main" id="{A8B02BA9-A7E5-4112-BF4E-C23450B9CF00}"/>
              </a:ext>
            </a:extLst>
          </p:cNvPr>
          <p:cNvCxnSpPr>
            <a:cxnSpLocks/>
          </p:cNvCxnSpPr>
          <p:nvPr/>
        </p:nvCxnSpPr>
        <p:spPr>
          <a:xfrm>
            <a:off x="2602776" y="2132856"/>
            <a:ext cx="836" cy="1224136"/>
          </a:xfrm>
          <a:prstGeom prst="line">
            <a:avLst/>
          </a:prstGeom>
          <a:ln w="28575">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90D41AB-4847-4451-92D0-C22EAFD9143C}"/>
              </a:ext>
            </a:extLst>
          </p:cNvPr>
          <p:cNvGrpSpPr/>
          <p:nvPr/>
        </p:nvGrpSpPr>
        <p:grpSpPr>
          <a:xfrm>
            <a:off x="7464155" y="2132856"/>
            <a:ext cx="4727848" cy="4248893"/>
            <a:chOff x="7464155" y="1268412"/>
            <a:chExt cx="4727848" cy="5113337"/>
          </a:xfrm>
        </p:grpSpPr>
        <p:sp>
          <p:nvSpPr>
            <p:cNvPr id="16" name="Freihandform 21">
              <a:extLst>
                <a:ext uri="{FF2B5EF4-FFF2-40B4-BE49-F238E27FC236}">
                  <a16:creationId xmlns:a16="http://schemas.microsoft.com/office/drawing/2014/main" id="{6CA658FD-111A-4BB5-B9D0-C02DC086BE89}"/>
                </a:ext>
              </a:extLst>
            </p:cNvPr>
            <p:cNvSpPr/>
            <p:nvPr/>
          </p:nvSpPr>
          <p:spPr>
            <a:xfrm rot="16200000">
              <a:off x="7271410" y="1461157"/>
              <a:ext cx="5113337" cy="4727848"/>
            </a:xfrm>
            <a:custGeom>
              <a:avLst/>
              <a:gdLst>
                <a:gd name="connsiteX0" fmla="*/ 0 w 5113337"/>
                <a:gd name="connsiteY0" fmla="*/ 5952003 h 5952003"/>
                <a:gd name="connsiteX1" fmla="*/ 0 w 5113337"/>
                <a:gd name="connsiteY1" fmla="*/ 4976581 h 5952003"/>
                <a:gd name="connsiteX2" fmla="*/ 0 w 5113337"/>
                <a:gd name="connsiteY2" fmla="*/ 1623200 h 5952003"/>
                <a:gd name="connsiteX3" fmla="*/ 0 w 5113337"/>
                <a:gd name="connsiteY3" fmla="*/ 647778 h 5952003"/>
                <a:gd name="connsiteX4" fmla="*/ 1284780 w 5113337"/>
                <a:gd name="connsiteY4" fmla="*/ 0 h 5952003"/>
                <a:gd name="connsiteX5" fmla="*/ 5113337 w 5113337"/>
                <a:gd name="connsiteY5" fmla="*/ 1011748 h 5952003"/>
                <a:gd name="connsiteX6" fmla="*/ 5113337 w 5113337"/>
                <a:gd name="connsiteY6" fmla="*/ 1987170 h 5952003"/>
                <a:gd name="connsiteX7" fmla="*/ 5113337 w 5113337"/>
                <a:gd name="connsiteY7" fmla="*/ 4976581 h 5952003"/>
                <a:gd name="connsiteX8" fmla="*/ 5113337 w 5113337"/>
                <a:gd name="connsiteY8" fmla="*/ 5952003 h 59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3337" h="5952003">
                  <a:moveTo>
                    <a:pt x="0" y="5952003"/>
                  </a:moveTo>
                  <a:lnTo>
                    <a:pt x="0" y="4976581"/>
                  </a:lnTo>
                  <a:lnTo>
                    <a:pt x="0" y="1623200"/>
                  </a:lnTo>
                  <a:lnTo>
                    <a:pt x="0" y="647778"/>
                  </a:lnTo>
                  <a:lnTo>
                    <a:pt x="1284780" y="0"/>
                  </a:lnTo>
                  <a:lnTo>
                    <a:pt x="5113337" y="1011748"/>
                  </a:lnTo>
                  <a:lnTo>
                    <a:pt x="5113337" y="1987170"/>
                  </a:lnTo>
                  <a:lnTo>
                    <a:pt x="5113337" y="4976581"/>
                  </a:lnTo>
                  <a:lnTo>
                    <a:pt x="5113337" y="5952003"/>
                  </a:lnTo>
                  <a:close/>
                </a:path>
              </a:pathLst>
            </a:custGeom>
            <a:solidFill>
              <a:srgbClr val="0A8276"/>
            </a:solidFill>
            <a:ln w="8581" cap="flat">
              <a:noFill/>
              <a:prstDash val="solid"/>
              <a:miter/>
            </a:ln>
          </p:spPr>
          <p:txBody>
            <a:bodyPr rtlCol="0" anchor="ctr"/>
            <a:lstStyle/>
            <a:p>
              <a:endParaRPr lang="en-US" dirty="0"/>
            </a:p>
          </p:txBody>
        </p:sp>
        <p:sp>
          <p:nvSpPr>
            <p:cNvPr id="17" name="TextBox 16">
              <a:extLst>
                <a:ext uri="{FF2B5EF4-FFF2-40B4-BE49-F238E27FC236}">
                  <a16:creationId xmlns:a16="http://schemas.microsoft.com/office/drawing/2014/main" id="{7263A8D3-BCBF-4254-BAB7-5597FE1453DB}"/>
                </a:ext>
              </a:extLst>
            </p:cNvPr>
            <p:cNvSpPr txBox="1"/>
            <p:nvPr/>
          </p:nvSpPr>
          <p:spPr bwMode="auto">
            <a:xfrm>
              <a:off x="8213532" y="2625639"/>
              <a:ext cx="3454172" cy="3151128"/>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2400" kern="0" dirty="0">
                  <a:solidFill>
                    <a:schemeClr val="lt1"/>
                  </a:solidFill>
                  <a:latin typeface="+mn-lt"/>
                </a:rPr>
                <a:t>Discrete IGBT7 is</a:t>
              </a:r>
            </a:p>
            <a:p>
              <a:pPr marR="0" algn="ctr" defTabSz="576000" eaLnBrk="0" fontAlgn="auto" latinLnBrk="0" hangingPunct="0">
                <a:lnSpc>
                  <a:spcPct val="120000"/>
                </a:lnSpc>
                <a:spcBef>
                  <a:spcPts val="0"/>
                </a:spcBef>
                <a:spcAft>
                  <a:spcPts val="0"/>
                </a:spcAft>
                <a:buClr>
                  <a:schemeClr val="tx2"/>
                </a:buClr>
                <a:buSzTx/>
                <a:tabLst/>
              </a:pPr>
              <a:r>
                <a:rPr lang="en-US" sz="2400" kern="0" dirty="0">
                  <a:solidFill>
                    <a:schemeClr val="lt1"/>
                  </a:solidFill>
                  <a:latin typeface="+mn-lt"/>
                </a:rPr>
                <a:t>bridging the gap between traditional silicon IGBTs and offering a cost-effective alternative to wide-bandgap solutions</a:t>
              </a:r>
            </a:p>
          </p:txBody>
        </p:sp>
      </p:grpSp>
      <p:sp>
        <p:nvSpPr>
          <p:cNvPr id="22" name="TextBox 21">
            <a:extLst>
              <a:ext uri="{FF2B5EF4-FFF2-40B4-BE49-F238E27FC236}">
                <a16:creationId xmlns:a16="http://schemas.microsoft.com/office/drawing/2014/main" id="{661A1A5E-DAF8-4518-90B7-654A9211929F}"/>
              </a:ext>
            </a:extLst>
          </p:cNvPr>
          <p:cNvSpPr txBox="1"/>
          <p:nvPr/>
        </p:nvSpPr>
        <p:spPr bwMode="auto">
          <a:xfrm>
            <a:off x="6976787" y="1504884"/>
            <a:ext cx="1428184" cy="26827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1600" kern="0" baseline="0" dirty="0">
                <a:solidFill>
                  <a:schemeClr val="bg2"/>
                </a:solidFill>
                <a:latin typeface="+mn-lt"/>
                <a:ea typeface="+mn-ea"/>
                <a:cs typeface="+mn-cs"/>
              </a:rPr>
              <a:t>Efficiency</a:t>
            </a:r>
          </a:p>
        </p:txBody>
      </p:sp>
      <p:sp>
        <p:nvSpPr>
          <p:cNvPr id="23" name="TextBox 22">
            <a:extLst>
              <a:ext uri="{FF2B5EF4-FFF2-40B4-BE49-F238E27FC236}">
                <a16:creationId xmlns:a16="http://schemas.microsoft.com/office/drawing/2014/main" id="{05CF5807-6312-4AE4-8DE7-38A90E93A13B}"/>
              </a:ext>
            </a:extLst>
          </p:cNvPr>
          <p:cNvSpPr txBox="1"/>
          <p:nvPr/>
        </p:nvSpPr>
        <p:spPr bwMode="auto">
          <a:xfrm>
            <a:off x="6816080" y="1011051"/>
            <a:ext cx="1428184" cy="26827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sz="1600" kern="0" baseline="0" dirty="0">
                <a:solidFill>
                  <a:schemeClr val="bg2"/>
                </a:solidFill>
                <a:latin typeface="+mn-lt"/>
                <a:ea typeface="+mn-ea"/>
                <a:cs typeface="+mn-cs"/>
              </a:rPr>
              <a:t>Out Current</a:t>
            </a:r>
          </a:p>
        </p:txBody>
      </p:sp>
      <p:cxnSp>
        <p:nvCxnSpPr>
          <p:cNvPr id="24" name="Straight Arrow Connector 23">
            <a:extLst>
              <a:ext uri="{FF2B5EF4-FFF2-40B4-BE49-F238E27FC236}">
                <a16:creationId xmlns:a16="http://schemas.microsoft.com/office/drawing/2014/main" id="{D55808F7-094E-406B-B2A6-DE801AE53E5F}"/>
              </a:ext>
            </a:extLst>
          </p:cNvPr>
          <p:cNvCxnSpPr>
            <a:cxnSpLocks/>
          </p:cNvCxnSpPr>
          <p:nvPr/>
        </p:nvCxnSpPr>
        <p:spPr>
          <a:xfrm flipV="1">
            <a:off x="789687" y="3429001"/>
            <a:ext cx="953715" cy="348392"/>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D02BA68-67CF-4A24-BCC4-F9A847D3A346}"/>
              </a:ext>
            </a:extLst>
          </p:cNvPr>
          <p:cNvCxnSpPr>
            <a:cxnSpLocks/>
          </p:cNvCxnSpPr>
          <p:nvPr/>
        </p:nvCxnSpPr>
        <p:spPr>
          <a:xfrm>
            <a:off x="789687" y="3783217"/>
            <a:ext cx="620331" cy="62304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316D1AF-4B24-4128-B1C8-5C72C2F9647F}"/>
              </a:ext>
            </a:extLst>
          </p:cNvPr>
          <p:cNvSpPr txBox="1"/>
          <p:nvPr/>
        </p:nvSpPr>
        <p:spPr bwMode="auto">
          <a:xfrm>
            <a:off x="1448312" y="4203760"/>
            <a:ext cx="2160234"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b="1" kern="0" baseline="0" dirty="0">
                <a:solidFill>
                  <a:schemeClr val="accent4"/>
                </a:solidFill>
                <a:latin typeface="+mn-lt"/>
                <a:ea typeface="+mn-ea"/>
                <a:cs typeface="+mn-cs"/>
              </a:rPr>
              <a:t>CoolSiC</a:t>
            </a:r>
            <a:r>
              <a:rPr lang="de-AT" b="1" kern="0" baseline="30000" dirty="0">
                <a:solidFill>
                  <a:schemeClr val="accent4"/>
                </a:solidFill>
                <a:latin typeface="+mn-lt"/>
                <a:ea typeface="+mn-ea"/>
                <a:cs typeface="+mn-cs"/>
              </a:rPr>
              <a:t>TM</a:t>
            </a:r>
            <a:r>
              <a:rPr lang="de-AT" b="1" kern="0" baseline="0" dirty="0">
                <a:solidFill>
                  <a:schemeClr val="accent4"/>
                </a:solidFill>
                <a:latin typeface="+mn-lt"/>
                <a:ea typeface="+mn-ea"/>
                <a:cs typeface="+mn-cs"/>
              </a:rPr>
              <a:t> MOSFET</a:t>
            </a:r>
          </a:p>
        </p:txBody>
      </p:sp>
      <p:sp>
        <p:nvSpPr>
          <p:cNvPr id="31" name="TextBox 30">
            <a:extLst>
              <a:ext uri="{FF2B5EF4-FFF2-40B4-BE49-F238E27FC236}">
                <a16:creationId xmlns:a16="http://schemas.microsoft.com/office/drawing/2014/main" id="{A6BCB28B-32BE-469B-A9AF-26370444B6A9}"/>
              </a:ext>
            </a:extLst>
          </p:cNvPr>
          <p:cNvSpPr txBox="1"/>
          <p:nvPr/>
        </p:nvSpPr>
        <p:spPr bwMode="auto">
          <a:xfrm rot="764566">
            <a:off x="3227699" y="2300907"/>
            <a:ext cx="3096343"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AT" b="1" kern="0" baseline="0" dirty="0">
                <a:solidFill>
                  <a:schemeClr val="tx2"/>
                </a:solidFill>
                <a:latin typeface="+mn-lt"/>
                <a:ea typeface="+mn-ea"/>
                <a:cs typeface="+mn-cs"/>
              </a:rPr>
              <a:t>TRENCHSTOP</a:t>
            </a:r>
            <a:r>
              <a:rPr lang="de-AT" b="1" kern="0" baseline="30000" dirty="0">
                <a:solidFill>
                  <a:schemeClr val="tx2"/>
                </a:solidFill>
                <a:latin typeface="+mn-lt"/>
                <a:ea typeface="+mn-ea"/>
                <a:cs typeface="+mn-cs"/>
              </a:rPr>
              <a:t>TM</a:t>
            </a:r>
            <a:r>
              <a:rPr lang="de-AT" b="1" kern="0" baseline="0" dirty="0">
                <a:solidFill>
                  <a:schemeClr val="tx2"/>
                </a:solidFill>
                <a:latin typeface="+mn-lt"/>
                <a:ea typeface="+mn-ea"/>
                <a:cs typeface="+mn-cs"/>
              </a:rPr>
              <a:t> IGBT7 H7</a:t>
            </a:r>
          </a:p>
        </p:txBody>
      </p:sp>
      <p:cxnSp>
        <p:nvCxnSpPr>
          <p:cNvPr id="34" name="Straight Connector 33">
            <a:extLst>
              <a:ext uri="{FF2B5EF4-FFF2-40B4-BE49-F238E27FC236}">
                <a16:creationId xmlns:a16="http://schemas.microsoft.com/office/drawing/2014/main" id="{F3AB31B8-19BA-40C9-A569-E7000C2E5CB8}"/>
              </a:ext>
            </a:extLst>
          </p:cNvPr>
          <p:cNvCxnSpPr>
            <a:cxnSpLocks/>
          </p:cNvCxnSpPr>
          <p:nvPr/>
        </p:nvCxnSpPr>
        <p:spPr>
          <a:xfrm flipH="1">
            <a:off x="2602776" y="3726608"/>
            <a:ext cx="836" cy="477152"/>
          </a:xfrm>
          <a:prstGeom prst="line">
            <a:avLst/>
          </a:prstGeom>
          <a:ln w="28575">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2A87538-0139-451E-8E5D-35D6B2CD1414}"/>
              </a:ext>
            </a:extLst>
          </p:cNvPr>
          <p:cNvCxnSpPr>
            <a:cxnSpLocks/>
          </p:cNvCxnSpPr>
          <p:nvPr/>
        </p:nvCxnSpPr>
        <p:spPr>
          <a:xfrm flipH="1" flipV="1">
            <a:off x="5342544" y="2132856"/>
            <a:ext cx="1486479" cy="1232454"/>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C593BCA-DDEC-4B85-85F1-3957846DC52D}"/>
              </a:ext>
            </a:extLst>
          </p:cNvPr>
          <p:cNvCxnSpPr>
            <a:cxnSpLocks/>
          </p:cNvCxnSpPr>
          <p:nvPr/>
        </p:nvCxnSpPr>
        <p:spPr>
          <a:xfrm flipH="1">
            <a:off x="5756133" y="3939565"/>
            <a:ext cx="1032509" cy="408944"/>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0732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nfineon employee in clean room">
            <a:extLst>
              <a:ext uri="{FF2B5EF4-FFF2-40B4-BE49-F238E27FC236}">
                <a16:creationId xmlns:a16="http://schemas.microsoft.com/office/drawing/2014/main" id="{CB72EC3F-D2F6-402D-BEBF-282991B44448}"/>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2639614" y="1502674"/>
            <a:ext cx="9552386" cy="5373217"/>
          </a:xfrm>
          <a:prstGeom prst="rect">
            <a:avLst/>
          </a:prstGeom>
        </p:spPr>
      </p:pic>
      <p:sp>
        <p:nvSpPr>
          <p:cNvPr id="12" name="Pentagon 4">
            <a:extLst>
              <a:ext uri="{FF2B5EF4-FFF2-40B4-BE49-F238E27FC236}">
                <a16:creationId xmlns:a16="http://schemas.microsoft.com/office/drawing/2014/main" id="{08A28A8B-FF08-09F5-EDBD-595B20E7771E}"/>
              </a:ext>
            </a:extLst>
          </p:cNvPr>
          <p:cNvSpPr/>
          <p:nvPr/>
        </p:nvSpPr>
        <p:spPr bwMode="auto">
          <a:xfrm>
            <a:off x="0" y="1502674"/>
            <a:ext cx="5154992" cy="5355327"/>
          </a:xfrm>
          <a:custGeom>
            <a:avLst/>
            <a:gdLst>
              <a:gd name="connsiteX0" fmla="*/ 0 w 9484522"/>
              <a:gd name="connsiteY0" fmla="*/ 0 h 5111404"/>
              <a:gd name="connsiteX1" fmla="*/ 6928820 w 9484522"/>
              <a:gd name="connsiteY1" fmla="*/ 0 h 5111404"/>
              <a:gd name="connsiteX2" fmla="*/ 9484522 w 9484522"/>
              <a:gd name="connsiteY2" fmla="*/ 2555702 h 5111404"/>
              <a:gd name="connsiteX3" fmla="*/ 6928820 w 9484522"/>
              <a:gd name="connsiteY3" fmla="*/ 5111404 h 5111404"/>
              <a:gd name="connsiteX4" fmla="*/ 0 w 9484522"/>
              <a:gd name="connsiteY4" fmla="*/ 5111404 h 5111404"/>
              <a:gd name="connsiteX5" fmla="*/ 0 w 9484522"/>
              <a:gd name="connsiteY5" fmla="*/ 0 h 5111404"/>
              <a:gd name="connsiteX0" fmla="*/ 0 w 8220166"/>
              <a:gd name="connsiteY0" fmla="*/ 0 h 5111404"/>
              <a:gd name="connsiteX1" fmla="*/ 6928820 w 8220166"/>
              <a:gd name="connsiteY1" fmla="*/ 0 h 5111404"/>
              <a:gd name="connsiteX2" fmla="*/ 8220166 w 8220166"/>
              <a:gd name="connsiteY2" fmla="*/ 1765480 h 5111404"/>
              <a:gd name="connsiteX3" fmla="*/ 6928820 w 8220166"/>
              <a:gd name="connsiteY3" fmla="*/ 5111404 h 5111404"/>
              <a:gd name="connsiteX4" fmla="*/ 0 w 8220166"/>
              <a:gd name="connsiteY4" fmla="*/ 5111404 h 5111404"/>
              <a:gd name="connsiteX5" fmla="*/ 0 w 8220166"/>
              <a:gd name="connsiteY5" fmla="*/ 0 h 5111404"/>
              <a:gd name="connsiteX0" fmla="*/ 0 w 8605867"/>
              <a:gd name="connsiteY0" fmla="*/ 0 h 5111404"/>
              <a:gd name="connsiteX1" fmla="*/ 6928820 w 8605867"/>
              <a:gd name="connsiteY1" fmla="*/ 0 h 5111404"/>
              <a:gd name="connsiteX2" fmla="*/ 8605867 w 8605867"/>
              <a:gd name="connsiteY2" fmla="*/ 1745867 h 5111404"/>
              <a:gd name="connsiteX3" fmla="*/ 6928820 w 8605867"/>
              <a:gd name="connsiteY3" fmla="*/ 5111404 h 5111404"/>
              <a:gd name="connsiteX4" fmla="*/ 0 w 8605867"/>
              <a:gd name="connsiteY4" fmla="*/ 5111404 h 5111404"/>
              <a:gd name="connsiteX5" fmla="*/ 0 w 8605867"/>
              <a:gd name="connsiteY5" fmla="*/ 0 h 5111404"/>
              <a:gd name="connsiteX0" fmla="*/ 0 w 8605867"/>
              <a:gd name="connsiteY0" fmla="*/ 0 h 5131017"/>
              <a:gd name="connsiteX1" fmla="*/ 6928820 w 8605867"/>
              <a:gd name="connsiteY1" fmla="*/ 0 h 5131017"/>
              <a:gd name="connsiteX2" fmla="*/ 8605867 w 8605867"/>
              <a:gd name="connsiteY2" fmla="*/ 1745867 h 5131017"/>
              <a:gd name="connsiteX3" fmla="*/ 6446693 w 8605867"/>
              <a:gd name="connsiteY3" fmla="*/ 5131017 h 5131017"/>
              <a:gd name="connsiteX4" fmla="*/ 0 w 8605867"/>
              <a:gd name="connsiteY4" fmla="*/ 5111404 h 5131017"/>
              <a:gd name="connsiteX5" fmla="*/ 0 w 8605867"/>
              <a:gd name="connsiteY5" fmla="*/ 0 h 5131017"/>
              <a:gd name="connsiteX0" fmla="*/ 0 w 8686222"/>
              <a:gd name="connsiteY0" fmla="*/ 0 h 5131017"/>
              <a:gd name="connsiteX1" fmla="*/ 6928820 w 8686222"/>
              <a:gd name="connsiteY1" fmla="*/ 0 h 5131017"/>
              <a:gd name="connsiteX2" fmla="*/ 8686222 w 8686222"/>
              <a:gd name="connsiteY2" fmla="*/ 1677224 h 5131017"/>
              <a:gd name="connsiteX3" fmla="*/ 6446693 w 8686222"/>
              <a:gd name="connsiteY3" fmla="*/ 5131017 h 5131017"/>
              <a:gd name="connsiteX4" fmla="*/ 0 w 8686222"/>
              <a:gd name="connsiteY4" fmla="*/ 5111404 h 5131017"/>
              <a:gd name="connsiteX5" fmla="*/ 0 w 8686222"/>
              <a:gd name="connsiteY5" fmla="*/ 0 h 5131017"/>
              <a:gd name="connsiteX0" fmla="*/ 0 w 8686222"/>
              <a:gd name="connsiteY0" fmla="*/ 0 h 5111404"/>
              <a:gd name="connsiteX1" fmla="*/ 6928820 w 8686222"/>
              <a:gd name="connsiteY1" fmla="*/ 0 h 5111404"/>
              <a:gd name="connsiteX2" fmla="*/ 8686222 w 8686222"/>
              <a:gd name="connsiteY2" fmla="*/ 1677224 h 5111404"/>
              <a:gd name="connsiteX3" fmla="*/ 6768111 w 8686222"/>
              <a:gd name="connsiteY3" fmla="*/ 5111404 h 5111404"/>
              <a:gd name="connsiteX4" fmla="*/ 0 w 8686222"/>
              <a:gd name="connsiteY4" fmla="*/ 5111404 h 5111404"/>
              <a:gd name="connsiteX5" fmla="*/ 0 w 8686222"/>
              <a:gd name="connsiteY5" fmla="*/ 0 h 5111404"/>
              <a:gd name="connsiteX0" fmla="*/ 0 w 8766577"/>
              <a:gd name="connsiteY0" fmla="*/ 0 h 5111404"/>
              <a:gd name="connsiteX1" fmla="*/ 6928820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8766577"/>
              <a:gd name="connsiteY0" fmla="*/ 0 h 5111404"/>
              <a:gd name="connsiteX1" fmla="*/ 7153813 w 8766577"/>
              <a:gd name="connsiteY1" fmla="*/ 0 h 5111404"/>
              <a:gd name="connsiteX2" fmla="*/ 8766577 w 8766577"/>
              <a:gd name="connsiteY2" fmla="*/ 1598775 h 5111404"/>
              <a:gd name="connsiteX3" fmla="*/ 6768111 w 8766577"/>
              <a:gd name="connsiteY3" fmla="*/ 5111404 h 5111404"/>
              <a:gd name="connsiteX4" fmla="*/ 0 w 8766577"/>
              <a:gd name="connsiteY4" fmla="*/ 5111404 h 5111404"/>
              <a:gd name="connsiteX5" fmla="*/ 0 w 8766577"/>
              <a:gd name="connsiteY5" fmla="*/ 0 h 5111404"/>
              <a:gd name="connsiteX0" fmla="*/ 0 w 7153813"/>
              <a:gd name="connsiteY0" fmla="*/ 0 h 5111404"/>
              <a:gd name="connsiteX1" fmla="*/ 7153813 w 7153813"/>
              <a:gd name="connsiteY1" fmla="*/ 0 h 5111404"/>
              <a:gd name="connsiteX2" fmla="*/ 4952408 w 7153813"/>
              <a:gd name="connsiteY2" fmla="*/ 3237608 h 5111404"/>
              <a:gd name="connsiteX3" fmla="*/ 6768111 w 7153813"/>
              <a:gd name="connsiteY3" fmla="*/ 5111404 h 5111404"/>
              <a:gd name="connsiteX4" fmla="*/ 0 w 7153813"/>
              <a:gd name="connsiteY4" fmla="*/ 5111404 h 5111404"/>
              <a:gd name="connsiteX5" fmla="*/ 0 w 7153813"/>
              <a:gd name="connsiteY5" fmla="*/ 0 h 5111404"/>
              <a:gd name="connsiteX0" fmla="*/ 0 w 7153813"/>
              <a:gd name="connsiteY0" fmla="*/ 0 h 5111404"/>
              <a:gd name="connsiteX1" fmla="*/ 7153813 w 7153813"/>
              <a:gd name="connsiteY1" fmla="*/ 0 h 5111404"/>
              <a:gd name="connsiteX2" fmla="*/ 5775513 w 7153813"/>
              <a:gd name="connsiteY2" fmla="*/ 3245842 h 5111404"/>
              <a:gd name="connsiteX3" fmla="*/ 6768111 w 7153813"/>
              <a:gd name="connsiteY3" fmla="*/ 5111404 h 5111404"/>
              <a:gd name="connsiteX4" fmla="*/ 0 w 7153813"/>
              <a:gd name="connsiteY4" fmla="*/ 5111404 h 5111404"/>
              <a:gd name="connsiteX5" fmla="*/ 0 w 7153813"/>
              <a:gd name="connsiteY5" fmla="*/ 0 h 5111404"/>
              <a:gd name="connsiteX0" fmla="*/ 0 w 8063489"/>
              <a:gd name="connsiteY0" fmla="*/ 0 h 5111404"/>
              <a:gd name="connsiteX1" fmla="*/ 715381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5775513 w 8063489"/>
              <a:gd name="connsiteY2" fmla="*/ 3245842 h 5111404"/>
              <a:gd name="connsiteX3" fmla="*/ 8063489 w 8063489"/>
              <a:gd name="connsiteY3" fmla="*/ 5111404 h 5111404"/>
              <a:gd name="connsiteX4" fmla="*/ 0 w 8063489"/>
              <a:gd name="connsiteY4" fmla="*/ 5111404 h 5111404"/>
              <a:gd name="connsiteX5" fmla="*/ 0 w 8063489"/>
              <a:gd name="connsiteY5" fmla="*/ 0 h 5111404"/>
              <a:gd name="connsiteX0" fmla="*/ 0 w 8063489"/>
              <a:gd name="connsiteY0" fmla="*/ 0 h 5111404"/>
              <a:gd name="connsiteX1" fmla="*/ 7693553 w 8063489"/>
              <a:gd name="connsiteY1" fmla="*/ 0 h 5111404"/>
              <a:gd name="connsiteX2" fmla="*/ 6261280 w 8063489"/>
              <a:gd name="connsiteY2" fmla="*/ 3583415 h 5111404"/>
              <a:gd name="connsiteX3" fmla="*/ 8063489 w 8063489"/>
              <a:gd name="connsiteY3" fmla="*/ 5111404 h 5111404"/>
              <a:gd name="connsiteX4" fmla="*/ 0 w 8063489"/>
              <a:gd name="connsiteY4" fmla="*/ 5111404 h 5111404"/>
              <a:gd name="connsiteX5" fmla="*/ 0 w 8063489"/>
              <a:gd name="connsiteY5" fmla="*/ 0 h 511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3489" h="5111404">
                <a:moveTo>
                  <a:pt x="0" y="0"/>
                </a:moveTo>
                <a:lnTo>
                  <a:pt x="7693553" y="0"/>
                </a:lnTo>
                <a:lnTo>
                  <a:pt x="6261280" y="3583415"/>
                </a:lnTo>
                <a:lnTo>
                  <a:pt x="8063489" y="5111404"/>
                </a:lnTo>
                <a:lnTo>
                  <a:pt x="0" y="5111404"/>
                </a:lnTo>
                <a:lnTo>
                  <a:pt x="0" y="0"/>
                </a:lnTo>
                <a:close/>
              </a:path>
            </a:pathLst>
          </a:custGeom>
          <a:solidFill>
            <a:schemeClr val="tx2"/>
          </a:solidFill>
          <a:ln w="9525">
            <a:noFill/>
            <a:miter lim="800000"/>
            <a:headEnd/>
            <a:tailEnd/>
          </a:ln>
        </p:spPr>
        <p:txBody>
          <a:bodyPr wrap="square" lIns="72000" tIns="72000" rIns="72000" bIns="72000" rtlCol="0" anchor="ctr"/>
          <a:lstStyle/>
          <a:p>
            <a:pPr algn="ctr" defTabSz="575986" eaLnBrk="0" hangingPunct="0">
              <a:lnSpc>
                <a:spcPct val="120000"/>
              </a:lnSpc>
            </a:pPr>
            <a:endParaRPr lang="en-US" sz="1600" dirty="0">
              <a:solidFill>
                <a:srgbClr val="FFFFFF"/>
              </a:solidFill>
              <a:latin typeface="Arial"/>
              <a:ea typeface="Arial Unicode MS"/>
              <a:cs typeface="Arial"/>
            </a:endParaRPr>
          </a:p>
        </p:txBody>
      </p:sp>
      <p:sp>
        <p:nvSpPr>
          <p:cNvPr id="64" name="Title 63"/>
          <p:cNvSpPr>
            <a:spLocks noGrp="1"/>
          </p:cNvSpPr>
          <p:nvPr>
            <p:ph type="title"/>
          </p:nvPr>
        </p:nvSpPr>
        <p:spPr/>
        <p:txBody>
          <a:bodyPr/>
          <a:lstStyle/>
          <a:p>
            <a:br>
              <a:rPr lang="en-US" dirty="0"/>
            </a:br>
            <a:r>
              <a:rPr lang="en-US" dirty="0"/>
              <a:t>Quality – „Robustness“ </a:t>
            </a:r>
          </a:p>
        </p:txBody>
      </p:sp>
      <p:grpSp>
        <p:nvGrpSpPr>
          <p:cNvPr id="4" name="Group 3">
            <a:extLst>
              <a:ext uri="{FF2B5EF4-FFF2-40B4-BE49-F238E27FC236}">
                <a16:creationId xmlns:a16="http://schemas.microsoft.com/office/drawing/2014/main" id="{FA1220BE-3EE2-BE10-FDD0-A7E156351CDD}"/>
              </a:ext>
            </a:extLst>
          </p:cNvPr>
          <p:cNvGrpSpPr/>
          <p:nvPr/>
        </p:nvGrpSpPr>
        <p:grpSpPr>
          <a:xfrm>
            <a:off x="5110294" y="1973179"/>
            <a:ext cx="1495248" cy="1495248"/>
            <a:chOff x="4974455" y="2704594"/>
            <a:chExt cx="2240977" cy="2240977"/>
          </a:xfrm>
        </p:grpSpPr>
        <p:sp>
          <p:nvSpPr>
            <p:cNvPr id="5" name="Flowchart: Connector 4">
              <a:extLst>
                <a:ext uri="{FF2B5EF4-FFF2-40B4-BE49-F238E27FC236}">
                  <a16:creationId xmlns:a16="http://schemas.microsoft.com/office/drawing/2014/main" id="{B32EE718-C07F-CF69-31CE-775206D3A449}"/>
                </a:ext>
              </a:extLst>
            </p:cNvPr>
            <p:cNvSpPr/>
            <p:nvPr/>
          </p:nvSpPr>
          <p:spPr bwMode="auto">
            <a:xfrm>
              <a:off x="5055119" y="2780966"/>
              <a:ext cx="2088232" cy="2088232"/>
            </a:xfrm>
            <a:prstGeom prst="flowChartConnector">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9" name="Picture 8">
              <a:extLst>
                <a:ext uri="{FF2B5EF4-FFF2-40B4-BE49-F238E27FC236}">
                  <a16:creationId xmlns:a16="http://schemas.microsoft.com/office/drawing/2014/main" id="{C0C30171-39D2-0115-D92C-FD1CE803E0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4455" y="2704594"/>
              <a:ext cx="2240977" cy="2240977"/>
            </a:xfrm>
            <a:prstGeom prst="rect">
              <a:avLst/>
            </a:prstGeom>
          </p:spPr>
        </p:pic>
      </p:grpSp>
    </p:spTree>
    <p:extLst>
      <p:ext uri="{BB962C8B-B14F-4D97-AF65-F5344CB8AC3E}">
        <p14:creationId xmlns:p14="http://schemas.microsoft.com/office/powerpoint/2010/main" val="5999053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83F6C53-032E-4DE3-8302-82B73D470F8E}"/>
              </a:ext>
            </a:extLst>
          </p:cNvPr>
          <p:cNvPicPr>
            <a:picLocks noChangeAspect="1"/>
          </p:cNvPicPr>
          <p:nvPr/>
        </p:nvPicPr>
        <p:blipFill rotWithShape="1">
          <a:blip r:embed="rId4"/>
          <a:srcRect l="7229" t="5163" b="3417"/>
          <a:stretch/>
        </p:blipFill>
        <p:spPr>
          <a:xfrm>
            <a:off x="335360" y="1628800"/>
            <a:ext cx="5544616" cy="1658880"/>
          </a:xfrm>
          <a:prstGeom prst="rect">
            <a:avLst/>
          </a:prstGeom>
        </p:spPr>
      </p:pic>
      <p:sp>
        <p:nvSpPr>
          <p:cNvPr id="10" name="Titel 9"/>
          <p:cNvSpPr>
            <a:spLocks noGrp="1"/>
          </p:cNvSpPr>
          <p:nvPr>
            <p:ph type="title"/>
          </p:nvPr>
        </p:nvSpPr>
        <p:spPr>
          <a:xfrm>
            <a:off x="335360" y="188720"/>
            <a:ext cx="9613068" cy="720000"/>
          </a:xfrm>
        </p:spPr>
        <p:txBody>
          <a:bodyPr/>
          <a:lstStyle/>
          <a:p>
            <a:r>
              <a:rPr lang="en-US" dirty="0"/>
              <a:t>Quality requirement </a:t>
            </a:r>
            <a:r>
              <a:rPr lang="en-US" dirty="0" err="1"/>
              <a:t>discretes</a:t>
            </a:r>
            <a:endParaRPr lang="en-US" dirty="0"/>
          </a:p>
        </p:txBody>
      </p:sp>
      <p:sp>
        <p:nvSpPr>
          <p:cNvPr id="2" name="Rechteck 1">
            <a:extLst>
              <a:ext uri="{FF2B5EF4-FFF2-40B4-BE49-F238E27FC236}">
                <a16:creationId xmlns:a16="http://schemas.microsoft.com/office/drawing/2014/main" id="{DF972208-549C-D315-531A-C557E010E8C2}"/>
              </a:ext>
            </a:extLst>
          </p:cNvPr>
          <p:cNvSpPr/>
          <p:nvPr/>
        </p:nvSpPr>
        <p:spPr bwMode="auto">
          <a:xfrm>
            <a:off x="334434" y="1268414"/>
            <a:ext cx="5616509" cy="422405"/>
          </a:xfrm>
          <a:prstGeom prst="rect">
            <a:avLst/>
          </a:prstGeom>
          <a:noFill/>
          <a:ln w="9525">
            <a:noFill/>
            <a:miter lim="800000"/>
            <a:headEnd/>
            <a:tailEnd/>
          </a:ln>
        </p:spPr>
        <p:txBody>
          <a:bodyPr wrap="square" lIns="72000" tIns="72000" rIns="72000" bIns="72000" rtlCol="0" anchor="ctr">
            <a:noAutofit/>
          </a:bodyPr>
          <a:lstStyle/>
          <a:p>
            <a:pPr eaLnBrk="0" hangingPunct="0"/>
            <a:r>
              <a:rPr lang="en-US" sz="1800" b="1">
                <a:latin typeface="Arial" panose="020B0604020202020204" pitchFamily="34" charset="0"/>
                <a:ea typeface="Verdana" pitchFamily="34" charset="0"/>
                <a:cs typeface="Arial" panose="020B0604020202020204" pitchFamily="34" charset="0"/>
              </a:rPr>
              <a:t>The robustness validation stess times</a:t>
            </a:r>
            <a:endParaRPr lang="en-US" sz="1800" b="1" dirty="0">
              <a:latin typeface="Arial" panose="020B0604020202020204" pitchFamily="34" charset="0"/>
              <a:ea typeface="Verdana" pitchFamily="34" charset="0"/>
              <a:cs typeface="Arial" panose="020B0604020202020204" pitchFamily="34" charset="0"/>
            </a:endParaRPr>
          </a:p>
        </p:txBody>
      </p:sp>
      <p:sp>
        <p:nvSpPr>
          <p:cNvPr id="3" name="Rechteck 2">
            <a:extLst>
              <a:ext uri="{FF2B5EF4-FFF2-40B4-BE49-F238E27FC236}">
                <a16:creationId xmlns:a16="http://schemas.microsoft.com/office/drawing/2014/main" id="{3D92C0B6-B122-9D6B-2AE4-4C2AC3221354}"/>
              </a:ext>
            </a:extLst>
          </p:cNvPr>
          <p:cNvSpPr/>
          <p:nvPr/>
        </p:nvSpPr>
        <p:spPr bwMode="auto">
          <a:xfrm>
            <a:off x="372758" y="4799305"/>
            <a:ext cx="5616509" cy="422405"/>
          </a:xfrm>
          <a:prstGeom prst="rect">
            <a:avLst/>
          </a:prstGeom>
          <a:noFill/>
          <a:ln w="9525">
            <a:noFill/>
            <a:miter lim="800000"/>
            <a:headEnd/>
            <a:tailEnd/>
          </a:ln>
        </p:spPr>
        <p:txBody>
          <a:bodyPr wrap="square" lIns="72000" tIns="72000" rIns="72000" bIns="72000" rtlCol="0" anchor="ctr">
            <a:noAutofit/>
          </a:bodyPr>
          <a:lstStyle/>
          <a:p>
            <a:pPr eaLnBrk="0" hangingPunct="0"/>
            <a:r>
              <a:rPr lang="en-US" sz="1600" b="1" dirty="0">
                <a:solidFill>
                  <a:schemeClr val="tx2"/>
                </a:solidFill>
                <a:latin typeface="Arial" panose="020B0604020202020204" pitchFamily="34" charset="0"/>
                <a:ea typeface="Verdana" pitchFamily="34" charset="0"/>
                <a:cs typeface="Arial" panose="020B0604020202020204" pitchFamily="34" charset="0"/>
              </a:rPr>
              <a:t>What</a:t>
            </a:r>
          </a:p>
        </p:txBody>
      </p:sp>
      <p:sp>
        <p:nvSpPr>
          <p:cNvPr id="5" name="Textfeld 4">
            <a:extLst>
              <a:ext uri="{FF2B5EF4-FFF2-40B4-BE49-F238E27FC236}">
                <a16:creationId xmlns:a16="http://schemas.microsoft.com/office/drawing/2014/main" id="{9CDEBF35-E0DA-4051-44FF-DC40BA06A404}"/>
              </a:ext>
            </a:extLst>
          </p:cNvPr>
          <p:cNvSpPr txBox="1"/>
          <p:nvPr/>
        </p:nvSpPr>
        <p:spPr bwMode="auto">
          <a:xfrm>
            <a:off x="486253" y="5111564"/>
            <a:ext cx="5616509" cy="1917836"/>
          </a:xfrm>
          <a:prstGeom prst="rect">
            <a:avLst/>
          </a:prstGeom>
          <a:ln w="9525">
            <a:noFill/>
          </a:ln>
        </p:spPr>
        <p:txBody>
          <a:bodyPr vert="horz" lIns="72000" tIns="72000" rIns="72000" bIns="72000" rtlCol="0">
            <a:noAutofit/>
          </a:bodyPr>
          <a:lstStyle>
            <a:defPPr>
              <a:defRPr lang="en-US"/>
            </a:defPPr>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lvl="1"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lvl="2"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853200" indent="-2844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lvl="1"/>
            <a:r>
              <a:rPr lang="en-US" sz="1500" dirty="0"/>
              <a:t>High voltage – high humidity high-temperature </a:t>
            </a:r>
            <a:br>
              <a:rPr lang="en-US" sz="1500" dirty="0"/>
            </a:br>
            <a:r>
              <a:rPr lang="en-US" sz="1500" dirty="0"/>
              <a:t>reverse bias storage</a:t>
            </a:r>
          </a:p>
          <a:p>
            <a:pPr lvl="1"/>
            <a:r>
              <a:rPr lang="en-US" sz="1500" dirty="0"/>
              <a:t>Hard failure of the devices and blocking voltage </a:t>
            </a:r>
            <a:br>
              <a:rPr lang="en-US" sz="1500" dirty="0"/>
            </a:br>
            <a:r>
              <a:rPr lang="en-US" sz="1500" dirty="0"/>
              <a:t>drifts down over time</a:t>
            </a:r>
          </a:p>
        </p:txBody>
      </p:sp>
      <p:sp>
        <p:nvSpPr>
          <p:cNvPr id="6" name="Rechteck 5">
            <a:extLst>
              <a:ext uri="{FF2B5EF4-FFF2-40B4-BE49-F238E27FC236}">
                <a16:creationId xmlns:a16="http://schemas.microsoft.com/office/drawing/2014/main" id="{219D18CE-F056-7867-415F-CF48F5CE8011}"/>
              </a:ext>
            </a:extLst>
          </p:cNvPr>
          <p:cNvSpPr/>
          <p:nvPr/>
        </p:nvSpPr>
        <p:spPr bwMode="auto">
          <a:xfrm>
            <a:off x="407368" y="3429000"/>
            <a:ext cx="5616509" cy="422405"/>
          </a:xfrm>
          <a:prstGeom prst="rect">
            <a:avLst/>
          </a:prstGeom>
          <a:noFill/>
          <a:ln w="9525">
            <a:noFill/>
            <a:miter lim="800000"/>
            <a:headEnd/>
            <a:tailEnd/>
          </a:ln>
        </p:spPr>
        <p:txBody>
          <a:bodyPr wrap="square" lIns="72000" tIns="72000" rIns="72000" bIns="72000" rtlCol="0" anchor="ctr">
            <a:noAutofit/>
          </a:bodyPr>
          <a:lstStyle/>
          <a:p>
            <a:pPr eaLnBrk="0" hangingPunct="0"/>
            <a:r>
              <a:rPr lang="en-US" sz="1600" b="1" dirty="0">
                <a:solidFill>
                  <a:schemeClr val="tx2"/>
                </a:solidFill>
                <a:latin typeface="Arial" panose="020B0604020202020204" pitchFamily="34" charset="0"/>
                <a:ea typeface="Verdana" pitchFamily="34" charset="0"/>
                <a:cs typeface="Arial" panose="020B0604020202020204" pitchFamily="34" charset="0"/>
              </a:rPr>
              <a:t>Why?</a:t>
            </a:r>
          </a:p>
        </p:txBody>
      </p:sp>
      <p:sp>
        <p:nvSpPr>
          <p:cNvPr id="7" name="Textfeld 6">
            <a:extLst>
              <a:ext uri="{FF2B5EF4-FFF2-40B4-BE49-F238E27FC236}">
                <a16:creationId xmlns:a16="http://schemas.microsoft.com/office/drawing/2014/main" id="{465AC329-7F6F-C0C4-8691-9F246DB29B8E}"/>
              </a:ext>
            </a:extLst>
          </p:cNvPr>
          <p:cNvSpPr txBox="1"/>
          <p:nvPr/>
        </p:nvSpPr>
        <p:spPr bwMode="auto">
          <a:xfrm>
            <a:off x="479376" y="3684239"/>
            <a:ext cx="5616509" cy="1917836"/>
          </a:xfrm>
          <a:prstGeom prst="rect">
            <a:avLst/>
          </a:prstGeom>
          <a:ln w="9525">
            <a:noFill/>
          </a:ln>
        </p:spPr>
        <p:txBody>
          <a:bodyPr vert="horz" lIns="72000" tIns="72000" rIns="72000" bIns="72000" rtlCol="0">
            <a:noAutofit/>
          </a:bodyPr>
          <a:lstStyle>
            <a:defPPr>
              <a:defRPr lang="en-US"/>
            </a:defPPr>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lvl="1"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lvl="2"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853200" indent="-2844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853200" indent="-2844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853200" indent="-2844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lvl="1"/>
            <a:r>
              <a:rPr lang="en-US" sz="1500" dirty="0"/>
              <a:t>Corrosions at field plates</a:t>
            </a:r>
          </a:p>
          <a:p>
            <a:pPr lvl="1"/>
            <a:r>
              <a:rPr lang="en-US" sz="1500" dirty="0"/>
              <a:t>Corrosion of DLC film</a:t>
            </a:r>
          </a:p>
          <a:p>
            <a:pPr lvl="1"/>
            <a:r>
              <a:rPr lang="en-US" sz="1500" dirty="0"/>
              <a:t>Delamination in the passive layer</a:t>
            </a:r>
          </a:p>
          <a:p>
            <a:pPr lvl="1"/>
            <a:r>
              <a:rPr lang="en-US" sz="1500" dirty="0"/>
              <a:t>Corrosion at contacts</a:t>
            </a:r>
          </a:p>
        </p:txBody>
      </p:sp>
      <p:pic>
        <p:nvPicPr>
          <p:cNvPr id="20" name="Picture 19">
            <a:extLst>
              <a:ext uri="{FF2B5EF4-FFF2-40B4-BE49-F238E27FC236}">
                <a16:creationId xmlns:a16="http://schemas.microsoft.com/office/drawing/2014/main" id="{79089564-2C76-44AA-B3C1-DE5E605D6B0C}"/>
              </a:ext>
            </a:extLst>
          </p:cNvPr>
          <p:cNvPicPr>
            <a:picLocks noChangeAspect="1"/>
          </p:cNvPicPr>
          <p:nvPr/>
        </p:nvPicPr>
        <p:blipFill>
          <a:blip r:embed="rId5"/>
          <a:stretch>
            <a:fillRect/>
          </a:stretch>
        </p:blipFill>
        <p:spPr>
          <a:xfrm>
            <a:off x="9501929" y="2272094"/>
            <a:ext cx="2263773" cy="2165018"/>
          </a:xfrm>
          <a:prstGeom prst="rect">
            <a:avLst/>
          </a:prstGeom>
        </p:spPr>
      </p:pic>
      <p:sp>
        <p:nvSpPr>
          <p:cNvPr id="13" name="Rectangle 12">
            <a:extLst>
              <a:ext uri="{FF2B5EF4-FFF2-40B4-BE49-F238E27FC236}">
                <a16:creationId xmlns:a16="http://schemas.microsoft.com/office/drawing/2014/main" id="{D716C642-B957-41F2-B581-B8DDCEED63CE}"/>
              </a:ext>
            </a:extLst>
          </p:cNvPr>
          <p:cNvSpPr/>
          <p:nvPr/>
        </p:nvSpPr>
        <p:spPr bwMode="auto">
          <a:xfrm>
            <a:off x="393728" y="2923477"/>
            <a:ext cx="5472608" cy="303632"/>
          </a:xfrm>
          <a:prstGeom prst="rect">
            <a:avLst/>
          </a:prstGeom>
          <a:noFill/>
          <a:ln w="28575">
            <a:solidFill>
              <a:srgbClr val="FF0000"/>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24" name="Picture 23">
            <a:extLst>
              <a:ext uri="{FF2B5EF4-FFF2-40B4-BE49-F238E27FC236}">
                <a16:creationId xmlns:a16="http://schemas.microsoft.com/office/drawing/2014/main" id="{04D5FEAE-2344-46E9-A901-E8009B37A0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5885" y="656787"/>
            <a:ext cx="1262033" cy="1262033"/>
          </a:xfrm>
          <a:prstGeom prst="rect">
            <a:avLst/>
          </a:prstGeom>
        </p:spPr>
      </p:pic>
      <p:sp>
        <p:nvSpPr>
          <p:cNvPr id="26" name="Rectangle 25">
            <a:extLst>
              <a:ext uri="{FF2B5EF4-FFF2-40B4-BE49-F238E27FC236}">
                <a16:creationId xmlns:a16="http://schemas.microsoft.com/office/drawing/2014/main" id="{99F4A058-218C-4B22-9019-5F017570A544}"/>
              </a:ext>
            </a:extLst>
          </p:cNvPr>
          <p:cNvSpPr/>
          <p:nvPr/>
        </p:nvSpPr>
        <p:spPr>
          <a:xfrm>
            <a:off x="7029423" y="1643091"/>
            <a:ext cx="606256" cy="338554"/>
          </a:xfrm>
          <a:prstGeom prst="rect">
            <a:avLst/>
          </a:prstGeom>
        </p:spPr>
        <p:txBody>
          <a:bodyPr wrap="none">
            <a:spAutoFit/>
          </a:bodyPr>
          <a:lstStyle/>
          <a:p>
            <a:r>
              <a:rPr lang="en-US" sz="1600" b="1" dirty="0">
                <a:solidFill>
                  <a:schemeClr val="accent1"/>
                </a:solidFill>
              </a:rPr>
              <a:t>only</a:t>
            </a:r>
          </a:p>
        </p:txBody>
      </p:sp>
      <p:pic>
        <p:nvPicPr>
          <p:cNvPr id="17" name="Picture 16">
            <a:extLst>
              <a:ext uri="{FF2B5EF4-FFF2-40B4-BE49-F238E27FC236}">
                <a16:creationId xmlns:a16="http://schemas.microsoft.com/office/drawing/2014/main" id="{F977277B-0224-4189-93D7-1D9CD8579A6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22474" y="1339418"/>
            <a:ext cx="562342" cy="562342"/>
          </a:xfrm>
          <a:prstGeom prst="rect">
            <a:avLst/>
          </a:prstGeom>
        </p:spPr>
      </p:pic>
      <p:pic>
        <p:nvPicPr>
          <p:cNvPr id="32" name="Picture 31">
            <a:extLst>
              <a:ext uri="{FF2B5EF4-FFF2-40B4-BE49-F238E27FC236}">
                <a16:creationId xmlns:a16="http://schemas.microsoft.com/office/drawing/2014/main" id="{3E7905B7-04FC-443A-88DA-DB9E45B2EF73}"/>
              </a:ext>
            </a:extLst>
          </p:cNvPr>
          <p:cNvPicPr>
            <a:picLocks noChangeAspect="1"/>
          </p:cNvPicPr>
          <p:nvPr/>
        </p:nvPicPr>
        <p:blipFill>
          <a:blip r:embed="rId8">
            <a:extLst>
              <a:ext uri="{28A0092B-C50C-407E-A947-70E740481C1C}">
                <a14:useLocalDpi xmlns:a14="http://schemas.microsoft.com/office/drawing/2010/main" val="0"/>
              </a:ext>
            </a:extLst>
          </a:blip>
          <a:srcRect l="73760" t="57273"/>
          <a:stretch>
            <a:fillRect/>
          </a:stretch>
        </p:blipFill>
        <p:spPr>
          <a:xfrm>
            <a:off x="8493168" y="1298119"/>
            <a:ext cx="370710" cy="603640"/>
          </a:xfrm>
          <a:custGeom>
            <a:avLst/>
            <a:gdLst>
              <a:gd name="connsiteX0" fmla="*/ 0 w 370710"/>
              <a:gd name="connsiteY0" fmla="*/ 0 h 603640"/>
              <a:gd name="connsiteX1" fmla="*/ 189069 w 370710"/>
              <a:gd name="connsiteY1" fmla="*/ 0 h 603640"/>
              <a:gd name="connsiteX2" fmla="*/ 189069 w 370710"/>
              <a:gd name="connsiteY2" fmla="*/ 169264 h 603640"/>
              <a:gd name="connsiteX3" fmla="*/ 370710 w 370710"/>
              <a:gd name="connsiteY3" fmla="*/ 169264 h 603640"/>
              <a:gd name="connsiteX4" fmla="*/ 370710 w 370710"/>
              <a:gd name="connsiteY4" fmla="*/ 603640 h 603640"/>
              <a:gd name="connsiteX5" fmla="*/ 0 w 370710"/>
              <a:gd name="connsiteY5" fmla="*/ 603640 h 6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710" h="603640">
                <a:moveTo>
                  <a:pt x="0" y="0"/>
                </a:moveTo>
                <a:lnTo>
                  <a:pt x="189069" y="0"/>
                </a:lnTo>
                <a:lnTo>
                  <a:pt x="189069" y="169264"/>
                </a:lnTo>
                <a:lnTo>
                  <a:pt x="370710" y="169264"/>
                </a:lnTo>
                <a:lnTo>
                  <a:pt x="370710" y="603640"/>
                </a:lnTo>
                <a:lnTo>
                  <a:pt x="0" y="603640"/>
                </a:lnTo>
                <a:close/>
              </a:path>
            </a:pathLst>
          </a:custGeom>
        </p:spPr>
      </p:pic>
      <p:sp>
        <p:nvSpPr>
          <p:cNvPr id="33" name="TextBox 32">
            <a:extLst>
              <a:ext uri="{FF2B5EF4-FFF2-40B4-BE49-F238E27FC236}">
                <a16:creationId xmlns:a16="http://schemas.microsoft.com/office/drawing/2014/main" id="{983DAB6E-1531-42E9-9027-689486336277}"/>
              </a:ext>
            </a:extLst>
          </p:cNvPr>
          <p:cNvSpPr txBox="1"/>
          <p:nvPr/>
        </p:nvSpPr>
        <p:spPr bwMode="auto">
          <a:xfrm>
            <a:off x="7808480" y="972052"/>
            <a:ext cx="3112678"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kern="0" baseline="0" dirty="0">
                <a:solidFill>
                  <a:schemeClr val="accent1"/>
                </a:solidFill>
                <a:latin typeface="+mn-lt"/>
                <a:ea typeface="+mn-ea"/>
                <a:cs typeface="+mn-cs"/>
              </a:rPr>
              <a:t>High Voltage at High Humidity</a:t>
            </a:r>
          </a:p>
        </p:txBody>
      </p:sp>
      <p:sp>
        <p:nvSpPr>
          <p:cNvPr id="8" name="Rectangle 7">
            <a:extLst>
              <a:ext uri="{FF2B5EF4-FFF2-40B4-BE49-F238E27FC236}">
                <a16:creationId xmlns:a16="http://schemas.microsoft.com/office/drawing/2014/main" id="{13BE9EBE-391A-A40A-8D3E-25D6EA6EBB1C}"/>
              </a:ext>
            </a:extLst>
          </p:cNvPr>
          <p:cNvSpPr/>
          <p:nvPr/>
        </p:nvSpPr>
        <p:spPr bwMode="auto">
          <a:xfrm>
            <a:off x="347241" y="3429000"/>
            <a:ext cx="5244704" cy="2939424"/>
          </a:xfrm>
          <a:prstGeom prst="rect">
            <a:avLst/>
          </a:prstGeom>
          <a:noFill/>
          <a:ln w="381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8" name="Content Placeholder 2">
            <a:extLst>
              <a:ext uri="{FF2B5EF4-FFF2-40B4-BE49-F238E27FC236}">
                <a16:creationId xmlns:a16="http://schemas.microsoft.com/office/drawing/2014/main" id="{DC2BCD65-5399-427D-9D60-DF109227B083}"/>
              </a:ext>
            </a:extLst>
          </p:cNvPr>
          <p:cNvSpPr txBox="1">
            <a:spLocks/>
          </p:cNvSpPr>
          <p:nvPr/>
        </p:nvSpPr>
        <p:spPr>
          <a:xfrm>
            <a:off x="6291709" y="4316753"/>
            <a:ext cx="5525333" cy="408391"/>
          </a:xfrm>
          <a:prstGeom prst="rect">
            <a:avLst/>
          </a:prstGeom>
          <a:noFill/>
        </p:spPr>
        <p:txBody>
          <a:bodyPr/>
          <a:lst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9pPr>
          </a:lstStyle>
          <a:p>
            <a:pPr marL="0" indent="0">
              <a:buFont typeface="Arial" panose="020B0604020202020204" pitchFamily="34" charset="0"/>
              <a:buNone/>
            </a:pPr>
            <a:endParaRPr lang="en-US" b="1" kern="0" dirty="0">
              <a:solidFill>
                <a:srgbClr val="0A8276"/>
              </a:solidFill>
            </a:endParaRPr>
          </a:p>
        </p:txBody>
      </p:sp>
      <p:sp>
        <p:nvSpPr>
          <p:cNvPr id="21" name="Content Placeholder 2">
            <a:extLst>
              <a:ext uri="{FF2B5EF4-FFF2-40B4-BE49-F238E27FC236}">
                <a16:creationId xmlns:a16="http://schemas.microsoft.com/office/drawing/2014/main" id="{9F4F03D7-3A2E-451E-A992-4D01A0B8D858}"/>
              </a:ext>
            </a:extLst>
          </p:cNvPr>
          <p:cNvSpPr txBox="1">
            <a:spLocks/>
          </p:cNvSpPr>
          <p:nvPr/>
        </p:nvSpPr>
        <p:spPr>
          <a:xfrm>
            <a:off x="6384037" y="4509120"/>
            <a:ext cx="5184571" cy="1613332"/>
          </a:xfrm>
          <a:prstGeom prst="rect">
            <a:avLst/>
          </a:prstGeom>
          <a:noFill/>
        </p:spPr>
        <p:txBody>
          <a:bodyPr vert="horz" lIns="0" tIns="0" rIns="0" bIns="0" rtlCol="0">
            <a:noAutofit/>
          </a:bodyPr>
          <a:lstStyle>
            <a:lvl1pPr marL="0" indent="0" defTabSz="576000" eaLnBrk="1" hangingPunct="1">
              <a:lnSpc>
                <a:spcPct val="120000"/>
              </a:lnSpc>
              <a:spcBef>
                <a:spcPts val="0"/>
              </a:spcBef>
              <a:spcAft>
                <a:spcPts val="0"/>
              </a:spcAft>
              <a:buClr>
                <a:schemeClr val="tx2"/>
              </a:buClr>
              <a:buSzPct val="100000"/>
              <a:buFont typeface="Arial" panose="020B0604020202020204" pitchFamily="34" charset="0"/>
              <a:buNone/>
              <a:defRPr sz="1800" b="1" baseline="0">
                <a:solidFill>
                  <a:srgbClr val="0A8276"/>
                </a:solidFill>
                <a:latin typeface="+mn-lt"/>
              </a:defRPr>
            </a:lvl1pPr>
            <a:lvl2pPr marL="504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1008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1260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1260000" indent="-2520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1260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1260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1260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r>
              <a:rPr lang="en-US" dirty="0"/>
              <a:t>Suitable for outdoor applications</a:t>
            </a:r>
          </a:p>
          <a:p>
            <a:pPr lvl="1"/>
            <a:r>
              <a:rPr lang="en-US" dirty="0"/>
              <a:t>Solar</a:t>
            </a:r>
          </a:p>
          <a:p>
            <a:pPr lvl="1"/>
            <a:r>
              <a:rPr lang="en-US" dirty="0"/>
              <a:t>Industry air-conditions</a:t>
            </a:r>
          </a:p>
          <a:p>
            <a:pPr lvl="1"/>
            <a:r>
              <a:rPr lang="en-US" dirty="0"/>
              <a:t>Pump drives</a:t>
            </a:r>
          </a:p>
          <a:p>
            <a:pPr lvl="1"/>
            <a:r>
              <a:rPr lang="en-US" dirty="0"/>
              <a:t>etc.</a:t>
            </a:r>
          </a:p>
          <a:p>
            <a:r>
              <a:rPr lang="en-US" kern="0" dirty="0"/>
              <a:t>Certified by JEDEC standard for HV-H3TRB</a:t>
            </a:r>
          </a:p>
          <a:p>
            <a:endParaRPr lang="en-US" dirty="0"/>
          </a:p>
          <a:p>
            <a:endParaRPr lang="en-US" dirty="0"/>
          </a:p>
        </p:txBody>
      </p:sp>
      <p:sp>
        <p:nvSpPr>
          <p:cNvPr id="23" name="Rectangle 22">
            <a:extLst>
              <a:ext uri="{FF2B5EF4-FFF2-40B4-BE49-F238E27FC236}">
                <a16:creationId xmlns:a16="http://schemas.microsoft.com/office/drawing/2014/main" id="{8D37C98C-25CB-47B9-88E0-ACADB8CA2877}"/>
              </a:ext>
            </a:extLst>
          </p:cNvPr>
          <p:cNvSpPr/>
          <p:nvPr/>
        </p:nvSpPr>
        <p:spPr bwMode="auto">
          <a:xfrm>
            <a:off x="6121402" y="4494742"/>
            <a:ext cx="5644301" cy="1873682"/>
          </a:xfrm>
          <a:prstGeom prst="rect">
            <a:avLst/>
          </a:prstGeom>
          <a:noFill/>
          <a:ln w="381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4" name="Rectangle 3">
            <a:extLst>
              <a:ext uri="{FF2B5EF4-FFF2-40B4-BE49-F238E27FC236}">
                <a16:creationId xmlns:a16="http://schemas.microsoft.com/office/drawing/2014/main" id="{5D01D238-12FA-48D7-90C4-EB254E09E7D4}"/>
              </a:ext>
            </a:extLst>
          </p:cNvPr>
          <p:cNvSpPr/>
          <p:nvPr/>
        </p:nvSpPr>
        <p:spPr>
          <a:xfrm>
            <a:off x="7926881" y="6337522"/>
            <a:ext cx="4043094" cy="307777"/>
          </a:xfrm>
          <a:prstGeom prst="rect">
            <a:avLst/>
          </a:prstGeom>
        </p:spPr>
        <p:txBody>
          <a:bodyPr wrap="none">
            <a:spAutoFit/>
          </a:bodyPr>
          <a:lstStyle/>
          <a:p>
            <a:r>
              <a:rPr lang="en-US" b="1" dirty="0">
                <a:solidFill>
                  <a:schemeClr val="tx2"/>
                </a:solidFill>
                <a:latin typeface="Source Sans Pro" panose="020B0503030403020204" pitchFamily="34" charset="0"/>
              </a:rPr>
              <a:t>JEDEC </a:t>
            </a:r>
            <a:r>
              <a:rPr lang="en-US" dirty="0">
                <a:solidFill>
                  <a:schemeClr val="tx2"/>
                </a:solidFill>
                <a:latin typeface="Source Sans Pro" panose="020B0503030403020204" pitchFamily="34" charset="0"/>
              </a:rPr>
              <a:t>(Joint Electron Device Engineering Council) </a:t>
            </a:r>
            <a:endParaRPr lang="de-AT" dirty="0"/>
          </a:p>
        </p:txBody>
      </p:sp>
      <p:cxnSp>
        <p:nvCxnSpPr>
          <p:cNvPr id="11" name="Straight Arrow Connector 10">
            <a:extLst>
              <a:ext uri="{FF2B5EF4-FFF2-40B4-BE49-F238E27FC236}">
                <a16:creationId xmlns:a16="http://schemas.microsoft.com/office/drawing/2014/main" id="{A4820C5E-FBB8-4808-BD65-88141B42D115}"/>
              </a:ext>
            </a:extLst>
          </p:cNvPr>
          <p:cNvCxnSpPr>
            <a:cxnSpLocks/>
          </p:cNvCxnSpPr>
          <p:nvPr/>
        </p:nvCxnSpPr>
        <p:spPr>
          <a:xfrm>
            <a:off x="8500613" y="3271518"/>
            <a:ext cx="907755" cy="0"/>
          </a:xfrm>
          <a:prstGeom prst="straightConnector1">
            <a:avLst/>
          </a:prstGeom>
          <a:ln w="57150">
            <a:solidFill>
              <a:srgbClr val="0A8276"/>
            </a:solidFill>
            <a:tailEnd type="triangle"/>
          </a:ln>
        </p:spPr>
        <p:style>
          <a:lnRef idx="1">
            <a:schemeClr val="accent1"/>
          </a:lnRef>
          <a:fillRef idx="0">
            <a:schemeClr val="accent1"/>
          </a:fillRef>
          <a:effectRef idx="0">
            <a:schemeClr val="accent1"/>
          </a:effectRef>
          <a:fontRef idx="minor">
            <a:schemeClr val="tx1"/>
          </a:fontRef>
        </p:style>
      </p:cxnSp>
      <p:pic>
        <p:nvPicPr>
          <p:cNvPr id="52228" name="Picture 4" descr="https://ars.els-cdn.com/content/image/1-s2.0-S0749603614000640-gr1.jpg">
            <a:extLst>
              <a:ext uri="{FF2B5EF4-FFF2-40B4-BE49-F238E27FC236}">
                <a16:creationId xmlns:a16="http://schemas.microsoft.com/office/drawing/2014/main" id="{67614759-BF88-4DB3-BEED-6E04B0DB3A9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 r="50321" b="4325"/>
          <a:stretch/>
        </p:blipFill>
        <p:spPr bwMode="auto">
          <a:xfrm>
            <a:off x="6413000" y="2354153"/>
            <a:ext cx="1998398" cy="2010951"/>
          </a:xfrm>
          <a:prstGeom prst="rect">
            <a:avLst/>
          </a:prstGeom>
          <a:noFill/>
          <a:extLst>
            <a:ext uri="{909E8E84-426E-40DD-AFC4-6F175D3DCCD1}">
              <a14:hiddenFill xmlns:a14="http://schemas.microsoft.com/office/drawing/2010/main">
                <a:solidFill>
                  <a:srgbClr val="FFFFFF"/>
                </a:solidFill>
              </a14:hiddenFill>
            </a:ext>
          </a:extLst>
        </p:spPr>
      </p:pic>
      <p:sp>
        <p:nvSpPr>
          <p:cNvPr id="12" name="Oval 11">
            <a:extLst>
              <a:ext uri="{FF2B5EF4-FFF2-40B4-BE49-F238E27FC236}">
                <a16:creationId xmlns:a16="http://schemas.microsoft.com/office/drawing/2014/main" id="{27767B3C-4426-4723-B132-7E0B70D545D7}"/>
              </a:ext>
            </a:extLst>
          </p:cNvPr>
          <p:cNvSpPr/>
          <p:nvPr/>
        </p:nvSpPr>
        <p:spPr bwMode="auto">
          <a:xfrm>
            <a:off x="7855144" y="2988129"/>
            <a:ext cx="615824" cy="566779"/>
          </a:xfrm>
          <a:prstGeom prst="ellipse">
            <a:avLst/>
          </a:prstGeom>
          <a:noFill/>
          <a:ln w="762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de-AT" sz="1600" baseline="0" dirty="0">
              <a:solidFill>
                <a:schemeClr val="bg1"/>
              </a:solidFill>
              <a:latin typeface="+mn-lt"/>
              <a:ea typeface="+mn-ea"/>
              <a:cs typeface="+mn-cs"/>
            </a:endParaRPr>
          </a:p>
        </p:txBody>
      </p:sp>
      <p:sp>
        <p:nvSpPr>
          <p:cNvPr id="27" name="Rectangle 26">
            <a:extLst>
              <a:ext uri="{FF2B5EF4-FFF2-40B4-BE49-F238E27FC236}">
                <a16:creationId xmlns:a16="http://schemas.microsoft.com/office/drawing/2014/main" id="{3661FB33-B726-4503-973A-E03471A89E6D}"/>
              </a:ext>
            </a:extLst>
          </p:cNvPr>
          <p:cNvSpPr/>
          <p:nvPr/>
        </p:nvSpPr>
        <p:spPr>
          <a:xfrm>
            <a:off x="7713305" y="2031951"/>
            <a:ext cx="2711127" cy="323165"/>
          </a:xfrm>
          <a:prstGeom prst="rect">
            <a:avLst/>
          </a:prstGeom>
        </p:spPr>
        <p:txBody>
          <a:bodyPr wrap="none">
            <a:spAutoFit/>
          </a:bodyPr>
          <a:lstStyle/>
          <a:p>
            <a:r>
              <a:rPr lang="en-US" sz="1500" b="1" dirty="0">
                <a:solidFill>
                  <a:schemeClr val="accent4"/>
                </a:solidFill>
              </a:rPr>
              <a:t>Improved Edge Termination</a:t>
            </a:r>
          </a:p>
        </p:txBody>
      </p:sp>
    </p:spTree>
    <p:custDataLst>
      <p:tags r:id="rId1"/>
    </p:custDataLst>
    <p:extLst>
      <p:ext uri="{BB962C8B-B14F-4D97-AF65-F5344CB8AC3E}">
        <p14:creationId xmlns:p14="http://schemas.microsoft.com/office/powerpoint/2010/main" val="4041262373"/>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US" dirty="0">
                <a:solidFill>
                  <a:schemeClr val="tx1"/>
                </a:solidFill>
              </a:rPr>
              <a:t>Key takeaways and resources</a:t>
            </a:r>
          </a:p>
        </p:txBody>
      </p:sp>
      <p:sp>
        <p:nvSpPr>
          <p:cNvPr id="3" name="Content Placeholder 2">
            <a:extLst>
              <a:ext uri="{FF2B5EF4-FFF2-40B4-BE49-F238E27FC236}">
                <a16:creationId xmlns:a16="http://schemas.microsoft.com/office/drawing/2014/main" id="{6D66462F-48A6-4012-4FE9-78B6ADAB7E20}"/>
              </a:ext>
            </a:extLst>
          </p:cNvPr>
          <p:cNvSpPr txBox="1">
            <a:spLocks/>
          </p:cNvSpPr>
          <p:nvPr/>
        </p:nvSpPr>
        <p:spPr>
          <a:xfrm>
            <a:off x="516348" y="2014103"/>
            <a:ext cx="7992888" cy="1979164"/>
          </a:xfrm>
          <a:prstGeom prst="rect">
            <a:avLst/>
          </a:prstGeom>
        </p:spPr>
        <p:txBody>
          <a:bodyPr vert="horz" lIns="0" tIns="0" rIns="0" bIns="0" rtlCol="0">
            <a:noAutofit/>
          </a:bodyPr>
          <a:lstStyle>
            <a:lvl1pPr marL="252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800" baseline="0">
                <a:latin typeface="+mn-lt"/>
              </a:defRPr>
            </a:lvl1pPr>
            <a:lvl2pPr marL="504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sz="1600">
                <a:latin typeface="+mn-lt"/>
              </a:defRPr>
            </a:lvl2pPr>
            <a:lvl3pPr marL="756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3pPr>
            <a:lvl4pPr marL="756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4pPr>
            <a:lvl5pPr marL="756000" indent="-252000" defTabSz="576000" eaLnBrk="1" hangingPunct="1">
              <a:lnSpc>
                <a:spcPct val="120000"/>
              </a:lnSpc>
              <a:spcBef>
                <a:spcPts val="0"/>
              </a:spcBef>
              <a:spcAft>
                <a:spcPts val="0"/>
              </a:spcAft>
              <a:buClr>
                <a:schemeClr val="tx2"/>
              </a:buClr>
              <a:buSzPct val="100000"/>
              <a:buFont typeface="Arial" panose="020B0604020202020204" pitchFamily="34" charset="0"/>
              <a:buChar char="‒"/>
              <a:defRPr baseline="0">
                <a:latin typeface="+mn-lt"/>
              </a:defRPr>
            </a:lvl5pPr>
            <a:lvl6pPr marL="756000" indent="-252000" defTabSz="576000" fontAlgn="base">
              <a:lnSpc>
                <a:spcPct val="120000"/>
              </a:lnSpc>
              <a:spcBef>
                <a:spcPts val="0"/>
              </a:spcBef>
              <a:spcAft>
                <a:spcPts val="0"/>
              </a:spcAft>
              <a:buClr>
                <a:schemeClr val="tx2"/>
              </a:buClr>
              <a:buFont typeface="Arial" panose="020B0604020202020204" pitchFamily="34" charset="0"/>
              <a:buChar char="‒"/>
              <a:defRPr baseline="0">
                <a:latin typeface="+mn-lt"/>
              </a:defRPr>
            </a:lvl6pPr>
            <a:lvl7pPr marL="756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7pPr>
            <a:lvl8pPr marL="756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8pPr>
            <a:lvl9pPr marL="756000" indent="-252000" defTabSz="576000" fontAlgn="base">
              <a:lnSpc>
                <a:spcPct val="120000"/>
              </a:lnSpc>
              <a:spcBef>
                <a:spcPts val="0"/>
              </a:spcBef>
              <a:spcAft>
                <a:spcPct val="0"/>
              </a:spcAft>
              <a:buClr>
                <a:schemeClr val="tx2"/>
              </a:buClr>
              <a:buFont typeface="Arial" panose="020B0604020202020204" pitchFamily="34" charset="0"/>
              <a:buChar char="‒"/>
              <a:defRPr>
                <a:latin typeface="+mn-lt"/>
              </a:defRPr>
            </a:lvl9pPr>
          </a:lstStyle>
          <a:p>
            <a:pPr marL="0" indent="0">
              <a:buNone/>
            </a:pPr>
            <a:r>
              <a:rPr lang="en-US" dirty="0"/>
              <a:t>5 values of discrete TRENCHSTOP™ IGBT7:</a:t>
            </a:r>
          </a:p>
          <a:p>
            <a:pPr marL="457200" indent="-457200">
              <a:buFont typeface="+mj-lt"/>
              <a:buAutoNum type="arabicPeriod"/>
            </a:pPr>
            <a:r>
              <a:rPr lang="en-US" b="1" dirty="0"/>
              <a:t>Easy to switch</a:t>
            </a:r>
            <a:r>
              <a:rPr lang="en-US" dirty="0"/>
              <a:t>, fine controllability with a rugged transient</a:t>
            </a:r>
          </a:p>
          <a:p>
            <a:pPr marL="457200" indent="-457200">
              <a:buFont typeface="+mj-lt"/>
              <a:buAutoNum type="arabicPeriod"/>
            </a:pPr>
            <a:r>
              <a:rPr lang="en-US" dirty="0"/>
              <a:t>Advanced </a:t>
            </a:r>
            <a:r>
              <a:rPr lang="en-US" b="1" dirty="0"/>
              <a:t>power density </a:t>
            </a:r>
          </a:p>
          <a:p>
            <a:pPr marL="457200" indent="-457200">
              <a:buFont typeface="+mj-lt"/>
              <a:buAutoNum type="arabicPeriod"/>
            </a:pPr>
            <a:r>
              <a:rPr lang="en-US" dirty="0"/>
              <a:t>Level up </a:t>
            </a:r>
            <a:r>
              <a:rPr lang="en-US" b="1" dirty="0"/>
              <a:t>efficiency</a:t>
            </a:r>
            <a:r>
              <a:rPr lang="en-US" dirty="0"/>
              <a:t> with silicon world</a:t>
            </a:r>
          </a:p>
          <a:p>
            <a:pPr marL="457200" indent="-457200">
              <a:buFont typeface="+mj-lt"/>
              <a:buAutoNum type="arabicPeriod"/>
            </a:pPr>
            <a:r>
              <a:rPr lang="en-US" dirty="0"/>
              <a:t>Optimized </a:t>
            </a:r>
            <a:r>
              <a:rPr lang="en-US" b="1" dirty="0"/>
              <a:t>price/performance</a:t>
            </a:r>
            <a:r>
              <a:rPr lang="en-US" dirty="0"/>
              <a:t>, with a global responsibility</a:t>
            </a:r>
          </a:p>
          <a:p>
            <a:pPr marL="457200" indent="-457200">
              <a:buFont typeface="+mj-lt"/>
              <a:buAutoNum type="arabicPeriod"/>
            </a:pPr>
            <a:r>
              <a:rPr lang="en-US" dirty="0"/>
              <a:t>Extra reliability, </a:t>
            </a:r>
            <a:r>
              <a:rPr lang="en-US" b="1" dirty="0"/>
              <a:t>qualified for HV-H3TRB</a:t>
            </a:r>
          </a:p>
          <a:p>
            <a:pPr marL="0" indent="0">
              <a:buNone/>
            </a:pPr>
            <a:endParaRPr lang="en-US" sz="1600" dirty="0"/>
          </a:p>
        </p:txBody>
      </p:sp>
      <p:pic>
        <p:nvPicPr>
          <p:cNvPr id="11" name="Picture 10">
            <a:extLst>
              <a:ext uri="{FF2B5EF4-FFF2-40B4-BE49-F238E27FC236}">
                <a16:creationId xmlns:a16="http://schemas.microsoft.com/office/drawing/2014/main" id="{7DB3300A-6C21-4CF2-A517-213C8DF3B8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43672" y="4281563"/>
            <a:ext cx="940921" cy="1190036"/>
          </a:xfrm>
          <a:prstGeom prst="rect">
            <a:avLst/>
          </a:prstGeom>
        </p:spPr>
      </p:pic>
      <p:pic>
        <p:nvPicPr>
          <p:cNvPr id="12" name="Picture 11">
            <a:extLst>
              <a:ext uri="{FF2B5EF4-FFF2-40B4-BE49-F238E27FC236}">
                <a16:creationId xmlns:a16="http://schemas.microsoft.com/office/drawing/2014/main" id="{EFBB5930-B6A8-40D5-B5E6-69A30C7661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91744" y="4281563"/>
            <a:ext cx="899298" cy="1183287"/>
          </a:xfrm>
          <a:prstGeom prst="rect">
            <a:avLst/>
          </a:prstGeom>
        </p:spPr>
      </p:pic>
      <p:pic>
        <p:nvPicPr>
          <p:cNvPr id="14" name="Picture 13">
            <a:extLst>
              <a:ext uri="{FF2B5EF4-FFF2-40B4-BE49-F238E27FC236}">
                <a16:creationId xmlns:a16="http://schemas.microsoft.com/office/drawing/2014/main" id="{CA2AF631-7E9C-4B78-AF06-1D6F5225371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39816" y="4281563"/>
            <a:ext cx="919604" cy="1210005"/>
          </a:xfrm>
          <a:prstGeom prst="rect">
            <a:avLst/>
          </a:prstGeom>
        </p:spPr>
      </p:pic>
      <p:pic>
        <p:nvPicPr>
          <p:cNvPr id="15" name="Picture 14">
            <a:extLst>
              <a:ext uri="{FF2B5EF4-FFF2-40B4-BE49-F238E27FC236}">
                <a16:creationId xmlns:a16="http://schemas.microsoft.com/office/drawing/2014/main" id="{3757344D-39BC-4394-8874-F2CA0EA926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95600" y="4281563"/>
            <a:ext cx="903028" cy="1188193"/>
          </a:xfrm>
          <a:prstGeom prst="rect">
            <a:avLst/>
          </a:prstGeom>
        </p:spPr>
      </p:pic>
      <p:pic>
        <p:nvPicPr>
          <p:cNvPr id="17" name="Picture 16">
            <a:extLst>
              <a:ext uri="{FF2B5EF4-FFF2-40B4-BE49-F238E27FC236}">
                <a16:creationId xmlns:a16="http://schemas.microsoft.com/office/drawing/2014/main" id="{B5C2CEA4-A83C-4018-9CE2-DBEA5691BD3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75520" y="4281563"/>
            <a:ext cx="919605" cy="1205775"/>
          </a:xfrm>
          <a:prstGeom prst="rect">
            <a:avLst/>
          </a:prstGeom>
        </p:spPr>
      </p:pic>
      <p:pic>
        <p:nvPicPr>
          <p:cNvPr id="21" name="Picture 20">
            <a:hlinkClick r:id="rId11"/>
            <a:extLst>
              <a:ext uri="{FF2B5EF4-FFF2-40B4-BE49-F238E27FC236}">
                <a16:creationId xmlns:a16="http://schemas.microsoft.com/office/drawing/2014/main" id="{343E52BE-43DC-47B6-9362-EE5EA164B24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8013" y="4231201"/>
            <a:ext cx="1075311" cy="1075311"/>
          </a:xfrm>
          <a:prstGeom prst="rect">
            <a:avLst/>
          </a:prstGeom>
        </p:spPr>
      </p:pic>
      <p:sp>
        <p:nvSpPr>
          <p:cNvPr id="24" name="TextBox">
            <a:extLst>
              <a:ext uri="{FF2B5EF4-FFF2-40B4-BE49-F238E27FC236}">
                <a16:creationId xmlns:a16="http://schemas.microsoft.com/office/drawing/2014/main" id="{63709582-1FED-445F-A4AC-0679521FE29E}"/>
              </a:ext>
            </a:extLst>
          </p:cNvPr>
          <p:cNvSpPr txBox="1"/>
          <p:nvPr>
            <p:custDataLst>
              <p:tags r:id="rId2"/>
            </p:custDataLst>
          </p:nvPr>
        </p:nvSpPr>
        <p:spPr bwMode="auto">
          <a:xfrm>
            <a:off x="8060537" y="2115345"/>
            <a:ext cx="3447322" cy="1408871"/>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defTabSz="575986">
              <a:buClr>
                <a:srgbClr val="0A8276"/>
              </a:buClr>
              <a:buNone/>
              <a:defRPr/>
            </a:pPr>
            <a:endParaRPr lang="en-US" dirty="0"/>
          </a:p>
          <a:p>
            <a:pPr marL="0" indent="0" defTabSz="575986">
              <a:buClr>
                <a:srgbClr val="0A8276"/>
              </a:buClr>
              <a:buNone/>
              <a:defRPr/>
            </a:pPr>
            <a:r>
              <a:rPr lang="en-US" b="1" dirty="0"/>
              <a:t>3 voltage classes </a:t>
            </a:r>
            <a:r>
              <a:rPr lang="en-US" dirty="0"/>
              <a:t>650 V, 750 V &amp; 1200 V</a:t>
            </a:r>
          </a:p>
          <a:p>
            <a:pPr marL="0" indent="0" defTabSz="575986">
              <a:buClr>
                <a:srgbClr val="0A8276"/>
              </a:buClr>
              <a:buNone/>
              <a:defRPr/>
            </a:pPr>
            <a:r>
              <a:rPr lang="en-US" b="1" dirty="0"/>
              <a:t>3 </a:t>
            </a:r>
            <a:r>
              <a:rPr lang="en-US" b="1" dirty="0" err="1"/>
              <a:t>flavours</a:t>
            </a:r>
            <a:r>
              <a:rPr lang="en-US" b="1" dirty="0"/>
              <a:t> </a:t>
            </a:r>
            <a:r>
              <a:rPr lang="en-US" dirty="0"/>
              <a:t>T7, H7 &amp; S7</a:t>
            </a:r>
          </a:p>
          <a:p>
            <a:pPr marL="0" indent="0" defTabSz="575986">
              <a:buClr>
                <a:srgbClr val="0A8276"/>
              </a:buClr>
              <a:buNone/>
              <a:defRPr/>
            </a:pPr>
            <a:r>
              <a:rPr lang="en-US" b="1" dirty="0"/>
              <a:t>7 packages </a:t>
            </a:r>
          </a:p>
          <a:p>
            <a:pPr marL="0" indent="0" defTabSz="575986">
              <a:buClr>
                <a:srgbClr val="0A8276"/>
              </a:buClr>
              <a:buNone/>
              <a:defRPr/>
            </a:pPr>
            <a:r>
              <a:rPr lang="en-US" b="1" dirty="0"/>
              <a:t>61 Products</a:t>
            </a:r>
            <a:r>
              <a:rPr lang="en-US" dirty="0"/>
              <a:t>			</a:t>
            </a:r>
          </a:p>
        </p:txBody>
      </p:sp>
      <p:grpSp>
        <p:nvGrpSpPr>
          <p:cNvPr id="5" name="Group 4">
            <a:extLst>
              <a:ext uri="{FF2B5EF4-FFF2-40B4-BE49-F238E27FC236}">
                <a16:creationId xmlns:a16="http://schemas.microsoft.com/office/drawing/2014/main" id="{6EDFF31A-0D13-4498-4BDC-0CE234D5E11D}"/>
              </a:ext>
            </a:extLst>
          </p:cNvPr>
          <p:cNvGrpSpPr/>
          <p:nvPr/>
        </p:nvGrpSpPr>
        <p:grpSpPr>
          <a:xfrm>
            <a:off x="334434" y="1268414"/>
            <a:ext cx="11521016" cy="648072"/>
            <a:chOff x="335360" y="1336801"/>
            <a:chExt cx="8175182" cy="648072"/>
          </a:xfrm>
        </p:grpSpPr>
        <p:sp>
          <p:nvSpPr>
            <p:cNvPr id="6" name="Rectangle 5">
              <a:extLst>
                <a:ext uri="{FF2B5EF4-FFF2-40B4-BE49-F238E27FC236}">
                  <a16:creationId xmlns:a16="http://schemas.microsoft.com/office/drawing/2014/main" id="{1D3843D4-06FD-13A9-DEB1-E3F1A6375250}"/>
                </a:ext>
              </a:extLst>
            </p:cNvPr>
            <p:cNvSpPr/>
            <p:nvPr/>
          </p:nvSpPr>
          <p:spPr bwMode="auto">
            <a:xfrm>
              <a:off x="335360" y="1336801"/>
              <a:ext cx="8175182" cy="648072"/>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7" name="TextBox 6">
              <a:extLst>
                <a:ext uri="{FF2B5EF4-FFF2-40B4-BE49-F238E27FC236}">
                  <a16:creationId xmlns:a16="http://schemas.microsoft.com/office/drawing/2014/main" id="{CD017653-F63E-E071-728C-7A506F64B674}"/>
                </a:ext>
              </a:extLst>
            </p:cNvPr>
            <p:cNvSpPr txBox="1"/>
            <p:nvPr/>
          </p:nvSpPr>
          <p:spPr bwMode="auto">
            <a:xfrm>
              <a:off x="623392" y="1480817"/>
              <a:ext cx="6840760"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dirty="0">
                  <a:solidFill>
                    <a:schemeClr val="bg1"/>
                  </a:solidFill>
                </a:rPr>
                <a:t>Flexible family that suits the overall energy chain needs</a:t>
              </a:r>
            </a:p>
          </p:txBody>
        </p:sp>
      </p:grpSp>
      <p:sp>
        <p:nvSpPr>
          <p:cNvPr id="8" name="Rectangle 7">
            <a:extLst>
              <a:ext uri="{FF2B5EF4-FFF2-40B4-BE49-F238E27FC236}">
                <a16:creationId xmlns:a16="http://schemas.microsoft.com/office/drawing/2014/main" id="{2CF0FAED-5107-CA70-BFA9-3C5072805865}"/>
              </a:ext>
            </a:extLst>
          </p:cNvPr>
          <p:cNvSpPr/>
          <p:nvPr/>
        </p:nvSpPr>
        <p:spPr bwMode="auto">
          <a:xfrm>
            <a:off x="363270" y="1988840"/>
            <a:ext cx="7244898" cy="2041056"/>
          </a:xfrm>
          <a:prstGeom prst="rect">
            <a:avLst/>
          </a:prstGeom>
          <a:noFill/>
          <a:ln w="381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grpSp>
        <p:nvGrpSpPr>
          <p:cNvPr id="16" name="Group 15">
            <a:extLst>
              <a:ext uri="{FF2B5EF4-FFF2-40B4-BE49-F238E27FC236}">
                <a16:creationId xmlns:a16="http://schemas.microsoft.com/office/drawing/2014/main" id="{756E501E-6364-E3B4-E1E2-4611C8D66911}"/>
              </a:ext>
            </a:extLst>
          </p:cNvPr>
          <p:cNvGrpSpPr/>
          <p:nvPr/>
        </p:nvGrpSpPr>
        <p:grpSpPr>
          <a:xfrm>
            <a:off x="7712948" y="4064829"/>
            <a:ext cx="4142501" cy="2193796"/>
            <a:chOff x="8193295" y="1994956"/>
            <a:chExt cx="4142501" cy="2193796"/>
          </a:xfrm>
        </p:grpSpPr>
        <p:pic>
          <p:nvPicPr>
            <p:cNvPr id="19" name="Picture 2" descr="See the source image">
              <a:extLst>
                <a:ext uri="{FF2B5EF4-FFF2-40B4-BE49-F238E27FC236}">
                  <a16:creationId xmlns:a16="http://schemas.microsoft.com/office/drawing/2014/main" id="{6D13B9A1-04A0-4881-8C09-58C2098092D3}"/>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225386" y="1994956"/>
              <a:ext cx="2113406" cy="1408057"/>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EF9C2874-7464-498E-A57D-11B072B2E285}"/>
                </a:ext>
              </a:extLst>
            </p:cNvPr>
            <p:cNvSpPr txBox="1"/>
            <p:nvPr/>
          </p:nvSpPr>
          <p:spPr bwMode="auto">
            <a:xfrm>
              <a:off x="8863936" y="3269063"/>
              <a:ext cx="2988663" cy="792088"/>
            </a:xfrm>
            <a:prstGeom prst="rect">
              <a:avLst/>
            </a:prstGeom>
            <a:noFill/>
            <a:ln w="9525">
              <a:noFill/>
              <a:miter lim="800000"/>
              <a:headEnd/>
              <a:tailEnd/>
            </a:ln>
            <a:effectLst/>
          </p:spPr>
          <p:txBody>
            <a:bodyPr wrap="square" lIns="0" tIns="0" rIns="0" bIns="0" rtlCol="0" anchor="ctr" anchorCtr="0">
              <a:noAutofit/>
            </a:bodyPr>
            <a:lstStyle/>
            <a:p>
              <a:pPr algn="ctr" defTabSz="575986" eaLnBrk="0" fontAlgn="auto" hangingPunct="0">
                <a:spcBef>
                  <a:spcPts val="0"/>
                </a:spcBef>
                <a:spcAft>
                  <a:spcPts val="0"/>
                </a:spcAft>
                <a:buClr>
                  <a:schemeClr val="accent1"/>
                </a:buClr>
              </a:pPr>
              <a:r>
                <a:rPr lang="en-US" sz="1800" kern="0" dirty="0">
                  <a:latin typeface="+mn-lt"/>
                </a:rPr>
                <a:t>IGBTs produced in a </a:t>
              </a:r>
            </a:p>
            <a:p>
              <a:pPr algn="ctr" defTabSz="575986" eaLnBrk="0" fontAlgn="auto" hangingPunct="0">
                <a:spcBef>
                  <a:spcPts val="0"/>
                </a:spcBef>
                <a:spcAft>
                  <a:spcPts val="0"/>
                </a:spcAft>
                <a:buClr>
                  <a:schemeClr val="accent1"/>
                </a:buClr>
              </a:pPr>
              <a:r>
                <a:rPr lang="en-US" sz="1800" kern="0" dirty="0">
                  <a:latin typeface="+mn-lt"/>
                </a:rPr>
                <a:t>newest fully-automated</a:t>
              </a:r>
            </a:p>
            <a:p>
              <a:pPr algn="ctr" defTabSz="575986" eaLnBrk="0" fontAlgn="auto" hangingPunct="0">
                <a:spcBef>
                  <a:spcPts val="0"/>
                </a:spcBef>
                <a:spcAft>
                  <a:spcPts val="0"/>
                </a:spcAft>
                <a:buClr>
                  <a:schemeClr val="accent1"/>
                </a:buClr>
              </a:pPr>
              <a:r>
                <a:rPr lang="en-US" sz="1800" kern="0" dirty="0">
                  <a:latin typeface="+mn-lt"/>
                </a:rPr>
                <a:t>300mm chip factory</a:t>
              </a:r>
            </a:p>
          </p:txBody>
        </p:sp>
        <p:sp>
          <p:nvSpPr>
            <p:cNvPr id="9" name="Rectangle 8">
              <a:extLst>
                <a:ext uri="{FF2B5EF4-FFF2-40B4-BE49-F238E27FC236}">
                  <a16:creationId xmlns:a16="http://schemas.microsoft.com/office/drawing/2014/main" id="{489757C6-DCF8-ED5F-2CD9-3E429B6EE552}"/>
                </a:ext>
              </a:extLst>
            </p:cNvPr>
            <p:cNvSpPr/>
            <p:nvPr/>
          </p:nvSpPr>
          <p:spPr bwMode="auto">
            <a:xfrm>
              <a:off x="8193295" y="2068708"/>
              <a:ext cx="4142501" cy="2120044"/>
            </a:xfrm>
            <a:prstGeom prst="rect">
              <a:avLst/>
            </a:prstGeom>
            <a:noFill/>
            <a:ln w="381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grpSp>
      <p:sp>
        <p:nvSpPr>
          <p:cNvPr id="20" name="Rectangle 19">
            <a:extLst>
              <a:ext uri="{FF2B5EF4-FFF2-40B4-BE49-F238E27FC236}">
                <a16:creationId xmlns:a16="http://schemas.microsoft.com/office/drawing/2014/main" id="{4D01103A-E2F8-0DA0-D073-88A7E28A407B}"/>
              </a:ext>
            </a:extLst>
          </p:cNvPr>
          <p:cNvSpPr/>
          <p:nvPr/>
        </p:nvSpPr>
        <p:spPr bwMode="auto">
          <a:xfrm>
            <a:off x="7712949" y="1988841"/>
            <a:ext cx="4142501" cy="2041056"/>
          </a:xfrm>
          <a:prstGeom prst="rect">
            <a:avLst/>
          </a:prstGeom>
          <a:noFill/>
          <a:ln w="381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grpSp>
        <p:nvGrpSpPr>
          <p:cNvPr id="29" name="Group 28">
            <a:extLst>
              <a:ext uri="{FF2B5EF4-FFF2-40B4-BE49-F238E27FC236}">
                <a16:creationId xmlns:a16="http://schemas.microsoft.com/office/drawing/2014/main" id="{E12FD2C9-D8BB-3134-A969-8BEEC5866A15}"/>
              </a:ext>
            </a:extLst>
          </p:cNvPr>
          <p:cNvGrpSpPr/>
          <p:nvPr/>
        </p:nvGrpSpPr>
        <p:grpSpPr>
          <a:xfrm>
            <a:off x="334434" y="5621007"/>
            <a:ext cx="7272808" cy="648072"/>
            <a:chOff x="334434" y="5621007"/>
            <a:chExt cx="7272808" cy="648072"/>
          </a:xfrm>
        </p:grpSpPr>
        <p:grpSp>
          <p:nvGrpSpPr>
            <p:cNvPr id="26" name="Group 25">
              <a:extLst>
                <a:ext uri="{FF2B5EF4-FFF2-40B4-BE49-F238E27FC236}">
                  <a16:creationId xmlns:a16="http://schemas.microsoft.com/office/drawing/2014/main" id="{EA46A6BE-09F6-0D33-073E-D55792F0F90A}"/>
                </a:ext>
              </a:extLst>
            </p:cNvPr>
            <p:cNvGrpSpPr/>
            <p:nvPr/>
          </p:nvGrpSpPr>
          <p:grpSpPr>
            <a:xfrm>
              <a:off x="334434" y="5621007"/>
              <a:ext cx="7272808" cy="648072"/>
              <a:chOff x="529413" y="2137824"/>
              <a:chExt cx="5160702" cy="648072"/>
            </a:xfrm>
          </p:grpSpPr>
          <p:sp>
            <p:nvSpPr>
              <p:cNvPr id="27" name="Rectangle 26">
                <a:hlinkClick r:id="rId11"/>
                <a:extLst>
                  <a:ext uri="{FF2B5EF4-FFF2-40B4-BE49-F238E27FC236}">
                    <a16:creationId xmlns:a16="http://schemas.microsoft.com/office/drawing/2014/main" id="{5896444B-907C-7967-7EB5-F49FBDBAA948}"/>
                  </a:ext>
                </a:extLst>
              </p:cNvPr>
              <p:cNvSpPr/>
              <p:nvPr/>
            </p:nvSpPr>
            <p:spPr bwMode="auto">
              <a:xfrm>
                <a:off x="529413" y="2137824"/>
                <a:ext cx="5160702" cy="648072"/>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8" name="TextBox 27">
                <a:hlinkClick r:id="rId11"/>
                <a:extLst>
                  <a:ext uri="{FF2B5EF4-FFF2-40B4-BE49-F238E27FC236}">
                    <a16:creationId xmlns:a16="http://schemas.microsoft.com/office/drawing/2014/main" id="{DACEAE64-F6C4-09B1-4765-B214B9C0C0E5}"/>
                  </a:ext>
                </a:extLst>
              </p:cNvPr>
              <p:cNvSpPr txBox="1"/>
              <p:nvPr/>
            </p:nvSpPr>
            <p:spPr bwMode="auto">
              <a:xfrm>
                <a:off x="1196765" y="2290296"/>
                <a:ext cx="2788063"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dirty="0">
                    <a:solidFill>
                      <a:schemeClr val="bg1"/>
                    </a:solidFill>
                  </a:rPr>
                  <a:t>infineon.com/discreteIGBT7</a:t>
                </a:r>
              </a:p>
            </p:txBody>
          </p:sp>
        </p:grpSp>
        <p:pic>
          <p:nvPicPr>
            <p:cNvPr id="25" name="Link">
              <a:hlinkClick r:id="rId11"/>
              <a:extLst>
                <a:ext uri="{FF2B5EF4-FFF2-40B4-BE49-F238E27FC236}">
                  <a16:creationId xmlns:a16="http://schemas.microsoft.com/office/drawing/2014/main" id="{D274D71E-900D-35BB-2ED4-263E5B4C05D2}"/>
                </a:ext>
              </a:extLst>
            </p:cNvPr>
            <p:cNvPicPr>
              <a:picLocks noChangeAspect="1"/>
            </p:cNvPicPr>
            <p:nvPr>
              <p:custDataLst>
                <p:tags r:id="rId3"/>
              </p:custDataLst>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7496" y="5716443"/>
              <a:ext cx="414581" cy="414581"/>
            </a:xfrm>
            <a:prstGeom prst="rect">
              <a:avLst/>
            </a:prstGeom>
          </p:spPr>
        </p:pic>
      </p:grpSp>
      <p:pic>
        <p:nvPicPr>
          <p:cNvPr id="2" name="Picture 1">
            <a:extLst>
              <a:ext uri="{FF2B5EF4-FFF2-40B4-BE49-F238E27FC236}">
                <a16:creationId xmlns:a16="http://schemas.microsoft.com/office/drawing/2014/main" id="{1F5C1E42-4D3F-CAE6-2758-A84B65A8F21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096000" y="4487172"/>
            <a:ext cx="553041" cy="639849"/>
          </a:xfrm>
          <a:prstGeom prst="rect">
            <a:avLst/>
          </a:prstGeom>
        </p:spPr>
      </p:pic>
      <p:pic>
        <p:nvPicPr>
          <p:cNvPr id="4" name="Picture 3">
            <a:extLst>
              <a:ext uri="{FF2B5EF4-FFF2-40B4-BE49-F238E27FC236}">
                <a16:creationId xmlns:a16="http://schemas.microsoft.com/office/drawing/2014/main" id="{F68DEBFC-F457-CF29-E8CF-D9B8F248CF3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326598" y="4405335"/>
            <a:ext cx="679161" cy="758396"/>
          </a:xfrm>
          <a:prstGeom prst="rect">
            <a:avLst/>
          </a:prstGeom>
        </p:spPr>
      </p:pic>
    </p:spTree>
    <p:custDataLst>
      <p:tags r:id="rId1"/>
    </p:custDataLst>
    <p:extLst>
      <p:ext uri="{BB962C8B-B14F-4D97-AF65-F5344CB8AC3E}">
        <p14:creationId xmlns:p14="http://schemas.microsoft.com/office/powerpoint/2010/main" val="332138000"/>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860" name="Picture 92" descr="Product Image for the EconoDUAL™ 3 with TRENCHSTOP™ IGBT7">
            <a:extLst>
              <a:ext uri="{FF2B5EF4-FFF2-40B4-BE49-F238E27FC236}">
                <a16:creationId xmlns:a16="http://schemas.microsoft.com/office/drawing/2014/main" id="{5C51348C-8705-414A-8BA7-7CA22D2799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4477" y="4815047"/>
            <a:ext cx="2286000" cy="1671638"/>
          </a:xfrm>
          <a:prstGeom prst="rect">
            <a:avLst/>
          </a:prstGeom>
          <a:noFill/>
          <a:extLst>
            <a:ext uri="{909E8E84-426E-40DD-AFC4-6F175D3DCCD1}">
              <a14:hiddenFill xmlns:a14="http://schemas.microsoft.com/office/drawing/2010/main">
                <a:solidFill>
                  <a:srgbClr val="FFFFFF"/>
                </a:solidFill>
              </a14:hiddenFill>
            </a:ext>
          </a:extLst>
        </p:spPr>
      </p:pic>
      <p:pic>
        <p:nvPicPr>
          <p:cNvPr id="32854" name="Picture 86" descr="Packaging of TRENCHSTOP IGBT7 Easy 1B and 2B">
            <a:extLst>
              <a:ext uri="{FF2B5EF4-FFF2-40B4-BE49-F238E27FC236}">
                <a16:creationId xmlns:a16="http://schemas.microsoft.com/office/drawing/2014/main" id="{24B3B389-7605-430F-8795-641FACF74B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04778" y="1916585"/>
            <a:ext cx="2526511" cy="1847511"/>
          </a:xfrm>
          <a:prstGeom prst="rect">
            <a:avLst/>
          </a:prstGeom>
          <a:noFill/>
          <a:extLst>
            <a:ext uri="{909E8E84-426E-40DD-AFC4-6F175D3DCCD1}">
              <a14:hiddenFill xmlns:a14="http://schemas.microsoft.com/office/drawing/2010/main">
                <a:solidFill>
                  <a:srgbClr val="FFFFFF"/>
                </a:solidFill>
              </a14:hiddenFill>
            </a:ext>
          </a:extLst>
        </p:spPr>
      </p:pic>
      <p:pic>
        <p:nvPicPr>
          <p:cNvPr id="32856" name="Picture 88" descr="Product Image for the Easy 3B package with TRENCHSTOP™ IGBT7">
            <a:extLst>
              <a:ext uri="{FF2B5EF4-FFF2-40B4-BE49-F238E27FC236}">
                <a16:creationId xmlns:a16="http://schemas.microsoft.com/office/drawing/2014/main" id="{C6B385E2-41AD-4440-A6A9-B50A0D2A38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67336" y="4568960"/>
            <a:ext cx="2286001" cy="1709738"/>
          </a:xfrm>
          <a:prstGeom prst="rect">
            <a:avLst/>
          </a:prstGeom>
          <a:noFill/>
          <a:extLst>
            <a:ext uri="{909E8E84-426E-40DD-AFC4-6F175D3DCCD1}">
              <a14:hiddenFill xmlns:a14="http://schemas.microsoft.com/office/drawing/2010/main">
                <a:solidFill>
                  <a:srgbClr val="FFFFFF"/>
                </a:solidFill>
              </a14:hiddenFill>
            </a:ext>
          </a:extLst>
        </p:spPr>
      </p:pic>
      <p:pic>
        <p:nvPicPr>
          <p:cNvPr id="32852" name="Picture 84" descr="https://www.infineon.com/export/sites/default/_images/product/power/igbt/IGBT7/62mm_TRENCHSTOP_IGBT7.jpg_148935309.jpg">
            <a:extLst>
              <a:ext uri="{FF2B5EF4-FFF2-40B4-BE49-F238E27FC236}">
                <a16:creationId xmlns:a16="http://schemas.microsoft.com/office/drawing/2014/main" id="{2A3DBE87-E036-41F0-A67D-E9F57B4678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15018" y="1712244"/>
            <a:ext cx="2071486" cy="17996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9" imgW="359" imgH="360" progId="TCLayout.ActiveDocument.1">
                  <p:embed/>
                </p:oleObj>
              </mc:Choice>
              <mc:Fallback>
                <p:oleObj name="think-cell Slide" r:id="rId9" imgW="359" imgH="360" progId="TCLayout.ActiveDocument.1">
                  <p:embed/>
                  <p:pic>
                    <p:nvPicPr>
                      <p:cNvPr id="13" name="Object 1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p:nvPr>
        </p:nvSpPr>
        <p:spPr/>
        <p:txBody>
          <a:bodyPr vert="horz"/>
          <a:lstStyle/>
          <a:p>
            <a:r>
              <a:rPr lang="en-US" dirty="0">
                <a:solidFill>
                  <a:schemeClr val="tx1"/>
                </a:solidFill>
              </a:rPr>
              <a:t>Complementary products</a:t>
            </a:r>
          </a:p>
        </p:txBody>
      </p:sp>
      <p:sp>
        <p:nvSpPr>
          <p:cNvPr id="3" name="TextBox 2">
            <a:extLst>
              <a:ext uri="{FF2B5EF4-FFF2-40B4-BE49-F238E27FC236}">
                <a16:creationId xmlns:a16="http://schemas.microsoft.com/office/drawing/2014/main" id="{1FCAB531-BB9B-4D06-95CE-5E5AAEDAF948}"/>
              </a:ext>
            </a:extLst>
          </p:cNvPr>
          <p:cNvSpPr txBox="1"/>
          <p:nvPr/>
        </p:nvSpPr>
        <p:spPr bwMode="auto">
          <a:xfrm>
            <a:off x="5756677" y="3193586"/>
            <a:ext cx="1127448" cy="90556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5400" kern="0" baseline="0">
                <a:solidFill>
                  <a:schemeClr val="accent1"/>
                </a:solidFill>
                <a:latin typeface="+mn-lt"/>
                <a:ea typeface="+mn-ea"/>
                <a:cs typeface="+mn-cs"/>
              </a:rPr>
              <a:t>&amp;</a:t>
            </a:r>
            <a:endParaRPr lang="en-US" sz="5400" kern="0" baseline="0" dirty="0">
              <a:solidFill>
                <a:schemeClr val="accent1"/>
              </a:solidFill>
              <a:latin typeface="+mn-lt"/>
              <a:ea typeface="+mn-ea"/>
              <a:cs typeface="+mn-cs"/>
            </a:endParaRPr>
          </a:p>
        </p:txBody>
      </p:sp>
      <p:pic>
        <p:nvPicPr>
          <p:cNvPr id="32858" name="Picture 90" descr="Packaging for the Econo 2 and 3 in PIM and sixpack configuration">
            <a:extLst>
              <a:ext uri="{FF2B5EF4-FFF2-40B4-BE49-F238E27FC236}">
                <a16:creationId xmlns:a16="http://schemas.microsoft.com/office/drawing/2014/main" id="{7628D500-A027-4340-A0CE-52B16A36149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23536" y="3668517"/>
            <a:ext cx="228600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2E216153-AF72-4E6C-94A1-BEAA35E4C0E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38776" y="2265331"/>
            <a:ext cx="1485737" cy="1485737"/>
          </a:xfrm>
          <a:prstGeom prst="rect">
            <a:avLst/>
          </a:prstGeom>
        </p:spPr>
      </p:pic>
      <p:pic>
        <p:nvPicPr>
          <p:cNvPr id="22" name="Picture 21">
            <a:hlinkClick r:id="rId13"/>
            <a:extLst>
              <a:ext uri="{FF2B5EF4-FFF2-40B4-BE49-F238E27FC236}">
                <a16:creationId xmlns:a16="http://schemas.microsoft.com/office/drawing/2014/main" id="{CB539393-FCEE-4390-8146-A7D79FD5196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80186" y="3182156"/>
            <a:ext cx="1495247" cy="1495247"/>
          </a:xfrm>
          <a:prstGeom prst="rect">
            <a:avLst/>
          </a:prstGeom>
        </p:spPr>
      </p:pic>
      <p:pic>
        <p:nvPicPr>
          <p:cNvPr id="23" name="Picture 22">
            <a:extLst>
              <a:ext uri="{FF2B5EF4-FFF2-40B4-BE49-F238E27FC236}">
                <a16:creationId xmlns:a16="http://schemas.microsoft.com/office/drawing/2014/main" id="{879004E9-DCA9-4969-85B2-EC90B32B3CB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21282391">
            <a:off x="1062966" y="4506086"/>
            <a:ext cx="756727" cy="957075"/>
          </a:xfrm>
          <a:prstGeom prst="rect">
            <a:avLst/>
          </a:prstGeom>
        </p:spPr>
      </p:pic>
      <p:pic>
        <p:nvPicPr>
          <p:cNvPr id="24" name="Picture 23">
            <a:extLst>
              <a:ext uri="{FF2B5EF4-FFF2-40B4-BE49-F238E27FC236}">
                <a16:creationId xmlns:a16="http://schemas.microsoft.com/office/drawing/2014/main" id="{EE8BCCFA-0319-4C96-8A94-E4F05542E1C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19972" y="3547653"/>
            <a:ext cx="723252" cy="951648"/>
          </a:xfrm>
          <a:prstGeom prst="rect">
            <a:avLst/>
          </a:prstGeom>
        </p:spPr>
      </p:pic>
      <p:pic>
        <p:nvPicPr>
          <p:cNvPr id="25" name="Picture 24">
            <a:extLst>
              <a:ext uri="{FF2B5EF4-FFF2-40B4-BE49-F238E27FC236}">
                <a16:creationId xmlns:a16="http://schemas.microsoft.com/office/drawing/2014/main" id="{FD1E721F-1725-4FA6-BF61-7C192B49742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07567" y="3564424"/>
            <a:ext cx="739583" cy="973135"/>
          </a:xfrm>
          <a:prstGeom prst="rect">
            <a:avLst/>
          </a:prstGeom>
        </p:spPr>
      </p:pic>
      <p:pic>
        <p:nvPicPr>
          <p:cNvPr id="26" name="Picture 25">
            <a:extLst>
              <a:ext uri="{FF2B5EF4-FFF2-40B4-BE49-F238E27FC236}">
                <a16:creationId xmlns:a16="http://schemas.microsoft.com/office/drawing/2014/main" id="{3A722D20-0045-43A5-AD9B-6A3874E5FAD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21174985">
            <a:off x="1696724" y="4540434"/>
            <a:ext cx="726251" cy="955593"/>
          </a:xfrm>
          <a:prstGeom prst="rect">
            <a:avLst/>
          </a:prstGeom>
        </p:spPr>
      </p:pic>
      <p:pic>
        <p:nvPicPr>
          <p:cNvPr id="27" name="Picture 26">
            <a:extLst>
              <a:ext uri="{FF2B5EF4-FFF2-40B4-BE49-F238E27FC236}">
                <a16:creationId xmlns:a16="http://schemas.microsoft.com/office/drawing/2014/main" id="{90066E50-3DDE-4BBE-A829-01593B58704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21316156">
            <a:off x="445393" y="4479991"/>
            <a:ext cx="739583" cy="969733"/>
          </a:xfrm>
          <a:prstGeom prst="rect">
            <a:avLst/>
          </a:prstGeom>
        </p:spPr>
      </p:pic>
      <p:pic>
        <p:nvPicPr>
          <p:cNvPr id="30" name="Picture 29">
            <a:extLst>
              <a:ext uri="{FF2B5EF4-FFF2-40B4-BE49-F238E27FC236}">
                <a16:creationId xmlns:a16="http://schemas.microsoft.com/office/drawing/2014/main" id="{87B17439-D16B-48CF-A410-7903276DF75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rot="10800000">
            <a:off x="2247614" y="3231686"/>
            <a:ext cx="1396189" cy="1396189"/>
          </a:xfrm>
          <a:prstGeom prst="rect">
            <a:avLst/>
          </a:prstGeom>
        </p:spPr>
      </p:pic>
      <p:pic>
        <p:nvPicPr>
          <p:cNvPr id="12" name="Picture 11">
            <a:extLst>
              <a:ext uri="{FF2B5EF4-FFF2-40B4-BE49-F238E27FC236}">
                <a16:creationId xmlns:a16="http://schemas.microsoft.com/office/drawing/2014/main" id="{6E3F18E0-208C-45C1-B4C4-E249A1DD43F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737754" y="3856874"/>
            <a:ext cx="1300021" cy="1205753"/>
          </a:xfrm>
          <a:prstGeom prst="rect">
            <a:avLst/>
          </a:prstGeom>
        </p:spPr>
      </p:pic>
      <p:sp>
        <p:nvSpPr>
          <p:cNvPr id="2" name="Rectangle 1">
            <a:extLst>
              <a:ext uri="{FF2B5EF4-FFF2-40B4-BE49-F238E27FC236}">
                <a16:creationId xmlns:a16="http://schemas.microsoft.com/office/drawing/2014/main" id="{0441F8C0-8AEE-632E-DB52-BF6EC28FE6DE}"/>
              </a:ext>
            </a:extLst>
          </p:cNvPr>
          <p:cNvSpPr/>
          <p:nvPr/>
        </p:nvSpPr>
        <p:spPr bwMode="auto">
          <a:xfrm>
            <a:off x="335360" y="1218874"/>
            <a:ext cx="5198216" cy="5090445"/>
          </a:xfrm>
          <a:prstGeom prst="rect">
            <a:avLst/>
          </a:prstGeom>
          <a:noFill/>
          <a:ln w="381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6" name="Rectangle 5">
            <a:extLst>
              <a:ext uri="{FF2B5EF4-FFF2-40B4-BE49-F238E27FC236}">
                <a16:creationId xmlns:a16="http://schemas.microsoft.com/office/drawing/2014/main" id="{8F47A0A0-4526-73DD-6F12-8E29C99F2B78}"/>
              </a:ext>
            </a:extLst>
          </p:cNvPr>
          <p:cNvSpPr/>
          <p:nvPr/>
        </p:nvSpPr>
        <p:spPr bwMode="auto">
          <a:xfrm>
            <a:off x="334434" y="1232756"/>
            <a:ext cx="5198216" cy="648072"/>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5F21FB6E-437A-2BB1-F56E-BD21746407CA}"/>
              </a:ext>
            </a:extLst>
          </p:cNvPr>
          <p:cNvSpPr txBox="1"/>
          <p:nvPr/>
        </p:nvSpPr>
        <p:spPr bwMode="auto">
          <a:xfrm>
            <a:off x="631751" y="1376772"/>
            <a:ext cx="4312121"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dirty="0">
                <a:solidFill>
                  <a:schemeClr val="bg1"/>
                </a:solidFill>
              </a:rPr>
              <a:t>Every switch needs a driver</a:t>
            </a:r>
            <a:endParaRPr lang="en-US" sz="1800" b="1" kern="0" baseline="0" dirty="0">
              <a:solidFill>
                <a:schemeClr val="bg1"/>
              </a:solidFill>
              <a:latin typeface="+mn-lt"/>
              <a:ea typeface="+mn-ea"/>
              <a:cs typeface="+mn-cs"/>
            </a:endParaRPr>
          </a:p>
        </p:txBody>
      </p:sp>
      <p:sp>
        <p:nvSpPr>
          <p:cNvPr id="15" name="Flowchart: Connector 14">
            <a:hlinkClick r:id="rId21"/>
            <a:extLst>
              <a:ext uri="{FF2B5EF4-FFF2-40B4-BE49-F238E27FC236}">
                <a16:creationId xmlns:a16="http://schemas.microsoft.com/office/drawing/2014/main" id="{54B174DF-3DE7-8A78-E029-C794E18CC29C}"/>
              </a:ext>
            </a:extLst>
          </p:cNvPr>
          <p:cNvSpPr/>
          <p:nvPr/>
        </p:nvSpPr>
        <p:spPr bwMode="auto">
          <a:xfrm>
            <a:off x="3729091" y="2264464"/>
            <a:ext cx="1393332" cy="1393332"/>
          </a:xfrm>
          <a:prstGeom prst="flowChartConnector">
            <a:avLst/>
          </a:prstGeom>
          <a:solidFill>
            <a:schemeClr val="bg1"/>
          </a:solidFill>
          <a:ln w="762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7" name="Rectangle 16">
            <a:hlinkClick r:id="rId21"/>
            <a:extLst>
              <a:ext uri="{FF2B5EF4-FFF2-40B4-BE49-F238E27FC236}">
                <a16:creationId xmlns:a16="http://schemas.microsoft.com/office/drawing/2014/main" id="{21AEB404-63E8-F5B7-947E-76A69859F390}"/>
              </a:ext>
            </a:extLst>
          </p:cNvPr>
          <p:cNvSpPr/>
          <p:nvPr/>
        </p:nvSpPr>
        <p:spPr bwMode="auto">
          <a:xfrm>
            <a:off x="3720088" y="2698698"/>
            <a:ext cx="1396191" cy="524863"/>
          </a:xfrm>
          <a:prstGeom prst="rect">
            <a:avLst/>
          </a:prstGeom>
          <a:noFill/>
          <a:ln w="9525">
            <a:noFill/>
            <a:miter lim="800000"/>
            <a:headEnd/>
            <a:tailEnd/>
          </a:ln>
        </p:spPr>
        <p:txBody>
          <a:bodyPr wrap="square" lIns="72000" tIns="72000" rIns="72000" bIns="72000" rtlCol="0" anchor="ctr"/>
          <a:lstStyle/>
          <a:p>
            <a:pPr algn="ctr" eaLnBrk="0" hangingPunct="0"/>
            <a:r>
              <a:rPr lang="en-US" b="1" dirty="0">
                <a:solidFill>
                  <a:srgbClr val="0A8276"/>
                </a:solidFill>
              </a:rPr>
              <a:t>EiveDRIVER</a:t>
            </a:r>
            <a:r>
              <a:rPr lang="en-US" b="1" baseline="30000" dirty="0">
                <a:solidFill>
                  <a:srgbClr val="0A8276"/>
                </a:solidFill>
              </a:rPr>
              <a:t>TM</a:t>
            </a:r>
          </a:p>
        </p:txBody>
      </p:sp>
      <p:sp>
        <p:nvSpPr>
          <p:cNvPr id="31" name="Rectangle 30">
            <a:extLst>
              <a:ext uri="{FF2B5EF4-FFF2-40B4-BE49-F238E27FC236}">
                <a16:creationId xmlns:a16="http://schemas.microsoft.com/office/drawing/2014/main" id="{EA7ADC54-2630-9038-EBFB-5F7A056C2197}"/>
              </a:ext>
            </a:extLst>
          </p:cNvPr>
          <p:cNvSpPr/>
          <p:nvPr/>
        </p:nvSpPr>
        <p:spPr bwMode="auto">
          <a:xfrm>
            <a:off x="6439088" y="1232756"/>
            <a:ext cx="5198216" cy="5090445"/>
          </a:xfrm>
          <a:prstGeom prst="rect">
            <a:avLst/>
          </a:prstGeom>
          <a:noFill/>
          <a:ln w="381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32" name="Rectangle 31">
            <a:extLst>
              <a:ext uri="{FF2B5EF4-FFF2-40B4-BE49-F238E27FC236}">
                <a16:creationId xmlns:a16="http://schemas.microsoft.com/office/drawing/2014/main" id="{7BCB3609-CCDB-380D-4870-18568D9E718E}"/>
              </a:ext>
            </a:extLst>
          </p:cNvPr>
          <p:cNvSpPr/>
          <p:nvPr/>
        </p:nvSpPr>
        <p:spPr bwMode="auto">
          <a:xfrm>
            <a:off x="6438162" y="1246638"/>
            <a:ext cx="5198216" cy="648072"/>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33" name="TextBox 32">
            <a:extLst>
              <a:ext uri="{FF2B5EF4-FFF2-40B4-BE49-F238E27FC236}">
                <a16:creationId xmlns:a16="http://schemas.microsoft.com/office/drawing/2014/main" id="{9C37E7C7-135E-86AC-F6D7-172BCC26FD7F}"/>
              </a:ext>
            </a:extLst>
          </p:cNvPr>
          <p:cNvSpPr txBox="1"/>
          <p:nvPr/>
        </p:nvSpPr>
        <p:spPr bwMode="auto">
          <a:xfrm>
            <a:off x="6735479" y="1390654"/>
            <a:ext cx="4312121"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dirty="0">
                <a:solidFill>
                  <a:schemeClr val="bg1"/>
                </a:solidFill>
              </a:rPr>
              <a:t>TRENCHSTOP</a:t>
            </a:r>
            <a:r>
              <a:rPr lang="en-US" sz="1800" b="1" baseline="30000" dirty="0">
                <a:solidFill>
                  <a:schemeClr val="bg1"/>
                </a:solidFill>
              </a:rPr>
              <a:t>TM</a:t>
            </a:r>
            <a:r>
              <a:rPr lang="en-US" sz="1800" b="1" dirty="0">
                <a:solidFill>
                  <a:schemeClr val="bg1"/>
                </a:solidFill>
              </a:rPr>
              <a:t> IGBT7 modules</a:t>
            </a:r>
            <a:endParaRPr lang="en-US" sz="1800" b="1" kern="0" baseline="0" dirty="0">
              <a:solidFill>
                <a:schemeClr val="bg1"/>
              </a:solidFill>
              <a:latin typeface="+mn-lt"/>
              <a:ea typeface="+mn-ea"/>
              <a:cs typeface="+mn-cs"/>
            </a:endParaRPr>
          </a:p>
        </p:txBody>
      </p:sp>
      <p:pic>
        <p:nvPicPr>
          <p:cNvPr id="5" name="Picture 4">
            <a:extLst>
              <a:ext uri="{FF2B5EF4-FFF2-40B4-BE49-F238E27FC236}">
                <a16:creationId xmlns:a16="http://schemas.microsoft.com/office/drawing/2014/main" id="{E19DC1EE-78B1-6C15-3193-544D7A1AB5AE}"/>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72950" y="5527982"/>
            <a:ext cx="553041" cy="639849"/>
          </a:xfrm>
          <a:prstGeom prst="rect">
            <a:avLst/>
          </a:prstGeom>
        </p:spPr>
      </p:pic>
      <p:pic>
        <p:nvPicPr>
          <p:cNvPr id="7" name="Picture 6">
            <a:extLst>
              <a:ext uri="{FF2B5EF4-FFF2-40B4-BE49-F238E27FC236}">
                <a16:creationId xmlns:a16="http://schemas.microsoft.com/office/drawing/2014/main" id="{6E4C874A-CFE2-6D8A-7AD0-E49016D40DCE}"/>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293219" y="5491042"/>
            <a:ext cx="679161" cy="758396"/>
          </a:xfrm>
          <a:prstGeom prst="rect">
            <a:avLst/>
          </a:prstGeom>
        </p:spPr>
      </p:pic>
    </p:spTree>
    <p:extLst>
      <p:ext uri="{BB962C8B-B14F-4D97-AF65-F5344CB8AC3E}">
        <p14:creationId xmlns:p14="http://schemas.microsoft.com/office/powerpoint/2010/main" val="9350252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9724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8850CF-6F1F-49EE-9045-F69202B05F35}"/>
              </a:ext>
            </a:extLst>
          </p:cNvPr>
          <p:cNvSpPr/>
          <p:nvPr>
            <p:custDataLst>
              <p:tags r:id="rId1"/>
            </p:custDataLst>
          </p:nvPr>
        </p:nvSpPr>
        <p:spPr bwMode="auto">
          <a:xfrm>
            <a:off x="299289" y="1585366"/>
            <a:ext cx="11593686" cy="4277208"/>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AT" sz="1600" baseline="0" dirty="0">
              <a:solidFill>
                <a:schemeClr val="bg1"/>
              </a:solidFill>
              <a:latin typeface="+mn-lt"/>
              <a:ea typeface="+mn-ea"/>
              <a:cs typeface="+mn-cs"/>
            </a:endParaRPr>
          </a:p>
        </p:txBody>
      </p:sp>
      <p:sp>
        <p:nvSpPr>
          <p:cNvPr id="13" name="Rectangle 12">
            <a:extLst>
              <a:ext uri="{FF2B5EF4-FFF2-40B4-BE49-F238E27FC236}">
                <a16:creationId xmlns:a16="http://schemas.microsoft.com/office/drawing/2014/main" id="{4B580FD8-652C-04A6-B40E-87759071F957}"/>
              </a:ext>
            </a:extLst>
          </p:cNvPr>
          <p:cNvSpPr/>
          <p:nvPr>
            <p:custDataLst>
              <p:tags r:id="rId2"/>
            </p:custDataLst>
          </p:nvPr>
        </p:nvSpPr>
        <p:spPr bwMode="auto">
          <a:xfrm>
            <a:off x="335624" y="1662064"/>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4" name="Rectangle 13">
            <a:extLst>
              <a:ext uri="{FF2B5EF4-FFF2-40B4-BE49-F238E27FC236}">
                <a16:creationId xmlns:a16="http://schemas.microsoft.com/office/drawing/2014/main" id="{9731CA5D-7B2C-F721-DD2F-949D037DFFAE}"/>
              </a:ext>
            </a:extLst>
          </p:cNvPr>
          <p:cNvSpPr/>
          <p:nvPr>
            <p:custDataLst>
              <p:tags r:id="rId3"/>
            </p:custDataLst>
          </p:nvPr>
        </p:nvSpPr>
        <p:spPr bwMode="auto">
          <a:xfrm>
            <a:off x="6096132" y="1662064"/>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5" name="Rectangle 14">
            <a:extLst>
              <a:ext uri="{FF2B5EF4-FFF2-40B4-BE49-F238E27FC236}">
                <a16:creationId xmlns:a16="http://schemas.microsoft.com/office/drawing/2014/main" id="{43BF6B73-7BBE-0D18-2A1C-1C00863ABDB8}"/>
              </a:ext>
            </a:extLst>
          </p:cNvPr>
          <p:cNvSpPr/>
          <p:nvPr>
            <p:custDataLst>
              <p:tags r:id="rId4"/>
            </p:custDataLst>
          </p:nvPr>
        </p:nvSpPr>
        <p:spPr bwMode="auto">
          <a:xfrm>
            <a:off x="335624" y="3748709"/>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6" name="Rectangle 15">
            <a:extLst>
              <a:ext uri="{FF2B5EF4-FFF2-40B4-BE49-F238E27FC236}">
                <a16:creationId xmlns:a16="http://schemas.microsoft.com/office/drawing/2014/main" id="{B9271E3F-8020-9405-55EF-7BBA4EB241AD}"/>
              </a:ext>
            </a:extLst>
          </p:cNvPr>
          <p:cNvSpPr/>
          <p:nvPr>
            <p:custDataLst>
              <p:tags r:id="rId5"/>
            </p:custDataLst>
          </p:nvPr>
        </p:nvSpPr>
        <p:spPr bwMode="auto">
          <a:xfrm>
            <a:off x="6096132" y="3748709"/>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3" name="Title 2">
            <a:extLst>
              <a:ext uri="{FF2B5EF4-FFF2-40B4-BE49-F238E27FC236}">
                <a16:creationId xmlns:a16="http://schemas.microsoft.com/office/drawing/2014/main" id="{E25D2833-99CD-45B8-B663-C6686C08193E}"/>
              </a:ext>
            </a:extLst>
          </p:cNvPr>
          <p:cNvSpPr>
            <a:spLocks noGrp="1"/>
          </p:cNvSpPr>
          <p:nvPr>
            <p:ph type="title"/>
          </p:nvPr>
        </p:nvSpPr>
        <p:spPr>
          <a:xfrm>
            <a:off x="335360" y="188720"/>
            <a:ext cx="9613068" cy="720000"/>
          </a:xfrm>
          <a:noFill/>
          <a:ln/>
          <a:extLst>
            <a:ext uri="{909E8E84-426E-40DD-AFC4-6F175D3DCCD1}">
              <a14:hiddenFill xmlns:a14="http://schemas.microsoft.com/office/drawing/2010/main">
                <a:solidFill>
                  <a:srgbClr val="FFFFFF">
                    <a:alpha val="0"/>
                  </a:srgbClr>
                </a:solidFill>
              </a14:hiddenFill>
            </a:ext>
          </a:extLst>
        </p:spPr>
        <p:txBody>
          <a:bodyPr lIns="0" tIns="0" rIns="0" bIns="10800" anchor="b">
            <a:noAutofit/>
          </a:bodyPr>
          <a:lstStyle/>
          <a:p>
            <a:r>
              <a:rPr lang="en-US" dirty="0">
                <a:solidFill>
                  <a:srgbClr val="0A8276"/>
                </a:solidFill>
                <a:latin typeface="Arial" panose="020B0604020202020204" pitchFamily="34" charset="0"/>
              </a:rPr>
              <a:t>Product vision</a:t>
            </a:r>
          </a:p>
        </p:txBody>
      </p:sp>
      <p:sp>
        <p:nvSpPr>
          <p:cNvPr id="8" name="TextBox">
            <a:extLst>
              <a:ext uri="{FF2B5EF4-FFF2-40B4-BE49-F238E27FC236}">
                <a16:creationId xmlns:a16="http://schemas.microsoft.com/office/drawing/2014/main" id="{2514AB4A-BAD8-8B39-BBA6-FC8DEDE8F18D}"/>
              </a:ext>
            </a:extLst>
          </p:cNvPr>
          <p:cNvSpPr txBox="1"/>
          <p:nvPr>
            <p:custDataLst>
              <p:tags r:id="rId6"/>
            </p:custDataLst>
          </p:nvPr>
        </p:nvSpPr>
        <p:spPr bwMode="auto">
          <a:xfrm>
            <a:off x="1375254" y="1948121"/>
            <a:ext cx="4824307" cy="1408871"/>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defTabSz="575986">
              <a:buClr>
                <a:srgbClr val="0A8276"/>
              </a:buClr>
              <a:buNone/>
              <a:defRPr/>
            </a:pPr>
            <a:r>
              <a:rPr lang="en-US" b="1" dirty="0"/>
              <a:t>3 voltage classes 650 V, 750 V &amp; 1200 V</a:t>
            </a:r>
          </a:p>
          <a:p>
            <a:pPr marL="0" indent="0" defTabSz="575986">
              <a:buClr>
                <a:srgbClr val="0A8276"/>
              </a:buClr>
              <a:buNone/>
              <a:defRPr/>
            </a:pPr>
            <a:r>
              <a:rPr lang="en-US" b="1" dirty="0"/>
              <a:t>3 flavors T7, H7 &amp; S7</a:t>
            </a:r>
          </a:p>
          <a:p>
            <a:pPr marL="0" indent="0" defTabSz="575986">
              <a:buClr>
                <a:srgbClr val="0A8276"/>
              </a:buClr>
              <a:buNone/>
              <a:defRPr/>
            </a:pPr>
            <a:r>
              <a:rPr lang="en-US" b="1" dirty="0"/>
              <a:t>7 packages </a:t>
            </a:r>
          </a:p>
          <a:p>
            <a:pPr marL="0" indent="0" defTabSz="575986">
              <a:buClr>
                <a:srgbClr val="0A8276"/>
              </a:buClr>
              <a:buNone/>
              <a:defRPr/>
            </a:pPr>
            <a:r>
              <a:rPr lang="en-US" b="1" dirty="0"/>
              <a:t>61 products</a:t>
            </a:r>
            <a:r>
              <a:rPr lang="en-US" sz="2000" b="1" dirty="0"/>
              <a:t>			</a:t>
            </a:r>
          </a:p>
        </p:txBody>
      </p:sp>
      <p:sp>
        <p:nvSpPr>
          <p:cNvPr id="10" name="TextBox">
            <a:extLst>
              <a:ext uri="{FF2B5EF4-FFF2-40B4-BE49-F238E27FC236}">
                <a16:creationId xmlns:a16="http://schemas.microsoft.com/office/drawing/2014/main" id="{1CF65D83-C1C5-78E5-BFF7-1953F6400A4A}"/>
              </a:ext>
            </a:extLst>
          </p:cNvPr>
          <p:cNvSpPr txBox="1"/>
          <p:nvPr>
            <p:custDataLst>
              <p:tags r:id="rId7"/>
            </p:custDataLst>
          </p:nvPr>
        </p:nvSpPr>
        <p:spPr bwMode="auto">
          <a:xfrm>
            <a:off x="7292904" y="1948121"/>
            <a:ext cx="3908852" cy="1160109"/>
          </a:xfrm>
          <a:prstGeom prst="rect">
            <a:avLst/>
          </a:prstGeom>
        </p:spPr>
        <p:txBody>
          <a:bodyPr vert="horz" lIns="72000" tIns="72000" rIns="72000" bIns="72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defTabSz="575986">
              <a:buClr>
                <a:srgbClr val="0A8276"/>
              </a:buClr>
              <a:buNone/>
              <a:defRPr/>
            </a:pPr>
            <a:r>
              <a:rPr lang="en-US" b="1" dirty="0"/>
              <a:t>Benchmark performance </a:t>
            </a:r>
          </a:p>
          <a:p>
            <a:pPr marL="0" indent="0" defTabSz="575986">
              <a:buClr>
                <a:srgbClr val="0A8276"/>
              </a:buClr>
              <a:buNone/>
              <a:defRPr/>
            </a:pPr>
            <a:r>
              <a:rPr lang="en-US" b="1" dirty="0"/>
              <a:t>with state-of-the-art quality and best price/performance ratio</a:t>
            </a:r>
          </a:p>
        </p:txBody>
      </p:sp>
      <p:pic>
        <p:nvPicPr>
          <p:cNvPr id="31" name="Picture 2" descr="See the source image">
            <a:extLst>
              <a:ext uri="{FF2B5EF4-FFF2-40B4-BE49-F238E27FC236}">
                <a16:creationId xmlns:a16="http://schemas.microsoft.com/office/drawing/2014/main" id="{289EF407-7990-483B-991D-C5103F123EB1}"/>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45884" y="4384874"/>
            <a:ext cx="2333054" cy="1554398"/>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792CCA14-D81C-4FBC-9DD1-F714DB8EA041}"/>
              </a:ext>
            </a:extLst>
          </p:cNvPr>
          <p:cNvSpPr txBox="1"/>
          <p:nvPr>
            <p:custDataLst>
              <p:tags r:id="rId8"/>
            </p:custDataLst>
          </p:nvPr>
        </p:nvSpPr>
        <p:spPr bwMode="auto">
          <a:xfrm>
            <a:off x="8330864" y="4722642"/>
            <a:ext cx="2448272" cy="792088"/>
          </a:xfrm>
          <a:prstGeom prst="rect">
            <a:avLst/>
          </a:prstGeom>
          <a:noFill/>
          <a:ln w="9525">
            <a:noFill/>
            <a:miter lim="800000"/>
            <a:headEnd/>
            <a:tailEnd/>
          </a:ln>
          <a:effectLst/>
        </p:spPr>
        <p:txBody>
          <a:bodyPr wrap="square" lIns="0" tIns="0" rIns="0" bIns="0" rtlCol="0" anchor="ctr" anchorCtr="0">
            <a:noAutofit/>
          </a:bodyPr>
          <a:lstStyle/>
          <a:p>
            <a:pPr defTabSz="575986">
              <a:spcBef>
                <a:spcPts val="300"/>
              </a:spcBef>
              <a:spcAft>
                <a:spcPts val="0"/>
              </a:spcAft>
              <a:buClr>
                <a:srgbClr val="0A8276"/>
              </a:buClr>
              <a:buSzPct val="100000"/>
              <a:defRPr/>
            </a:pPr>
            <a:r>
              <a:rPr lang="en-US" sz="1800" dirty="0">
                <a:latin typeface="Arial"/>
                <a:cs typeface="Arial"/>
              </a:rPr>
              <a:t>IGBTs Produced in a newest fully-automated 300mm chip factory</a:t>
            </a:r>
          </a:p>
        </p:txBody>
      </p:sp>
      <p:pic>
        <p:nvPicPr>
          <p:cNvPr id="36" name="Picture 35">
            <a:extLst>
              <a:ext uri="{FF2B5EF4-FFF2-40B4-BE49-F238E27FC236}">
                <a16:creationId xmlns:a16="http://schemas.microsoft.com/office/drawing/2014/main" id="{4967E287-1151-4E75-A804-E86ADDCF43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08168" y="2987766"/>
            <a:ext cx="627329" cy="659663"/>
          </a:xfrm>
          <a:prstGeom prst="rect">
            <a:avLst/>
          </a:prstGeom>
        </p:spPr>
      </p:pic>
      <p:sp>
        <p:nvSpPr>
          <p:cNvPr id="38" name="TextBox">
            <a:extLst>
              <a:ext uri="{FF2B5EF4-FFF2-40B4-BE49-F238E27FC236}">
                <a16:creationId xmlns:a16="http://schemas.microsoft.com/office/drawing/2014/main" id="{8B228DC1-759A-443D-BE7D-545F4BA80144}"/>
              </a:ext>
            </a:extLst>
          </p:cNvPr>
          <p:cNvSpPr txBox="1"/>
          <p:nvPr>
            <p:custDataLst>
              <p:tags r:id="rId9"/>
            </p:custDataLst>
          </p:nvPr>
        </p:nvSpPr>
        <p:spPr bwMode="auto">
          <a:xfrm>
            <a:off x="7292904" y="4035553"/>
            <a:ext cx="3908852" cy="421200"/>
          </a:xfrm>
          <a:prstGeom prst="rect">
            <a:avLst/>
          </a:prstGeom>
        </p:spPr>
        <p:txBody>
          <a:bodyPr vert="horz" lIns="72000" tIns="72000" rIns="72000" bIns="72000" rtlCol="0" anchor="ctr">
            <a:noAutofit/>
          </a:bodyPr>
          <a:lstStyle>
            <a:defPPr>
              <a:defRPr lang="en-US"/>
            </a:defPPr>
            <a:lvl1pPr marL="0" marR="0" lvl="0" indent="0" defTabSz="576000" eaLnBrk="1" latinLnBrk="0" hangingPunct="1">
              <a:lnSpc>
                <a:spcPct val="120000"/>
              </a:lnSpc>
              <a:spcBef>
                <a:spcPts val="0"/>
              </a:spcBef>
              <a:spcAft>
                <a:spcPts val="0"/>
              </a:spcAft>
              <a:buClr>
                <a:srgbClr val="0A8276"/>
              </a:buClr>
              <a:buSzPct val="100000"/>
              <a:buFont typeface="Symbol" panose="05050102010706020507" pitchFamily="18" charset="2"/>
              <a:buNone/>
              <a:tabLst/>
              <a:defRPr kumimoji="0" sz="1800" b="1" i="0" u="none" strike="noStrike" cap="none" spc="0" normalizeH="0" baseline="0">
                <a:ln>
                  <a:noFill/>
                </a:ln>
                <a:solidFill>
                  <a:schemeClr val="accent1"/>
                </a:solidFill>
                <a:effectLst/>
                <a:uLnTx/>
                <a:uFillTx/>
                <a:latin typeface="Arial"/>
                <a:cs typeface="Arial"/>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defTabSz="575986">
              <a:defRPr/>
            </a:pPr>
            <a:r>
              <a:rPr lang="en-US" dirty="0">
                <a:solidFill>
                  <a:schemeClr val="tx1"/>
                </a:solidFill>
              </a:rPr>
              <a:t>Manufacturing footprint</a:t>
            </a:r>
          </a:p>
        </p:txBody>
      </p:sp>
      <p:pic>
        <p:nvPicPr>
          <p:cNvPr id="35" name="Picture 34">
            <a:extLst>
              <a:ext uri="{FF2B5EF4-FFF2-40B4-BE49-F238E27FC236}">
                <a16:creationId xmlns:a16="http://schemas.microsoft.com/office/drawing/2014/main" id="{D66F9D0A-2B22-4419-AAC8-5AE0E56BDAE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029332" y="2845927"/>
            <a:ext cx="679175" cy="679175"/>
          </a:xfrm>
          <a:prstGeom prst="rect">
            <a:avLst/>
          </a:prstGeom>
        </p:spPr>
      </p:pic>
      <p:sp>
        <p:nvSpPr>
          <p:cNvPr id="43" name="TextBox">
            <a:extLst>
              <a:ext uri="{FF2B5EF4-FFF2-40B4-BE49-F238E27FC236}">
                <a16:creationId xmlns:a16="http://schemas.microsoft.com/office/drawing/2014/main" id="{D50F9598-3FC2-4225-9873-D3BCE54A202B}"/>
              </a:ext>
            </a:extLst>
          </p:cNvPr>
          <p:cNvSpPr txBox="1"/>
          <p:nvPr>
            <p:custDataLst>
              <p:tags r:id="rId10"/>
            </p:custDataLst>
          </p:nvPr>
        </p:nvSpPr>
        <p:spPr bwMode="auto">
          <a:xfrm>
            <a:off x="1327944" y="4005064"/>
            <a:ext cx="3291290" cy="1290297"/>
          </a:xfrm>
          <a:prstGeom prst="rect">
            <a:avLst/>
          </a:prstGeom>
        </p:spPr>
        <p:txBody>
          <a:bodyPr vert="horz" lIns="54000" tIns="54000" rIns="54000" bIns="54000" rtlCol="0" anchor="ctr">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lvl="0" indent="0" defTabSz="575986">
              <a:buClr>
                <a:srgbClr val="0A8276"/>
              </a:buClr>
              <a:buNone/>
              <a:defRPr/>
            </a:pPr>
            <a:r>
              <a:rPr lang="en-US" b="1" dirty="0">
                <a:latin typeface="Arial"/>
                <a:cs typeface="Arial"/>
              </a:rPr>
              <a:t>Flexible family </a:t>
            </a:r>
          </a:p>
          <a:p>
            <a:pPr marL="0" lvl="0" indent="0" defTabSz="575986">
              <a:buClr>
                <a:srgbClr val="0A8276"/>
              </a:buClr>
              <a:buNone/>
              <a:defRPr/>
            </a:pPr>
            <a:r>
              <a:rPr lang="en-US" b="1" dirty="0"/>
              <a:t>to replace almost all predecessor technologies</a:t>
            </a:r>
            <a:endParaRPr lang="en-US" b="1" dirty="0">
              <a:latin typeface="Arial"/>
              <a:cs typeface="Arial"/>
            </a:endParaRPr>
          </a:p>
        </p:txBody>
      </p:sp>
      <p:pic>
        <p:nvPicPr>
          <p:cNvPr id="6" name="Picture 5">
            <a:extLst>
              <a:ext uri="{FF2B5EF4-FFF2-40B4-BE49-F238E27FC236}">
                <a16:creationId xmlns:a16="http://schemas.microsoft.com/office/drawing/2014/main" id="{749FCAAD-3B86-40C7-9048-13498124DFC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04082" y="5118686"/>
            <a:ext cx="568981" cy="568981"/>
          </a:xfrm>
          <a:prstGeom prst="rect">
            <a:avLst/>
          </a:prstGeom>
        </p:spPr>
      </p:pic>
      <p:pic>
        <p:nvPicPr>
          <p:cNvPr id="9" name="Picture 8">
            <a:extLst>
              <a:ext uri="{FF2B5EF4-FFF2-40B4-BE49-F238E27FC236}">
                <a16:creationId xmlns:a16="http://schemas.microsoft.com/office/drawing/2014/main" id="{E1B92E84-C890-4D10-BD39-4B178C31234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886672" y="4914929"/>
            <a:ext cx="858361" cy="858361"/>
          </a:xfrm>
          <a:prstGeom prst="rect">
            <a:avLst/>
          </a:prstGeom>
        </p:spPr>
      </p:pic>
      <p:grpSp>
        <p:nvGrpSpPr>
          <p:cNvPr id="5" name="Group 4">
            <a:extLst>
              <a:ext uri="{FF2B5EF4-FFF2-40B4-BE49-F238E27FC236}">
                <a16:creationId xmlns:a16="http://schemas.microsoft.com/office/drawing/2014/main" id="{A047C2DA-565C-A995-F0BE-D1B8573126B6}"/>
              </a:ext>
            </a:extLst>
          </p:cNvPr>
          <p:cNvGrpSpPr/>
          <p:nvPr/>
        </p:nvGrpSpPr>
        <p:grpSpPr>
          <a:xfrm>
            <a:off x="4971263" y="2628221"/>
            <a:ext cx="2240977" cy="2240977"/>
            <a:chOff x="4974455" y="2704594"/>
            <a:chExt cx="2240977" cy="2240977"/>
          </a:xfrm>
        </p:grpSpPr>
        <p:sp>
          <p:nvSpPr>
            <p:cNvPr id="4" name="Flowchart: Connector 3">
              <a:extLst>
                <a:ext uri="{FF2B5EF4-FFF2-40B4-BE49-F238E27FC236}">
                  <a16:creationId xmlns:a16="http://schemas.microsoft.com/office/drawing/2014/main" id="{BC589BE3-1260-57E8-35BB-D9CCDFBF7024}"/>
                </a:ext>
              </a:extLst>
            </p:cNvPr>
            <p:cNvSpPr/>
            <p:nvPr/>
          </p:nvSpPr>
          <p:spPr bwMode="auto">
            <a:xfrm>
              <a:off x="5055119" y="2780966"/>
              <a:ext cx="2088232" cy="2088232"/>
            </a:xfrm>
            <a:prstGeom prst="flowChartConnector">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30" name="Picture 29">
              <a:extLst>
                <a:ext uri="{FF2B5EF4-FFF2-40B4-BE49-F238E27FC236}">
                  <a16:creationId xmlns:a16="http://schemas.microsoft.com/office/drawing/2014/main" id="{600DB452-2A1C-4EE7-BF37-E9DA86017E9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974455" y="2704594"/>
              <a:ext cx="2240977" cy="2240977"/>
            </a:xfrm>
            <a:prstGeom prst="rect">
              <a:avLst/>
            </a:prstGeom>
          </p:spPr>
        </p:pic>
      </p:grpSp>
    </p:spTree>
    <p:extLst>
      <p:ext uri="{BB962C8B-B14F-4D97-AF65-F5344CB8AC3E}">
        <p14:creationId xmlns:p14="http://schemas.microsoft.com/office/powerpoint/2010/main" val="1823309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AFCAA4D-A351-4D13-843E-FAB30CD8B1AC}"/>
              </a:ext>
            </a:extLst>
          </p:cNvPr>
          <p:cNvPicPr>
            <a:picLocks noChangeAspect="1"/>
          </p:cNvPicPr>
          <p:nvPr/>
        </p:nvPicPr>
        <p:blipFill rotWithShape="1">
          <a:blip r:embed="rId25">
            <a:extLst>
              <a:ext uri="{28A0092B-C50C-407E-A947-70E740481C1C}">
                <a14:useLocalDpi xmlns:a14="http://schemas.microsoft.com/office/drawing/2010/main" val="0"/>
              </a:ext>
            </a:extLst>
          </a:blip>
          <a:srcRect b="11310"/>
          <a:stretch/>
        </p:blipFill>
        <p:spPr>
          <a:xfrm>
            <a:off x="0" y="0"/>
            <a:ext cx="12192000" cy="6237288"/>
          </a:xfrm>
          <a:prstGeom prst="rect">
            <a:avLst/>
          </a:prstGeom>
        </p:spPr>
      </p:pic>
      <p:pic>
        <p:nvPicPr>
          <p:cNvPr id="8" name="Picture Placeholder 5">
            <a:extLst>
              <a:ext uri="{FF2B5EF4-FFF2-40B4-BE49-F238E27FC236}">
                <a16:creationId xmlns:a16="http://schemas.microsoft.com/office/drawing/2014/main" id="{EDC671EB-1BB8-4E84-8849-5E90B55BC51F}"/>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276536" y="836712"/>
            <a:ext cx="3587216" cy="2304256"/>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pic>
        <p:nvPicPr>
          <p:cNvPr id="9" name="Picture Placeholder 5">
            <a:extLst>
              <a:ext uri="{FF2B5EF4-FFF2-40B4-BE49-F238E27FC236}">
                <a16:creationId xmlns:a16="http://schemas.microsoft.com/office/drawing/2014/main" id="{79AFAD06-04C5-4420-89A2-969A6F7F8B13}"/>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2097052" y="2365126"/>
            <a:ext cx="2024608" cy="1520552"/>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sp>
        <p:nvSpPr>
          <p:cNvPr id="10" name="Rectangle 9">
            <a:extLst>
              <a:ext uri="{FF2B5EF4-FFF2-40B4-BE49-F238E27FC236}">
                <a16:creationId xmlns:a16="http://schemas.microsoft.com/office/drawing/2014/main" id="{943D15C6-02ED-49D6-B981-207C8C31827E}"/>
              </a:ext>
            </a:extLst>
          </p:cNvPr>
          <p:cNvSpPr/>
          <p:nvPr>
            <p:custDataLst>
              <p:tags r:id="rId1"/>
            </p:custDataLst>
          </p:nvPr>
        </p:nvSpPr>
        <p:spPr bwMode="auto">
          <a:xfrm>
            <a:off x="-2400" y="6241132"/>
            <a:ext cx="4113318" cy="644252"/>
          </a:xfrm>
          <a:prstGeom prst="rect">
            <a:avLst/>
          </a:prstGeom>
          <a:solidFill>
            <a:schemeClr val="accent4"/>
          </a:solidFill>
          <a:ln w="9525">
            <a:noFill/>
            <a:miter lim="800000"/>
            <a:headEnd/>
            <a:tailEnd/>
          </a:ln>
        </p:spPr>
        <p:txBody>
          <a:bodyPr wrap="square" lIns="72000" tIns="72000" rIns="72000" bIns="72000" rtlCol="0" anchor="ctr"/>
          <a:lstStyle/>
          <a:p>
            <a:pPr algn="ctr" defTabSz="576000" eaLnBrk="0" hangingPunct="0">
              <a:lnSpc>
                <a:spcPct val="120000"/>
              </a:lnSpc>
            </a:pPr>
            <a:r>
              <a:rPr lang="en-US" sz="1800" b="1" baseline="0">
                <a:latin typeface="+mn-lt"/>
                <a:ea typeface="+mn-ea"/>
                <a:cs typeface="+mn-cs"/>
              </a:rPr>
              <a:t>Generation</a:t>
            </a:r>
            <a:endParaRPr lang="en-US" sz="1800" b="1" baseline="0" dirty="0">
              <a:latin typeface="+mn-lt"/>
              <a:ea typeface="+mn-ea"/>
              <a:cs typeface="+mn-cs"/>
            </a:endParaRPr>
          </a:p>
        </p:txBody>
      </p:sp>
      <p:sp>
        <p:nvSpPr>
          <p:cNvPr id="11" name="Rectangle 10">
            <a:extLst>
              <a:ext uri="{FF2B5EF4-FFF2-40B4-BE49-F238E27FC236}">
                <a16:creationId xmlns:a16="http://schemas.microsoft.com/office/drawing/2014/main" id="{4B6D2E91-39EE-4456-9CC1-839536A345F3}"/>
              </a:ext>
            </a:extLst>
          </p:cNvPr>
          <p:cNvSpPr/>
          <p:nvPr>
            <p:custDataLst>
              <p:tags r:id="rId2"/>
            </p:custDataLst>
          </p:nvPr>
        </p:nvSpPr>
        <p:spPr bwMode="auto">
          <a:xfrm>
            <a:off x="4110918" y="6241132"/>
            <a:ext cx="4045912" cy="644252"/>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r>
              <a:rPr lang="en-US" sz="1800" b="1" baseline="0">
                <a:solidFill>
                  <a:schemeClr val="bg1"/>
                </a:solidFill>
                <a:latin typeface="+mn-lt"/>
                <a:ea typeface="+mn-ea"/>
                <a:cs typeface="+mn-cs"/>
              </a:rPr>
              <a:t>Storage and transmission</a:t>
            </a:r>
            <a:endParaRPr lang="en-US" sz="1800" b="1" baseline="0" dirty="0">
              <a:solidFill>
                <a:schemeClr val="bg1"/>
              </a:solidFill>
              <a:latin typeface="+mn-lt"/>
              <a:ea typeface="+mn-ea"/>
              <a:cs typeface="+mn-cs"/>
            </a:endParaRPr>
          </a:p>
        </p:txBody>
      </p:sp>
      <p:sp>
        <p:nvSpPr>
          <p:cNvPr id="12" name="Rectangle 11">
            <a:extLst>
              <a:ext uri="{FF2B5EF4-FFF2-40B4-BE49-F238E27FC236}">
                <a16:creationId xmlns:a16="http://schemas.microsoft.com/office/drawing/2014/main" id="{8E60716D-6346-4956-B220-5AD47291CCFC}"/>
              </a:ext>
            </a:extLst>
          </p:cNvPr>
          <p:cNvSpPr/>
          <p:nvPr>
            <p:custDataLst>
              <p:tags r:id="rId3"/>
            </p:custDataLst>
          </p:nvPr>
        </p:nvSpPr>
        <p:spPr bwMode="auto">
          <a:xfrm>
            <a:off x="8156829" y="6233489"/>
            <a:ext cx="4045911" cy="651895"/>
          </a:xfrm>
          <a:prstGeom prst="rect">
            <a:avLst/>
          </a:prstGeom>
          <a:solidFill>
            <a:schemeClr val="accent1">
              <a:lumMod val="75000"/>
            </a:schemeClr>
          </a:solidFill>
          <a:ln w="9525">
            <a:noFill/>
            <a:miter lim="800000"/>
            <a:headEnd/>
            <a:tailEnd/>
          </a:ln>
        </p:spPr>
        <p:txBody>
          <a:bodyPr wrap="square" lIns="72000" tIns="72000" rIns="72000" bIns="72000" rtlCol="0" anchor="ctr"/>
          <a:lstStyle/>
          <a:p>
            <a:pPr algn="ctr" defTabSz="576000" eaLnBrk="0" hangingPunct="0">
              <a:lnSpc>
                <a:spcPct val="120000"/>
              </a:lnSpc>
            </a:pPr>
            <a:r>
              <a:rPr lang="en-US" sz="1800" b="1" baseline="0">
                <a:solidFill>
                  <a:schemeClr val="bg1"/>
                </a:solidFill>
                <a:latin typeface="+mn-lt"/>
                <a:ea typeface="+mn-ea"/>
                <a:cs typeface="+mn-cs"/>
              </a:rPr>
              <a:t>Consumption</a:t>
            </a:r>
            <a:endParaRPr lang="en-US" sz="1800" b="1" baseline="0" dirty="0">
              <a:solidFill>
                <a:schemeClr val="bg1"/>
              </a:solidFill>
              <a:latin typeface="+mn-lt"/>
              <a:ea typeface="+mn-ea"/>
              <a:cs typeface="+mn-cs"/>
            </a:endParaRPr>
          </a:p>
        </p:txBody>
      </p:sp>
      <p:pic>
        <p:nvPicPr>
          <p:cNvPr id="13" name="Picture Placeholder 5">
            <a:extLst>
              <a:ext uri="{FF2B5EF4-FFF2-40B4-BE49-F238E27FC236}">
                <a16:creationId xmlns:a16="http://schemas.microsoft.com/office/drawing/2014/main" id="{FCF7A63D-FD1B-4CD5-B262-C1EFE23091A8}"/>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5603778" y="1556792"/>
            <a:ext cx="2714946" cy="2137074"/>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pic>
        <p:nvPicPr>
          <p:cNvPr id="17" name="Picture 16">
            <a:extLst>
              <a:ext uri="{FF2B5EF4-FFF2-40B4-BE49-F238E27FC236}">
                <a16:creationId xmlns:a16="http://schemas.microsoft.com/office/drawing/2014/main" id="{F9B09D91-3DFF-4B88-B576-455E82BFC38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198549" y="793377"/>
            <a:ext cx="2240977" cy="2240977"/>
          </a:xfrm>
          <a:prstGeom prst="rect">
            <a:avLst/>
          </a:prstGeom>
        </p:spPr>
      </p:pic>
      <p:sp>
        <p:nvSpPr>
          <p:cNvPr id="18" name="12 Legend">
            <a:extLst>
              <a:ext uri="{FF2B5EF4-FFF2-40B4-BE49-F238E27FC236}">
                <a16:creationId xmlns:a16="http://schemas.microsoft.com/office/drawing/2014/main" id="{0C55A0AC-821E-4FBA-84DA-AB7DD1956328}"/>
              </a:ext>
            </a:extLst>
          </p:cNvPr>
          <p:cNvSpPr/>
          <p:nvPr>
            <p:custDataLst>
              <p:tags r:id="rId4"/>
            </p:custDataLst>
          </p:nvPr>
        </p:nvSpPr>
        <p:spPr bwMode="auto">
          <a:xfrm flipH="1">
            <a:off x="536018" y="3098928"/>
            <a:ext cx="519422" cy="330072"/>
          </a:xfrm>
          <a:prstGeom prst="accentBorderCallout1">
            <a:avLst>
              <a:gd name="adj1" fmla="val 17571"/>
              <a:gd name="adj2" fmla="val -4814"/>
              <a:gd name="adj3" fmla="val 157353"/>
              <a:gd name="adj4" fmla="val -55099"/>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72000" bIns="72000" anchor="ctr">
            <a:spAutoFit/>
          </a:bodyPr>
          <a:lstStyle/>
          <a:p>
            <a:pPr defTabSz="576000" eaLnBrk="0" fontAlgn="auto" hangingPunct="0">
              <a:spcBef>
                <a:spcPts val="0"/>
              </a:spcBef>
              <a:spcAft>
                <a:spcPts val="0"/>
              </a:spcAft>
              <a:buClr>
                <a:schemeClr val="accent1"/>
              </a:buClr>
            </a:pPr>
            <a:r>
              <a:rPr lang="en-US" sz="1200" kern="0" dirty="0">
                <a:solidFill>
                  <a:schemeClr val="lt1"/>
                </a:solidFill>
              </a:rPr>
              <a:t>Solar</a:t>
            </a:r>
          </a:p>
        </p:txBody>
      </p:sp>
      <p:pic>
        <p:nvPicPr>
          <p:cNvPr id="21" name="Picture Placeholder 5">
            <a:extLst>
              <a:ext uri="{FF2B5EF4-FFF2-40B4-BE49-F238E27FC236}">
                <a16:creationId xmlns:a16="http://schemas.microsoft.com/office/drawing/2014/main" id="{9B7DF727-A34C-4AF9-9081-158D58C9CC21}"/>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4110918" y="3223658"/>
            <a:ext cx="2714946" cy="459776"/>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sp>
        <p:nvSpPr>
          <p:cNvPr id="23" name="12 Legend">
            <a:extLst>
              <a:ext uri="{FF2B5EF4-FFF2-40B4-BE49-F238E27FC236}">
                <a16:creationId xmlns:a16="http://schemas.microsoft.com/office/drawing/2014/main" id="{EE0BBE63-C985-48E9-8FDE-15EE1BF48339}"/>
              </a:ext>
            </a:extLst>
          </p:cNvPr>
          <p:cNvSpPr/>
          <p:nvPr>
            <p:custDataLst>
              <p:tags r:id="rId5"/>
            </p:custDataLst>
          </p:nvPr>
        </p:nvSpPr>
        <p:spPr bwMode="auto">
          <a:xfrm flipH="1">
            <a:off x="7413746" y="685620"/>
            <a:ext cx="519422" cy="330072"/>
          </a:xfrm>
          <a:prstGeom prst="accentBorderCallout1">
            <a:avLst>
              <a:gd name="adj1" fmla="val 17571"/>
              <a:gd name="adj2" fmla="val -4814"/>
              <a:gd name="adj3" fmla="val 128682"/>
              <a:gd name="adj4" fmla="val -122747"/>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72000" bIns="72000" anchor="ctr">
            <a:spAutoFit/>
          </a:bodyPr>
          <a:lstStyle/>
          <a:p>
            <a:pPr defTabSz="576000" eaLnBrk="0" fontAlgn="auto" hangingPunct="0">
              <a:spcBef>
                <a:spcPts val="0"/>
              </a:spcBef>
              <a:spcAft>
                <a:spcPts val="0"/>
              </a:spcAft>
              <a:buClr>
                <a:schemeClr val="accent1"/>
              </a:buClr>
            </a:pPr>
            <a:r>
              <a:rPr lang="en-US" sz="1200" kern="0" dirty="0">
                <a:solidFill>
                  <a:schemeClr val="lt1"/>
                </a:solidFill>
              </a:rPr>
              <a:t>UPS</a:t>
            </a:r>
          </a:p>
        </p:txBody>
      </p:sp>
      <p:sp>
        <p:nvSpPr>
          <p:cNvPr id="24" name="12 Legend">
            <a:extLst>
              <a:ext uri="{FF2B5EF4-FFF2-40B4-BE49-F238E27FC236}">
                <a16:creationId xmlns:a16="http://schemas.microsoft.com/office/drawing/2014/main" id="{E628D784-30FD-447E-9C5F-C12C4750D598}"/>
              </a:ext>
            </a:extLst>
          </p:cNvPr>
          <p:cNvSpPr/>
          <p:nvPr>
            <p:custDataLst>
              <p:tags r:id="rId6"/>
            </p:custDataLst>
          </p:nvPr>
        </p:nvSpPr>
        <p:spPr bwMode="auto">
          <a:xfrm>
            <a:off x="5009586" y="3370940"/>
            <a:ext cx="1286153" cy="514738"/>
          </a:xfrm>
          <a:prstGeom prst="accentBorderCallout1">
            <a:avLst>
              <a:gd name="adj1" fmla="val 1812"/>
              <a:gd name="adj2" fmla="val -4814"/>
              <a:gd name="adj3" fmla="val -50478"/>
              <a:gd name="adj4" fmla="val -38118"/>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72000" bIns="72000" anchor="ctr">
            <a:spAutoFit/>
          </a:bodyPr>
          <a:lstStyle/>
          <a:p>
            <a:pPr defTabSz="576000" eaLnBrk="0" fontAlgn="auto" hangingPunct="0">
              <a:spcBef>
                <a:spcPts val="0"/>
              </a:spcBef>
              <a:spcAft>
                <a:spcPts val="0"/>
              </a:spcAft>
              <a:buClr>
                <a:schemeClr val="accent1"/>
              </a:buClr>
            </a:pPr>
            <a:r>
              <a:rPr lang="en-US" sz="1200" kern="0" dirty="0">
                <a:solidFill>
                  <a:schemeClr val="lt1"/>
                </a:solidFill>
              </a:rPr>
              <a:t>Energy storage systems</a:t>
            </a:r>
          </a:p>
        </p:txBody>
      </p:sp>
      <p:sp>
        <p:nvSpPr>
          <p:cNvPr id="26" name="12 Legend">
            <a:extLst>
              <a:ext uri="{FF2B5EF4-FFF2-40B4-BE49-F238E27FC236}">
                <a16:creationId xmlns:a16="http://schemas.microsoft.com/office/drawing/2014/main" id="{0FB4100E-88FB-4922-990C-AB08ED19AA91}"/>
              </a:ext>
            </a:extLst>
          </p:cNvPr>
          <p:cNvSpPr/>
          <p:nvPr>
            <p:custDataLst>
              <p:tags r:id="rId7"/>
            </p:custDataLst>
          </p:nvPr>
        </p:nvSpPr>
        <p:spPr bwMode="auto">
          <a:xfrm flipH="1">
            <a:off x="2020475" y="4764058"/>
            <a:ext cx="750300" cy="330072"/>
          </a:xfrm>
          <a:prstGeom prst="accentBorderCallout1">
            <a:avLst>
              <a:gd name="adj1" fmla="val 17571"/>
              <a:gd name="adj2" fmla="val -4814"/>
              <a:gd name="adj3" fmla="val 124784"/>
              <a:gd name="adj4" fmla="val -35148"/>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36000" bIns="72000" anchor="ctr">
            <a:spAutoFit/>
          </a:bodyPr>
          <a:lstStyle/>
          <a:p>
            <a:pPr defTabSz="576000" eaLnBrk="0" fontAlgn="auto" hangingPunct="0">
              <a:spcBef>
                <a:spcPts val="0"/>
              </a:spcBef>
              <a:spcAft>
                <a:spcPts val="0"/>
              </a:spcAft>
              <a:buClr>
                <a:schemeClr val="accent1"/>
              </a:buClr>
            </a:pPr>
            <a:r>
              <a:rPr lang="en-US" sz="1200" kern="0" dirty="0">
                <a:solidFill>
                  <a:schemeClr val="lt1"/>
                </a:solidFill>
              </a:rPr>
              <a:t>Fuel cell</a:t>
            </a:r>
          </a:p>
        </p:txBody>
      </p:sp>
      <p:sp>
        <p:nvSpPr>
          <p:cNvPr id="27" name="12 Legend">
            <a:extLst>
              <a:ext uri="{FF2B5EF4-FFF2-40B4-BE49-F238E27FC236}">
                <a16:creationId xmlns:a16="http://schemas.microsoft.com/office/drawing/2014/main" id="{4E1F60E5-CB5D-4DCB-A512-A4D7E1F4C670}"/>
              </a:ext>
            </a:extLst>
          </p:cNvPr>
          <p:cNvSpPr/>
          <p:nvPr>
            <p:custDataLst>
              <p:tags r:id="rId8"/>
            </p:custDataLst>
          </p:nvPr>
        </p:nvSpPr>
        <p:spPr bwMode="auto">
          <a:xfrm flipH="1">
            <a:off x="9886006" y="2552613"/>
            <a:ext cx="879945" cy="330072"/>
          </a:xfrm>
          <a:prstGeom prst="accentBorderCallout1">
            <a:avLst>
              <a:gd name="adj1" fmla="val 17571"/>
              <a:gd name="adj2" fmla="val -4814"/>
              <a:gd name="adj3" fmla="val 124784"/>
              <a:gd name="adj4" fmla="val -35148"/>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36000" bIns="72000" anchor="ctr">
            <a:spAutoFit/>
          </a:bodyPr>
          <a:lstStyle/>
          <a:p>
            <a:pPr defTabSz="576000" eaLnBrk="0" fontAlgn="auto" hangingPunct="0">
              <a:spcBef>
                <a:spcPts val="0"/>
              </a:spcBef>
              <a:spcAft>
                <a:spcPts val="0"/>
              </a:spcAft>
              <a:buClr>
                <a:schemeClr val="accent1"/>
              </a:buClr>
            </a:pPr>
            <a:r>
              <a:rPr lang="en-US" sz="1200" kern="0" dirty="0">
                <a:solidFill>
                  <a:schemeClr val="lt1"/>
                </a:solidFill>
              </a:rPr>
              <a:t>Heat pump</a:t>
            </a:r>
          </a:p>
        </p:txBody>
      </p:sp>
      <p:sp>
        <p:nvSpPr>
          <p:cNvPr id="29" name="12 Legend">
            <a:extLst>
              <a:ext uri="{FF2B5EF4-FFF2-40B4-BE49-F238E27FC236}">
                <a16:creationId xmlns:a16="http://schemas.microsoft.com/office/drawing/2014/main" id="{AFBC8330-637C-4115-AA8F-D998C9119853}"/>
              </a:ext>
            </a:extLst>
          </p:cNvPr>
          <p:cNvSpPr/>
          <p:nvPr>
            <p:custDataLst>
              <p:tags r:id="rId9"/>
            </p:custDataLst>
          </p:nvPr>
        </p:nvSpPr>
        <p:spPr bwMode="auto">
          <a:xfrm flipH="1">
            <a:off x="7808828" y="2883599"/>
            <a:ext cx="953674" cy="514738"/>
          </a:xfrm>
          <a:prstGeom prst="accentBorderCallout1">
            <a:avLst>
              <a:gd name="adj1" fmla="val 17571"/>
              <a:gd name="adj2" fmla="val -4814"/>
              <a:gd name="adj3" fmla="val 72705"/>
              <a:gd name="adj4" fmla="val -160235"/>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72000" bIns="72000" anchor="ctr">
            <a:spAutoFit/>
          </a:bodyPr>
          <a:lstStyle/>
          <a:p>
            <a:pPr defTabSz="576000" eaLnBrk="0" fontAlgn="auto" hangingPunct="0">
              <a:spcBef>
                <a:spcPts val="0"/>
              </a:spcBef>
              <a:spcAft>
                <a:spcPts val="0"/>
              </a:spcAft>
              <a:buClr>
                <a:schemeClr val="accent1"/>
              </a:buClr>
            </a:pPr>
            <a:r>
              <a:rPr lang="en-US" sz="1200" kern="0" dirty="0">
                <a:solidFill>
                  <a:schemeClr val="lt1"/>
                </a:solidFill>
              </a:rPr>
              <a:t>EV Charging</a:t>
            </a:r>
          </a:p>
        </p:txBody>
      </p:sp>
      <p:pic>
        <p:nvPicPr>
          <p:cNvPr id="30" name="Picture Placeholder 5">
            <a:extLst>
              <a:ext uri="{FF2B5EF4-FFF2-40B4-BE49-F238E27FC236}">
                <a16:creationId xmlns:a16="http://schemas.microsoft.com/office/drawing/2014/main" id="{775EBF24-B85A-4D88-9F73-39262CE499CB}"/>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8904312" y="5357763"/>
            <a:ext cx="3298428" cy="809401"/>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pic>
        <p:nvPicPr>
          <p:cNvPr id="31" name="Picture Placeholder 5">
            <a:extLst>
              <a:ext uri="{FF2B5EF4-FFF2-40B4-BE49-F238E27FC236}">
                <a16:creationId xmlns:a16="http://schemas.microsoft.com/office/drawing/2014/main" id="{0271AA0D-BB97-4646-A570-8E6C015E085E}"/>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8821347" y="5173072"/>
            <a:ext cx="367878" cy="809401"/>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sp>
        <p:nvSpPr>
          <p:cNvPr id="22" name="12 Legend">
            <a:extLst>
              <a:ext uri="{FF2B5EF4-FFF2-40B4-BE49-F238E27FC236}">
                <a16:creationId xmlns:a16="http://schemas.microsoft.com/office/drawing/2014/main" id="{653A028C-7FA3-4C03-A0C6-5A78B6682E04}"/>
              </a:ext>
            </a:extLst>
          </p:cNvPr>
          <p:cNvSpPr/>
          <p:nvPr>
            <p:custDataLst>
              <p:tags r:id="rId10"/>
            </p:custDataLst>
          </p:nvPr>
        </p:nvSpPr>
        <p:spPr bwMode="auto">
          <a:xfrm flipH="1">
            <a:off x="7954690" y="5291591"/>
            <a:ext cx="519422" cy="330072"/>
          </a:xfrm>
          <a:prstGeom prst="accentBorderCallout1">
            <a:avLst>
              <a:gd name="adj1" fmla="val 17571"/>
              <a:gd name="adj2" fmla="val -4814"/>
              <a:gd name="adj3" fmla="val -158503"/>
              <a:gd name="adj4" fmla="val -201719"/>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72000" bIns="72000" anchor="ctr">
            <a:spAutoFit/>
          </a:bodyPr>
          <a:lstStyle/>
          <a:p>
            <a:pPr defTabSz="576000" eaLnBrk="0" fontAlgn="auto" hangingPunct="0">
              <a:spcBef>
                <a:spcPts val="0"/>
              </a:spcBef>
              <a:spcAft>
                <a:spcPts val="0"/>
              </a:spcAft>
              <a:buClr>
                <a:schemeClr val="accent1"/>
              </a:buClr>
            </a:pPr>
            <a:r>
              <a:rPr lang="en-US" sz="1000" kern="0" dirty="0">
                <a:solidFill>
                  <a:schemeClr val="lt1"/>
                </a:solidFill>
              </a:rPr>
              <a:t> </a:t>
            </a:r>
            <a:r>
              <a:rPr lang="en-US" sz="1200" kern="0" dirty="0">
                <a:solidFill>
                  <a:schemeClr val="lt1"/>
                </a:solidFill>
              </a:rPr>
              <a:t>CAV</a:t>
            </a:r>
          </a:p>
        </p:txBody>
      </p:sp>
      <p:sp>
        <p:nvSpPr>
          <p:cNvPr id="3" name="TextBox 2">
            <a:extLst>
              <a:ext uri="{FF2B5EF4-FFF2-40B4-BE49-F238E27FC236}">
                <a16:creationId xmlns:a16="http://schemas.microsoft.com/office/drawing/2014/main" id="{B20912A2-C245-47D2-8163-C8FFD2CE6DBD}"/>
              </a:ext>
            </a:extLst>
          </p:cNvPr>
          <p:cNvSpPr txBox="1"/>
          <p:nvPr>
            <p:custDataLst>
              <p:tags r:id="rId11"/>
            </p:custDataLst>
          </p:nvPr>
        </p:nvSpPr>
        <p:spPr bwMode="auto">
          <a:xfrm>
            <a:off x="648470" y="2792246"/>
            <a:ext cx="2574521"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baseline="0" dirty="0">
                <a:solidFill>
                  <a:schemeClr val="accent6"/>
                </a:solidFill>
                <a:latin typeface="+mn-lt"/>
                <a:ea typeface="+mn-ea"/>
                <a:cs typeface="+mn-cs"/>
              </a:rPr>
              <a:t>H7</a:t>
            </a:r>
          </a:p>
        </p:txBody>
      </p:sp>
      <p:sp>
        <p:nvSpPr>
          <p:cNvPr id="4" name="TextBox 3">
            <a:extLst>
              <a:ext uri="{FF2B5EF4-FFF2-40B4-BE49-F238E27FC236}">
                <a16:creationId xmlns:a16="http://schemas.microsoft.com/office/drawing/2014/main" id="{A535F153-E5A8-4031-947F-F058E532484B}"/>
              </a:ext>
            </a:extLst>
          </p:cNvPr>
          <p:cNvSpPr txBox="1"/>
          <p:nvPr>
            <p:custDataLst>
              <p:tags r:id="rId12"/>
            </p:custDataLst>
          </p:nvPr>
        </p:nvSpPr>
        <p:spPr bwMode="auto">
          <a:xfrm>
            <a:off x="3497842" y="1359248"/>
            <a:ext cx="2919953" cy="845616"/>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2400" b="1" kern="0" baseline="0" dirty="0">
                <a:solidFill>
                  <a:schemeClr val="accent4"/>
                </a:solidFill>
                <a:latin typeface="+mn-lt"/>
                <a:ea typeface="+mn-ea"/>
                <a:cs typeface="+mn-cs"/>
              </a:rPr>
              <a:t>Fulfill the overall energy chain needs</a:t>
            </a:r>
          </a:p>
        </p:txBody>
      </p:sp>
      <p:sp>
        <p:nvSpPr>
          <p:cNvPr id="25" name="TextBox 24">
            <a:extLst>
              <a:ext uri="{FF2B5EF4-FFF2-40B4-BE49-F238E27FC236}">
                <a16:creationId xmlns:a16="http://schemas.microsoft.com/office/drawing/2014/main" id="{AA18C846-C533-404E-A24E-CAED33821EA0}"/>
              </a:ext>
            </a:extLst>
          </p:cNvPr>
          <p:cNvSpPr txBox="1"/>
          <p:nvPr>
            <p:custDataLst>
              <p:tags r:id="rId13"/>
            </p:custDataLst>
          </p:nvPr>
        </p:nvSpPr>
        <p:spPr bwMode="auto">
          <a:xfrm>
            <a:off x="2279576" y="4460866"/>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baseline="0">
                <a:solidFill>
                  <a:schemeClr val="accent6"/>
                </a:solidFill>
                <a:latin typeface="+mn-lt"/>
                <a:ea typeface="+mn-ea"/>
                <a:cs typeface="+mn-cs"/>
              </a:rPr>
              <a:t>H7</a:t>
            </a:r>
            <a:endParaRPr lang="en-US" sz="1800" b="1" kern="0" baseline="0" dirty="0">
              <a:solidFill>
                <a:schemeClr val="accent6"/>
              </a:solidFill>
              <a:latin typeface="+mn-lt"/>
              <a:ea typeface="+mn-ea"/>
              <a:cs typeface="+mn-cs"/>
            </a:endParaRPr>
          </a:p>
        </p:txBody>
      </p:sp>
      <p:sp>
        <p:nvSpPr>
          <p:cNvPr id="28" name="TextBox 27">
            <a:extLst>
              <a:ext uri="{FF2B5EF4-FFF2-40B4-BE49-F238E27FC236}">
                <a16:creationId xmlns:a16="http://schemas.microsoft.com/office/drawing/2014/main" id="{6DC4E889-5099-4F81-879B-8ACF482FCBE9}"/>
              </a:ext>
            </a:extLst>
          </p:cNvPr>
          <p:cNvSpPr txBox="1"/>
          <p:nvPr>
            <p:custDataLst>
              <p:tags r:id="rId14"/>
            </p:custDataLst>
          </p:nvPr>
        </p:nvSpPr>
        <p:spPr bwMode="auto">
          <a:xfrm>
            <a:off x="8075454" y="4966008"/>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dirty="0">
                <a:solidFill>
                  <a:schemeClr val="accent3"/>
                </a:solidFill>
                <a:latin typeface="+mn-lt"/>
              </a:rPr>
              <a:t>S</a:t>
            </a:r>
            <a:r>
              <a:rPr lang="en-US" sz="1800" b="1" kern="0" baseline="0" dirty="0">
                <a:solidFill>
                  <a:schemeClr val="accent3"/>
                </a:solidFill>
                <a:latin typeface="+mn-lt"/>
                <a:ea typeface="+mn-ea"/>
                <a:cs typeface="+mn-cs"/>
              </a:rPr>
              <a:t>7</a:t>
            </a:r>
          </a:p>
        </p:txBody>
      </p:sp>
      <p:sp>
        <p:nvSpPr>
          <p:cNvPr id="32" name="TextBox 31">
            <a:extLst>
              <a:ext uri="{FF2B5EF4-FFF2-40B4-BE49-F238E27FC236}">
                <a16:creationId xmlns:a16="http://schemas.microsoft.com/office/drawing/2014/main" id="{4782B330-5B2E-423F-9F5B-FC148FE13768}"/>
              </a:ext>
            </a:extLst>
          </p:cNvPr>
          <p:cNvSpPr txBox="1"/>
          <p:nvPr>
            <p:custDataLst>
              <p:tags r:id="rId15"/>
            </p:custDataLst>
          </p:nvPr>
        </p:nvSpPr>
        <p:spPr bwMode="auto">
          <a:xfrm>
            <a:off x="8089569" y="2560631"/>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a:solidFill>
                  <a:schemeClr val="accent6"/>
                </a:solidFill>
                <a:latin typeface="+mn-lt"/>
              </a:rPr>
              <a:t>H</a:t>
            </a:r>
            <a:r>
              <a:rPr lang="en-US" sz="1800" b="1" kern="0" baseline="0">
                <a:solidFill>
                  <a:schemeClr val="accent6"/>
                </a:solidFill>
                <a:latin typeface="+mn-lt"/>
                <a:ea typeface="+mn-ea"/>
                <a:cs typeface="+mn-cs"/>
              </a:rPr>
              <a:t>7</a:t>
            </a:r>
            <a:endParaRPr lang="en-US" sz="1800" b="1" kern="0" baseline="0" dirty="0">
              <a:solidFill>
                <a:schemeClr val="accent6"/>
              </a:solidFill>
              <a:latin typeface="+mn-lt"/>
              <a:ea typeface="+mn-ea"/>
              <a:cs typeface="+mn-cs"/>
            </a:endParaRPr>
          </a:p>
        </p:txBody>
      </p:sp>
      <p:sp>
        <p:nvSpPr>
          <p:cNvPr id="34" name="TextBox 33">
            <a:extLst>
              <a:ext uri="{FF2B5EF4-FFF2-40B4-BE49-F238E27FC236}">
                <a16:creationId xmlns:a16="http://schemas.microsoft.com/office/drawing/2014/main" id="{B7DE794B-7F2E-48D3-BE01-BBD5EDCE7EA4}"/>
              </a:ext>
            </a:extLst>
          </p:cNvPr>
          <p:cNvSpPr txBox="1"/>
          <p:nvPr>
            <p:custDataLst>
              <p:tags r:id="rId16"/>
            </p:custDataLst>
          </p:nvPr>
        </p:nvSpPr>
        <p:spPr bwMode="auto">
          <a:xfrm>
            <a:off x="9086170" y="2567944"/>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baseline="0">
                <a:solidFill>
                  <a:schemeClr val="accent3"/>
                </a:solidFill>
                <a:latin typeface="+mn-lt"/>
                <a:ea typeface="+mn-ea"/>
                <a:cs typeface="+mn-cs"/>
              </a:rPr>
              <a:t>S7&amp;T7</a:t>
            </a:r>
            <a:endParaRPr lang="en-US" sz="1800" b="1" kern="0" baseline="0" dirty="0">
              <a:solidFill>
                <a:schemeClr val="accent3"/>
              </a:solidFill>
              <a:latin typeface="+mn-lt"/>
              <a:ea typeface="+mn-ea"/>
              <a:cs typeface="+mn-cs"/>
            </a:endParaRPr>
          </a:p>
        </p:txBody>
      </p:sp>
      <p:sp>
        <p:nvSpPr>
          <p:cNvPr id="35" name="TextBox 34">
            <a:extLst>
              <a:ext uri="{FF2B5EF4-FFF2-40B4-BE49-F238E27FC236}">
                <a16:creationId xmlns:a16="http://schemas.microsoft.com/office/drawing/2014/main" id="{EB0C9BEF-2E35-41CA-B9A0-AE09C504428F}"/>
              </a:ext>
            </a:extLst>
          </p:cNvPr>
          <p:cNvSpPr txBox="1"/>
          <p:nvPr>
            <p:custDataLst>
              <p:tags r:id="rId17"/>
            </p:custDataLst>
          </p:nvPr>
        </p:nvSpPr>
        <p:spPr bwMode="auto">
          <a:xfrm>
            <a:off x="7044768" y="1293150"/>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baseline="0" dirty="0">
                <a:solidFill>
                  <a:schemeClr val="accent3"/>
                </a:solidFill>
                <a:latin typeface="+mn-lt"/>
                <a:ea typeface="+mn-ea"/>
                <a:cs typeface="+mn-cs"/>
              </a:rPr>
              <a:t>	</a:t>
            </a:r>
            <a:r>
              <a:rPr lang="en-US" sz="1500" b="1" kern="0" baseline="0" dirty="0">
                <a:solidFill>
                  <a:schemeClr val="accent3"/>
                </a:solidFill>
                <a:latin typeface="+mn-lt"/>
                <a:ea typeface="+mn-ea"/>
                <a:cs typeface="+mn-cs"/>
              </a:rPr>
              <a:t>T7</a:t>
            </a:r>
          </a:p>
        </p:txBody>
      </p:sp>
      <p:sp>
        <p:nvSpPr>
          <p:cNvPr id="37" name="TextBox 36">
            <a:extLst>
              <a:ext uri="{FF2B5EF4-FFF2-40B4-BE49-F238E27FC236}">
                <a16:creationId xmlns:a16="http://schemas.microsoft.com/office/drawing/2014/main" id="{4FC9B365-DD3F-4E93-A665-21CD806C43B5}"/>
              </a:ext>
            </a:extLst>
          </p:cNvPr>
          <p:cNvSpPr txBox="1"/>
          <p:nvPr>
            <p:custDataLst>
              <p:tags r:id="rId18"/>
            </p:custDataLst>
          </p:nvPr>
        </p:nvSpPr>
        <p:spPr bwMode="auto">
          <a:xfrm>
            <a:off x="7527319" y="1015692"/>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baseline="0">
                <a:solidFill>
                  <a:schemeClr val="accent6"/>
                </a:solidFill>
                <a:latin typeface="+mn-lt"/>
                <a:ea typeface="+mn-ea"/>
                <a:cs typeface="+mn-cs"/>
              </a:rPr>
              <a:t>H7</a:t>
            </a:r>
            <a:endParaRPr lang="en-US" sz="1800" b="1" kern="0" baseline="0" dirty="0">
              <a:solidFill>
                <a:schemeClr val="accent6"/>
              </a:solidFill>
              <a:latin typeface="+mn-lt"/>
              <a:ea typeface="+mn-ea"/>
              <a:cs typeface="+mn-cs"/>
            </a:endParaRPr>
          </a:p>
        </p:txBody>
      </p:sp>
      <p:sp>
        <p:nvSpPr>
          <p:cNvPr id="38" name="TextBox 37">
            <a:extLst>
              <a:ext uri="{FF2B5EF4-FFF2-40B4-BE49-F238E27FC236}">
                <a16:creationId xmlns:a16="http://schemas.microsoft.com/office/drawing/2014/main" id="{0FA01624-7F3D-47B1-809F-FC9E4D0962EA}"/>
              </a:ext>
            </a:extLst>
          </p:cNvPr>
          <p:cNvSpPr txBox="1"/>
          <p:nvPr>
            <p:custDataLst>
              <p:tags r:id="rId19"/>
            </p:custDataLst>
          </p:nvPr>
        </p:nvSpPr>
        <p:spPr bwMode="auto">
          <a:xfrm>
            <a:off x="6376255" y="3453546"/>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baseline="0">
                <a:solidFill>
                  <a:schemeClr val="accent6"/>
                </a:solidFill>
                <a:latin typeface="+mn-lt"/>
                <a:ea typeface="+mn-ea"/>
                <a:cs typeface="+mn-cs"/>
              </a:rPr>
              <a:t>H7</a:t>
            </a:r>
            <a:endParaRPr lang="en-US" sz="1800" b="1" kern="0" baseline="0" dirty="0">
              <a:solidFill>
                <a:schemeClr val="accent6"/>
              </a:solidFill>
              <a:latin typeface="+mn-lt"/>
              <a:ea typeface="+mn-ea"/>
              <a:cs typeface="+mn-cs"/>
            </a:endParaRPr>
          </a:p>
        </p:txBody>
      </p:sp>
      <p:pic>
        <p:nvPicPr>
          <p:cNvPr id="40" name="Picture Placeholder 5">
            <a:extLst>
              <a:ext uri="{FF2B5EF4-FFF2-40B4-BE49-F238E27FC236}">
                <a16:creationId xmlns:a16="http://schemas.microsoft.com/office/drawing/2014/main" id="{707F5C5F-00D2-457D-B62A-B3843AF9925D}"/>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9451461" y="350268"/>
            <a:ext cx="1311195" cy="1914435"/>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pic>
        <p:nvPicPr>
          <p:cNvPr id="41" name="Picture Placeholder 5">
            <a:extLst>
              <a:ext uri="{FF2B5EF4-FFF2-40B4-BE49-F238E27FC236}">
                <a16:creationId xmlns:a16="http://schemas.microsoft.com/office/drawing/2014/main" id="{D661F625-C77D-4856-AF50-E6F85D058DF7}"/>
              </a:ext>
            </a:extLst>
          </p:cNvPr>
          <p:cNvPicPr>
            <a:picLocks noChangeAspect="1"/>
          </p:cNvPicPr>
          <p:nvPr/>
        </p:nvPicPr>
        <p:blipFill rotWithShape="1">
          <a:blip r:embed="rId26">
            <a:extLst>
              <a:ext uri="{28A0092B-C50C-407E-A947-70E740481C1C}">
                <a14:useLocalDpi xmlns:a14="http://schemas.microsoft.com/office/drawing/2010/main" val="0"/>
              </a:ext>
            </a:extLst>
          </a:blip>
          <a:srcRect l="2091" t="12329" r="61881" b="77652"/>
          <a:stretch/>
        </p:blipFill>
        <p:spPr>
          <a:xfrm>
            <a:off x="9568076" y="300694"/>
            <a:ext cx="821166" cy="2040836"/>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pic>
      <p:sp>
        <p:nvSpPr>
          <p:cNvPr id="33" name="TextBox 32">
            <a:extLst>
              <a:ext uri="{FF2B5EF4-FFF2-40B4-BE49-F238E27FC236}">
                <a16:creationId xmlns:a16="http://schemas.microsoft.com/office/drawing/2014/main" id="{889F7C99-69FE-46CB-9CB5-A181033CB78D}"/>
              </a:ext>
            </a:extLst>
          </p:cNvPr>
          <p:cNvSpPr txBox="1"/>
          <p:nvPr>
            <p:custDataLst>
              <p:tags r:id="rId20"/>
            </p:custDataLst>
          </p:nvPr>
        </p:nvSpPr>
        <p:spPr bwMode="auto">
          <a:xfrm>
            <a:off x="11019514" y="386211"/>
            <a:ext cx="1429344" cy="29940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800" b="1" kern="0" baseline="0">
                <a:solidFill>
                  <a:schemeClr val="accent3"/>
                </a:solidFill>
                <a:latin typeface="+mn-lt"/>
                <a:ea typeface="+mn-ea"/>
                <a:cs typeface="+mn-cs"/>
              </a:rPr>
              <a:t>S7&amp;T7</a:t>
            </a:r>
            <a:endParaRPr lang="en-US" sz="1800" b="1" kern="0" baseline="0" dirty="0">
              <a:solidFill>
                <a:schemeClr val="accent3"/>
              </a:solidFill>
              <a:latin typeface="+mn-lt"/>
              <a:ea typeface="+mn-ea"/>
              <a:cs typeface="+mn-cs"/>
            </a:endParaRPr>
          </a:p>
        </p:txBody>
      </p:sp>
      <p:sp>
        <p:nvSpPr>
          <p:cNvPr id="36" name="12 Legend">
            <a:extLst>
              <a:ext uri="{FF2B5EF4-FFF2-40B4-BE49-F238E27FC236}">
                <a16:creationId xmlns:a16="http://schemas.microsoft.com/office/drawing/2014/main" id="{FE76F2C1-8C05-4E71-8DFF-1094B991560F}"/>
              </a:ext>
            </a:extLst>
          </p:cNvPr>
          <p:cNvSpPr/>
          <p:nvPr>
            <p:custDataLst>
              <p:tags r:id="rId21"/>
            </p:custDataLst>
          </p:nvPr>
        </p:nvSpPr>
        <p:spPr bwMode="auto">
          <a:xfrm flipH="1">
            <a:off x="9876898" y="1068095"/>
            <a:ext cx="638615" cy="330072"/>
          </a:xfrm>
          <a:prstGeom prst="accentBorderCallout1">
            <a:avLst>
              <a:gd name="adj1" fmla="val 17571"/>
              <a:gd name="adj2" fmla="val -4814"/>
              <a:gd name="adj3" fmla="val 124784"/>
              <a:gd name="adj4" fmla="val -35148"/>
            </a:avLst>
          </a:prstGeom>
          <a:solidFill>
            <a:schemeClr val="dk2"/>
          </a:solidFill>
          <a:ln w="12700" cap="flat" cmpd="sng" algn="ctr">
            <a:solidFill>
              <a:schemeClr val="dk2"/>
            </a:solidFill>
            <a:prstDash val="solid"/>
            <a:miter lim="800000"/>
            <a:headEnd type="none" w="med" len="med"/>
            <a:tailEnd type="none" w="med" len="med"/>
          </a:ln>
          <a:effectLst/>
        </p:spPr>
        <p:txBody>
          <a:bodyPr wrap="square" lIns="72000" tIns="72000" rIns="36000" bIns="72000" anchor="ctr">
            <a:spAutoFit/>
          </a:bodyPr>
          <a:lstStyle/>
          <a:p>
            <a:pPr defTabSz="576000" eaLnBrk="0" fontAlgn="auto" hangingPunct="0">
              <a:spcBef>
                <a:spcPts val="0"/>
              </a:spcBef>
              <a:spcAft>
                <a:spcPts val="0"/>
              </a:spcAft>
              <a:buClr>
                <a:schemeClr val="accent1"/>
              </a:buClr>
            </a:pPr>
            <a:r>
              <a:rPr lang="en-US" sz="1200" kern="0" dirty="0">
                <a:solidFill>
                  <a:schemeClr val="lt1"/>
                </a:solidFill>
              </a:rPr>
              <a:t>Drives</a:t>
            </a:r>
          </a:p>
        </p:txBody>
      </p:sp>
      <p:sp>
        <p:nvSpPr>
          <p:cNvPr id="2" name="Rectangle 1">
            <a:extLst>
              <a:ext uri="{FF2B5EF4-FFF2-40B4-BE49-F238E27FC236}">
                <a16:creationId xmlns:a16="http://schemas.microsoft.com/office/drawing/2014/main" id="{3B2A0B97-EE31-4987-8D5C-8826A90F0A92}"/>
              </a:ext>
            </a:extLst>
          </p:cNvPr>
          <p:cNvSpPr/>
          <p:nvPr>
            <p:custDataLst>
              <p:tags r:id="rId22"/>
            </p:custDataLst>
          </p:nvPr>
        </p:nvSpPr>
        <p:spPr>
          <a:xfrm>
            <a:off x="746034" y="300694"/>
            <a:ext cx="3299181" cy="523220"/>
          </a:xfrm>
          <a:prstGeom prst="rect">
            <a:avLst/>
          </a:prstGeom>
        </p:spPr>
        <p:txBody>
          <a:bodyPr wrap="square">
            <a:spAutoFit/>
          </a:bodyPr>
          <a:lstStyle/>
          <a:p>
            <a:r>
              <a:rPr lang="en-US" sz="2800" b="1" kern="0" dirty="0">
                <a:solidFill>
                  <a:schemeClr val="accent1"/>
                </a:solidFill>
              </a:rPr>
              <a:t>TRENCHSTOP™</a:t>
            </a:r>
            <a:endParaRPr lang="de-AT" sz="2800" dirty="0">
              <a:solidFill>
                <a:schemeClr val="accent1"/>
              </a:solidFill>
            </a:endParaRPr>
          </a:p>
        </p:txBody>
      </p:sp>
    </p:spTree>
    <p:extLst>
      <p:ext uri="{BB962C8B-B14F-4D97-AF65-F5344CB8AC3E}">
        <p14:creationId xmlns:p14="http://schemas.microsoft.com/office/powerpoint/2010/main" val="3204625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3" grpId="0" animBg="1"/>
      <p:bldP spid="24" grpId="0" animBg="1"/>
      <p:bldP spid="26" grpId="0" animBg="1"/>
      <p:bldP spid="27" grpId="0" animBg="1"/>
      <p:bldP spid="29" grpId="0" animBg="1"/>
      <p:bldP spid="22" grpId="0" animBg="1"/>
      <p:bldP spid="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088817A-FD98-4557-81DA-17FFECC976CF}"/>
              </a:ext>
            </a:extLst>
          </p:cNvPr>
          <p:cNvSpPr/>
          <p:nvPr>
            <p:custDataLst>
              <p:tags r:id="rId1"/>
            </p:custDataLst>
          </p:nvPr>
        </p:nvSpPr>
        <p:spPr bwMode="auto">
          <a:xfrm>
            <a:off x="299289" y="1585366"/>
            <a:ext cx="11593686" cy="4277208"/>
          </a:xfrm>
          <a:prstGeom prst="rect">
            <a:avLst/>
          </a:prstGeom>
          <a:solidFill>
            <a:schemeClr val="bg1"/>
          </a:solidFill>
          <a:ln w="9525">
            <a:noFill/>
            <a:miter lim="800000"/>
            <a:headEnd/>
            <a:tailEnd/>
          </a:ln>
        </p:spPr>
        <p:txBody>
          <a:bodyPr wrap="square" lIns="72000" tIns="72000" rIns="72000" bIns="72000" rtlCol="0" anchor="ctr"/>
          <a:lstStyle/>
          <a:p>
            <a:pPr algn="ctr" defTabSz="576000" eaLnBrk="0" hangingPunct="0">
              <a:lnSpc>
                <a:spcPct val="120000"/>
              </a:lnSpc>
            </a:pPr>
            <a:endParaRPr lang="de-AT" sz="1600" baseline="0" dirty="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E7CC891E-8C4C-9F62-0EE9-590044BCDE07}"/>
              </a:ext>
            </a:extLst>
          </p:cNvPr>
          <p:cNvSpPr/>
          <p:nvPr>
            <p:custDataLst>
              <p:tags r:id="rId2"/>
            </p:custDataLst>
          </p:nvPr>
        </p:nvSpPr>
        <p:spPr bwMode="auto">
          <a:xfrm>
            <a:off x="334663" y="1662064"/>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3" name="Rectangle 12">
            <a:extLst>
              <a:ext uri="{FF2B5EF4-FFF2-40B4-BE49-F238E27FC236}">
                <a16:creationId xmlns:a16="http://schemas.microsoft.com/office/drawing/2014/main" id="{29A2C629-58AB-D7EC-BA13-BC84C37170AB}"/>
              </a:ext>
            </a:extLst>
          </p:cNvPr>
          <p:cNvSpPr/>
          <p:nvPr>
            <p:custDataLst>
              <p:tags r:id="rId3"/>
            </p:custDataLst>
          </p:nvPr>
        </p:nvSpPr>
        <p:spPr bwMode="auto">
          <a:xfrm>
            <a:off x="6095171" y="1662064"/>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4" name="Rectangle 13">
            <a:extLst>
              <a:ext uri="{FF2B5EF4-FFF2-40B4-BE49-F238E27FC236}">
                <a16:creationId xmlns:a16="http://schemas.microsoft.com/office/drawing/2014/main" id="{6059F75F-F540-D73C-DA62-E99FDE2F3843}"/>
              </a:ext>
            </a:extLst>
          </p:cNvPr>
          <p:cNvSpPr/>
          <p:nvPr>
            <p:custDataLst>
              <p:tags r:id="rId4"/>
            </p:custDataLst>
          </p:nvPr>
        </p:nvSpPr>
        <p:spPr bwMode="auto">
          <a:xfrm>
            <a:off x="334663" y="3748709"/>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5" name="Rectangle 14">
            <a:extLst>
              <a:ext uri="{FF2B5EF4-FFF2-40B4-BE49-F238E27FC236}">
                <a16:creationId xmlns:a16="http://schemas.microsoft.com/office/drawing/2014/main" id="{EB30CF48-815A-B7FE-6526-49E42E40DA20}"/>
              </a:ext>
            </a:extLst>
          </p:cNvPr>
          <p:cNvSpPr/>
          <p:nvPr>
            <p:custDataLst>
              <p:tags r:id="rId5"/>
            </p:custDataLst>
          </p:nvPr>
        </p:nvSpPr>
        <p:spPr bwMode="auto">
          <a:xfrm>
            <a:off x="6095171" y="3748709"/>
            <a:ext cx="5760508" cy="2088232"/>
          </a:xfrm>
          <a:prstGeom prst="rect">
            <a:avLst/>
          </a:prstGeom>
          <a:noFill/>
          <a:ln w="5715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3" name="Title 2">
            <a:extLst>
              <a:ext uri="{FF2B5EF4-FFF2-40B4-BE49-F238E27FC236}">
                <a16:creationId xmlns:a16="http://schemas.microsoft.com/office/drawing/2014/main" id="{576A24DB-8B74-F472-9C2A-5839DF3DE7E3}"/>
              </a:ext>
            </a:extLst>
          </p:cNvPr>
          <p:cNvSpPr>
            <a:spLocks noGrp="1"/>
          </p:cNvSpPr>
          <p:nvPr>
            <p:ph type="title"/>
          </p:nvPr>
        </p:nvSpPr>
        <p:spPr/>
        <p:txBody>
          <a:bodyPr/>
          <a:lstStyle/>
          <a:p>
            <a:r>
              <a:rPr lang="en-US" dirty="0"/>
              <a:t>TRENCHSTOP™ IGBT7 – 650 V, 750 V and 1200 V H7</a:t>
            </a:r>
          </a:p>
        </p:txBody>
      </p:sp>
      <p:sp>
        <p:nvSpPr>
          <p:cNvPr id="8" name="Flowchart: Connector 7">
            <a:extLst>
              <a:ext uri="{FF2B5EF4-FFF2-40B4-BE49-F238E27FC236}">
                <a16:creationId xmlns:a16="http://schemas.microsoft.com/office/drawing/2014/main" id="{2086D6AD-C2E6-8B59-9F97-773B01AA3299}"/>
              </a:ext>
            </a:extLst>
          </p:cNvPr>
          <p:cNvSpPr/>
          <p:nvPr>
            <p:custDataLst>
              <p:tags r:id="rId6"/>
            </p:custDataLst>
          </p:nvPr>
        </p:nvSpPr>
        <p:spPr bwMode="auto">
          <a:xfrm>
            <a:off x="5051055" y="2706180"/>
            <a:ext cx="2088232" cy="2088232"/>
          </a:xfrm>
          <a:prstGeom prst="flowChartConnector">
            <a:avLst/>
          </a:prstGeom>
          <a:solidFill>
            <a:schemeClr val="bg1"/>
          </a:solidFill>
          <a:ln w="76200">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6" name="TextBox">
            <a:extLst>
              <a:ext uri="{FF2B5EF4-FFF2-40B4-BE49-F238E27FC236}">
                <a16:creationId xmlns:a16="http://schemas.microsoft.com/office/drawing/2014/main" id="{6BF8417D-8184-BE0A-4F51-27B83EEA2C39}"/>
              </a:ext>
            </a:extLst>
          </p:cNvPr>
          <p:cNvSpPr txBox="1"/>
          <p:nvPr>
            <p:custDataLst>
              <p:tags r:id="rId7"/>
            </p:custDataLst>
          </p:nvPr>
        </p:nvSpPr>
        <p:spPr bwMode="auto">
          <a:xfrm>
            <a:off x="7243695" y="4036353"/>
            <a:ext cx="3783310" cy="1408871"/>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defTabSz="575986">
              <a:buClr>
                <a:srgbClr val="0A8276"/>
              </a:buClr>
              <a:buNone/>
              <a:defRPr/>
            </a:pPr>
            <a:r>
              <a:rPr lang="en-US" b="1" dirty="0"/>
              <a:t>3 voltage classes </a:t>
            </a:r>
          </a:p>
          <a:p>
            <a:pPr marL="0" indent="0" defTabSz="575986">
              <a:buClr>
                <a:srgbClr val="0A8276"/>
              </a:buClr>
              <a:buNone/>
              <a:defRPr/>
            </a:pPr>
            <a:r>
              <a:rPr lang="en-US" dirty="0"/>
              <a:t>650 V</a:t>
            </a:r>
          </a:p>
          <a:p>
            <a:pPr marL="0" indent="0" defTabSz="575986">
              <a:buClr>
                <a:srgbClr val="0A8276"/>
              </a:buClr>
              <a:buNone/>
              <a:defRPr/>
            </a:pPr>
            <a:r>
              <a:rPr lang="en-US" dirty="0"/>
              <a:t>750 V</a:t>
            </a:r>
          </a:p>
          <a:p>
            <a:pPr marL="0" indent="0" defTabSz="575986">
              <a:buClr>
                <a:srgbClr val="0A8276"/>
              </a:buClr>
              <a:buNone/>
              <a:defRPr/>
            </a:pPr>
            <a:r>
              <a:rPr lang="en-US" dirty="0"/>
              <a:t>1200 V</a:t>
            </a:r>
            <a:r>
              <a:rPr lang="en-US" sz="2000" dirty="0"/>
              <a:t>			</a:t>
            </a:r>
          </a:p>
        </p:txBody>
      </p:sp>
      <p:sp>
        <p:nvSpPr>
          <p:cNvPr id="19" name="TextBox">
            <a:extLst>
              <a:ext uri="{FF2B5EF4-FFF2-40B4-BE49-F238E27FC236}">
                <a16:creationId xmlns:a16="http://schemas.microsoft.com/office/drawing/2014/main" id="{95E805E0-9479-EB61-5953-85C9A83FCC33}"/>
              </a:ext>
            </a:extLst>
          </p:cNvPr>
          <p:cNvSpPr txBox="1"/>
          <p:nvPr>
            <p:custDataLst>
              <p:tags r:id="rId8"/>
            </p:custDataLst>
          </p:nvPr>
        </p:nvSpPr>
        <p:spPr bwMode="auto">
          <a:xfrm>
            <a:off x="7248357" y="1772816"/>
            <a:ext cx="4502219" cy="1408871"/>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defTabSz="575986">
              <a:buClr>
                <a:srgbClr val="0A8276"/>
              </a:buClr>
              <a:buNone/>
              <a:defRPr/>
            </a:pPr>
            <a:r>
              <a:rPr lang="en-US" b="1" dirty="0"/>
              <a:t>5 packages</a:t>
            </a:r>
            <a:r>
              <a:rPr lang="en-US" dirty="0"/>
              <a:t>		</a:t>
            </a:r>
          </a:p>
        </p:txBody>
      </p:sp>
      <p:pic>
        <p:nvPicPr>
          <p:cNvPr id="20" name="Picture 19">
            <a:extLst>
              <a:ext uri="{FF2B5EF4-FFF2-40B4-BE49-F238E27FC236}">
                <a16:creationId xmlns:a16="http://schemas.microsoft.com/office/drawing/2014/main" id="{48262EDB-65BE-2AC7-CCAD-66FA6A1509B5}"/>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070901" y="2340586"/>
            <a:ext cx="776856" cy="982533"/>
          </a:xfrm>
          <a:prstGeom prst="rect">
            <a:avLst/>
          </a:prstGeom>
        </p:spPr>
      </p:pic>
      <p:pic>
        <p:nvPicPr>
          <p:cNvPr id="21" name="Picture 20">
            <a:extLst>
              <a:ext uri="{FF2B5EF4-FFF2-40B4-BE49-F238E27FC236}">
                <a16:creationId xmlns:a16="http://schemas.microsoft.com/office/drawing/2014/main" id="{552D1CDF-D630-84B1-19CE-1D323768FF5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099670" y="2340586"/>
            <a:ext cx="746725" cy="982533"/>
          </a:xfrm>
          <a:prstGeom prst="rect">
            <a:avLst/>
          </a:prstGeom>
        </p:spPr>
      </p:pic>
      <p:pic>
        <p:nvPicPr>
          <p:cNvPr id="22" name="Picture 21">
            <a:extLst>
              <a:ext uri="{FF2B5EF4-FFF2-40B4-BE49-F238E27FC236}">
                <a16:creationId xmlns:a16="http://schemas.microsoft.com/office/drawing/2014/main" id="{FDD19163-E200-9ACE-EA19-AF8EEB2917A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099780" y="2340586"/>
            <a:ext cx="746726" cy="982533"/>
          </a:xfrm>
          <a:prstGeom prst="rect">
            <a:avLst/>
          </a:prstGeom>
        </p:spPr>
      </p:pic>
      <p:pic>
        <p:nvPicPr>
          <p:cNvPr id="23" name="Picture 22">
            <a:extLst>
              <a:ext uri="{FF2B5EF4-FFF2-40B4-BE49-F238E27FC236}">
                <a16:creationId xmlns:a16="http://schemas.microsoft.com/office/drawing/2014/main" id="{DDAAA4C1-E334-C79F-A5B2-AB3E62223336}"/>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1003850" y="2340586"/>
            <a:ext cx="746726" cy="982533"/>
          </a:xfrm>
          <a:prstGeom prst="rect">
            <a:avLst/>
          </a:prstGeom>
        </p:spPr>
      </p:pic>
      <p:pic>
        <p:nvPicPr>
          <p:cNvPr id="24" name="Picture 23">
            <a:extLst>
              <a:ext uri="{FF2B5EF4-FFF2-40B4-BE49-F238E27FC236}">
                <a16:creationId xmlns:a16="http://schemas.microsoft.com/office/drawing/2014/main" id="{E4AF18D7-DB01-714C-01DC-91A1AF2F2B8B}"/>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062218" y="2340586"/>
            <a:ext cx="749345" cy="982533"/>
          </a:xfrm>
          <a:prstGeom prst="rect">
            <a:avLst/>
          </a:prstGeom>
        </p:spPr>
      </p:pic>
      <p:sp>
        <p:nvSpPr>
          <p:cNvPr id="25" name="Rectangle 24">
            <a:extLst>
              <a:ext uri="{FF2B5EF4-FFF2-40B4-BE49-F238E27FC236}">
                <a16:creationId xmlns:a16="http://schemas.microsoft.com/office/drawing/2014/main" id="{632D2505-B557-BB06-7566-E97A929D6C69}"/>
              </a:ext>
            </a:extLst>
          </p:cNvPr>
          <p:cNvSpPr/>
          <p:nvPr>
            <p:custDataLst>
              <p:tags r:id="rId9"/>
            </p:custDataLst>
          </p:nvPr>
        </p:nvSpPr>
        <p:spPr>
          <a:xfrm>
            <a:off x="9991759" y="3310352"/>
            <a:ext cx="787395" cy="369332"/>
          </a:xfrm>
          <a:prstGeom prst="rect">
            <a:avLst/>
          </a:prstGeom>
        </p:spPr>
        <p:txBody>
          <a:bodyPr wrap="none">
            <a:spAutoFit/>
          </a:bodyPr>
          <a:lstStyle/>
          <a:p>
            <a:r>
              <a:rPr lang="en-US" sz="1800"/>
              <a:t>IKWH</a:t>
            </a:r>
            <a:endParaRPr lang="en-US" sz="1800" dirty="0"/>
          </a:p>
        </p:txBody>
      </p:sp>
      <p:sp>
        <p:nvSpPr>
          <p:cNvPr id="26" name="Rectangle 25">
            <a:extLst>
              <a:ext uri="{FF2B5EF4-FFF2-40B4-BE49-F238E27FC236}">
                <a16:creationId xmlns:a16="http://schemas.microsoft.com/office/drawing/2014/main" id="{74F5EE55-DE62-F579-81D3-34D1E7C6F3A1}"/>
              </a:ext>
            </a:extLst>
          </p:cNvPr>
          <p:cNvSpPr/>
          <p:nvPr>
            <p:custDataLst>
              <p:tags r:id="rId10"/>
            </p:custDataLst>
          </p:nvPr>
        </p:nvSpPr>
        <p:spPr>
          <a:xfrm>
            <a:off x="11027004" y="3310352"/>
            <a:ext cx="620683" cy="369332"/>
          </a:xfrm>
          <a:prstGeom prst="rect">
            <a:avLst/>
          </a:prstGeom>
        </p:spPr>
        <p:txBody>
          <a:bodyPr wrap="none">
            <a:spAutoFit/>
          </a:bodyPr>
          <a:lstStyle/>
          <a:p>
            <a:r>
              <a:rPr lang="en-US" sz="1800"/>
              <a:t>IKW</a:t>
            </a:r>
            <a:endParaRPr lang="en-US" sz="1800" dirty="0"/>
          </a:p>
        </p:txBody>
      </p:sp>
      <p:sp>
        <p:nvSpPr>
          <p:cNvPr id="27" name="Rectangle 26">
            <a:extLst>
              <a:ext uri="{FF2B5EF4-FFF2-40B4-BE49-F238E27FC236}">
                <a16:creationId xmlns:a16="http://schemas.microsoft.com/office/drawing/2014/main" id="{8687F4C6-201D-7E9E-4C2C-65867DC6106A}"/>
              </a:ext>
            </a:extLst>
          </p:cNvPr>
          <p:cNvSpPr/>
          <p:nvPr>
            <p:custDataLst>
              <p:tags r:id="rId11"/>
            </p:custDataLst>
          </p:nvPr>
        </p:nvSpPr>
        <p:spPr>
          <a:xfrm>
            <a:off x="9060603" y="3310352"/>
            <a:ext cx="697627" cy="369332"/>
          </a:xfrm>
          <a:prstGeom prst="rect">
            <a:avLst/>
          </a:prstGeom>
        </p:spPr>
        <p:txBody>
          <a:bodyPr wrap="none">
            <a:spAutoFit/>
          </a:bodyPr>
          <a:lstStyle/>
          <a:p>
            <a:r>
              <a:rPr lang="en-US" sz="1800"/>
              <a:t>IKZA</a:t>
            </a:r>
            <a:endParaRPr lang="en-US" sz="1800" dirty="0"/>
          </a:p>
        </p:txBody>
      </p:sp>
      <p:sp>
        <p:nvSpPr>
          <p:cNvPr id="28" name="Rectangle 27">
            <a:extLst>
              <a:ext uri="{FF2B5EF4-FFF2-40B4-BE49-F238E27FC236}">
                <a16:creationId xmlns:a16="http://schemas.microsoft.com/office/drawing/2014/main" id="{BD387944-C94D-53CB-EE63-B71867A6B3AE}"/>
              </a:ext>
            </a:extLst>
          </p:cNvPr>
          <p:cNvSpPr/>
          <p:nvPr>
            <p:custDataLst>
              <p:tags r:id="rId12"/>
            </p:custDataLst>
          </p:nvPr>
        </p:nvSpPr>
        <p:spPr>
          <a:xfrm>
            <a:off x="8183887" y="3310352"/>
            <a:ext cx="582211" cy="369332"/>
          </a:xfrm>
          <a:prstGeom prst="rect">
            <a:avLst/>
          </a:prstGeom>
        </p:spPr>
        <p:txBody>
          <a:bodyPr wrap="none">
            <a:spAutoFit/>
          </a:bodyPr>
          <a:lstStyle/>
          <a:p>
            <a:r>
              <a:rPr lang="en-US" sz="1800"/>
              <a:t>IKQ</a:t>
            </a:r>
            <a:endParaRPr lang="en-US" sz="1800" dirty="0"/>
          </a:p>
        </p:txBody>
      </p:sp>
      <p:sp>
        <p:nvSpPr>
          <p:cNvPr id="29" name="Rectangle 28">
            <a:extLst>
              <a:ext uri="{FF2B5EF4-FFF2-40B4-BE49-F238E27FC236}">
                <a16:creationId xmlns:a16="http://schemas.microsoft.com/office/drawing/2014/main" id="{E373D7A8-D38A-612E-0D23-699CA90324D9}"/>
              </a:ext>
            </a:extLst>
          </p:cNvPr>
          <p:cNvSpPr/>
          <p:nvPr>
            <p:custDataLst>
              <p:tags r:id="rId13"/>
            </p:custDataLst>
          </p:nvPr>
        </p:nvSpPr>
        <p:spPr>
          <a:xfrm>
            <a:off x="7130477" y="3310352"/>
            <a:ext cx="556563" cy="369332"/>
          </a:xfrm>
          <a:prstGeom prst="rect">
            <a:avLst/>
          </a:prstGeom>
        </p:spPr>
        <p:txBody>
          <a:bodyPr wrap="none">
            <a:spAutoFit/>
          </a:bodyPr>
          <a:lstStyle/>
          <a:p>
            <a:r>
              <a:rPr lang="en-US" sz="1800"/>
              <a:t>IKY</a:t>
            </a:r>
            <a:endParaRPr lang="en-US" sz="1800" dirty="0"/>
          </a:p>
        </p:txBody>
      </p:sp>
      <p:sp>
        <p:nvSpPr>
          <p:cNvPr id="39" name="TextBox 38">
            <a:extLst>
              <a:ext uri="{FF2B5EF4-FFF2-40B4-BE49-F238E27FC236}">
                <a16:creationId xmlns:a16="http://schemas.microsoft.com/office/drawing/2014/main" id="{0DCF2B7E-4532-5797-8921-005B280E312A}"/>
              </a:ext>
            </a:extLst>
          </p:cNvPr>
          <p:cNvSpPr txBox="1"/>
          <p:nvPr>
            <p:custDataLst>
              <p:tags r:id="rId14"/>
            </p:custDataLst>
          </p:nvPr>
        </p:nvSpPr>
        <p:spPr bwMode="auto">
          <a:xfrm>
            <a:off x="522476" y="2144444"/>
            <a:ext cx="5518160" cy="634276"/>
          </a:xfrm>
          <a:prstGeom prst="rect">
            <a:avLst/>
          </a:prstGeom>
          <a:noFill/>
          <a:ln w="9525">
            <a:noFill/>
            <a:miter lim="800000"/>
            <a:headEnd/>
            <a:tailEnd/>
          </a:ln>
          <a:effectLst/>
        </p:spPr>
        <p:txBody>
          <a:bodyPr wrap="squar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en-US" sz="1800" kern="0" dirty="0">
                <a:latin typeface="+mn-lt"/>
              </a:rPr>
              <a:t>H7 technology offers </a:t>
            </a:r>
            <a:r>
              <a:rPr lang="en-US" sz="1800" b="1" kern="0" dirty="0">
                <a:latin typeface="+mn-lt"/>
              </a:rPr>
              <a:t>uncompromising performance</a:t>
            </a:r>
            <a:r>
              <a:rPr lang="en-US" sz="1800" kern="0" dirty="0">
                <a:latin typeface="+mn-lt"/>
              </a:rPr>
              <a:t> and full utilization of it´s capabilities</a:t>
            </a:r>
            <a:endParaRPr lang="en-US" sz="1800" kern="0" baseline="0" dirty="0">
              <a:latin typeface="+mn-lt"/>
              <a:ea typeface="+mn-ea"/>
              <a:cs typeface="+mn-cs"/>
            </a:endParaRPr>
          </a:p>
        </p:txBody>
      </p:sp>
      <p:sp>
        <p:nvSpPr>
          <p:cNvPr id="40" name="TextBox 39">
            <a:extLst>
              <a:ext uri="{FF2B5EF4-FFF2-40B4-BE49-F238E27FC236}">
                <a16:creationId xmlns:a16="http://schemas.microsoft.com/office/drawing/2014/main" id="{2BE75378-C041-31B1-A9CB-11DE69B56CE3}"/>
              </a:ext>
            </a:extLst>
          </p:cNvPr>
          <p:cNvSpPr txBox="1"/>
          <p:nvPr>
            <p:custDataLst>
              <p:tags r:id="rId15"/>
            </p:custDataLst>
          </p:nvPr>
        </p:nvSpPr>
        <p:spPr bwMode="auto">
          <a:xfrm>
            <a:off x="638670" y="5229338"/>
            <a:ext cx="5024335" cy="301878"/>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1800" kern="0" dirty="0">
                <a:latin typeface="+mn-lt"/>
              </a:rPr>
              <a:t>4</a:t>
            </a:r>
            <a:r>
              <a:rPr lang="en-US" sz="1800" kern="0" baseline="0" dirty="0">
                <a:latin typeface="+mn-lt"/>
                <a:ea typeface="+mn-ea"/>
                <a:cs typeface="+mn-cs"/>
              </a:rPr>
              <a:t>0 A | 50 A | 75 A | </a:t>
            </a:r>
            <a:r>
              <a:rPr lang="en-US" sz="1800" kern="0" baseline="0" dirty="0">
                <a:solidFill>
                  <a:schemeClr val="dk2"/>
                </a:solidFill>
                <a:latin typeface="+mn-lt"/>
                <a:ea typeface="+mn-ea"/>
                <a:cs typeface="+mn-cs"/>
              </a:rPr>
              <a:t>100 A | 120 A | 140 A | 150 A</a:t>
            </a:r>
          </a:p>
        </p:txBody>
      </p:sp>
      <p:pic>
        <p:nvPicPr>
          <p:cNvPr id="41" name="Picture 40">
            <a:extLst>
              <a:ext uri="{FF2B5EF4-FFF2-40B4-BE49-F238E27FC236}">
                <a16:creationId xmlns:a16="http://schemas.microsoft.com/office/drawing/2014/main" id="{EEFE59D2-AE91-202D-C898-93EDF59F698B}"/>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46663" y="4104894"/>
            <a:ext cx="920785" cy="920785"/>
          </a:xfrm>
          <a:prstGeom prst="rect">
            <a:avLst/>
          </a:prstGeom>
        </p:spPr>
      </p:pic>
      <p:pic>
        <p:nvPicPr>
          <p:cNvPr id="43" name="Picture 42">
            <a:extLst>
              <a:ext uri="{FF2B5EF4-FFF2-40B4-BE49-F238E27FC236}">
                <a16:creationId xmlns:a16="http://schemas.microsoft.com/office/drawing/2014/main" id="{9C700D93-F99C-1F32-192A-64A1D4DB7C6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49421" y="4057095"/>
            <a:ext cx="508191" cy="508191"/>
          </a:xfrm>
          <a:prstGeom prst="rect">
            <a:avLst/>
          </a:prstGeom>
        </p:spPr>
      </p:pic>
      <p:sp>
        <p:nvSpPr>
          <p:cNvPr id="44" name="TextBox 43">
            <a:extLst>
              <a:ext uri="{FF2B5EF4-FFF2-40B4-BE49-F238E27FC236}">
                <a16:creationId xmlns:a16="http://schemas.microsoft.com/office/drawing/2014/main" id="{135AC5D5-F7D4-D6D1-E24D-1332EDF759BA}"/>
              </a:ext>
            </a:extLst>
          </p:cNvPr>
          <p:cNvSpPr txBox="1"/>
          <p:nvPr>
            <p:custDataLst>
              <p:tags r:id="rId16"/>
            </p:custDataLst>
          </p:nvPr>
        </p:nvSpPr>
        <p:spPr bwMode="auto">
          <a:xfrm>
            <a:off x="2553307" y="4620213"/>
            <a:ext cx="888603" cy="387607"/>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1100" kern="0" baseline="0">
                <a:solidFill>
                  <a:schemeClr val="accent1"/>
                </a:solidFill>
                <a:latin typeface="+mn-lt"/>
                <a:ea typeface="+mn-ea"/>
                <a:cs typeface="+mn-cs"/>
              </a:rPr>
              <a:t>Supreme Performance</a:t>
            </a:r>
            <a:endParaRPr lang="en-US" sz="1100" kern="0" baseline="0" dirty="0">
              <a:solidFill>
                <a:schemeClr val="accent1"/>
              </a:solidFill>
              <a:latin typeface="+mn-lt"/>
              <a:ea typeface="+mn-ea"/>
              <a:cs typeface="+mn-cs"/>
            </a:endParaRPr>
          </a:p>
        </p:txBody>
      </p:sp>
      <p:pic>
        <p:nvPicPr>
          <p:cNvPr id="45" name="Picture 44">
            <a:extLst>
              <a:ext uri="{FF2B5EF4-FFF2-40B4-BE49-F238E27FC236}">
                <a16:creationId xmlns:a16="http://schemas.microsoft.com/office/drawing/2014/main" id="{0ABCE579-77E7-1E82-DAAE-1AF4D71A3E2B}"/>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968708" y="3978507"/>
            <a:ext cx="1047172" cy="1047172"/>
          </a:xfrm>
          <a:prstGeom prst="rect">
            <a:avLst/>
          </a:prstGeom>
        </p:spPr>
      </p:pic>
      <p:sp>
        <p:nvSpPr>
          <p:cNvPr id="56" name="TextBox">
            <a:extLst>
              <a:ext uri="{FF2B5EF4-FFF2-40B4-BE49-F238E27FC236}">
                <a16:creationId xmlns:a16="http://schemas.microsoft.com/office/drawing/2014/main" id="{B8A5BC8A-CEB8-6D94-6AD4-CDFEEAF66770}"/>
              </a:ext>
            </a:extLst>
          </p:cNvPr>
          <p:cNvSpPr txBox="1"/>
          <p:nvPr>
            <p:custDataLst>
              <p:tags r:id="rId17"/>
            </p:custDataLst>
          </p:nvPr>
        </p:nvSpPr>
        <p:spPr bwMode="auto">
          <a:xfrm>
            <a:off x="5308919" y="4083449"/>
            <a:ext cx="1568225" cy="455481"/>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defTabSz="575986">
              <a:buClr>
                <a:srgbClr val="0A8276"/>
              </a:buClr>
              <a:buNone/>
              <a:defRPr/>
            </a:pPr>
            <a:r>
              <a:rPr lang="en-US" b="1" dirty="0"/>
              <a:t>38 products</a:t>
            </a:r>
            <a:r>
              <a:rPr lang="en-US" dirty="0"/>
              <a:t>			</a:t>
            </a:r>
          </a:p>
        </p:txBody>
      </p:sp>
      <p:sp>
        <p:nvSpPr>
          <p:cNvPr id="57" name="TextBox">
            <a:extLst>
              <a:ext uri="{FF2B5EF4-FFF2-40B4-BE49-F238E27FC236}">
                <a16:creationId xmlns:a16="http://schemas.microsoft.com/office/drawing/2014/main" id="{2B232F39-4D48-4DAB-D056-C4A6740782F0}"/>
              </a:ext>
            </a:extLst>
          </p:cNvPr>
          <p:cNvSpPr txBox="1"/>
          <p:nvPr>
            <p:custDataLst>
              <p:tags r:id="rId18"/>
            </p:custDataLst>
          </p:nvPr>
        </p:nvSpPr>
        <p:spPr bwMode="auto">
          <a:xfrm>
            <a:off x="5049204" y="3068960"/>
            <a:ext cx="2388175" cy="933905"/>
          </a:xfrm>
          <a:prstGeom prst="rect">
            <a:avLst/>
          </a:prstGeom>
        </p:spPr>
        <p:txBody>
          <a:bodyPr vert="horz" lIns="72000" tIns="72000" rIns="72000" bIns="72000" rtlCol="0" anchor="t">
            <a:noAutofit/>
          </a:bodyPr>
          <a:lstStyle>
            <a:lvl1pPr marL="216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800" baseline="0">
                <a:latin typeface="+mn-lt"/>
              </a:defRPr>
            </a:lvl1pPr>
            <a:lvl2pPr marL="432000" lvl="1"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sz="1600">
                <a:latin typeface="+mn-lt"/>
              </a:defRPr>
            </a:lvl2pPr>
            <a:lvl3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3pPr>
            <a:lvl4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4pPr>
            <a:lvl5pPr marL="648000" indent="-216000" defTabSz="576000" eaLnBrk="1" hangingPunct="1">
              <a:lnSpc>
                <a:spcPct val="120000"/>
              </a:lnSpc>
              <a:spcBef>
                <a:spcPts val="0"/>
              </a:spcBef>
              <a:spcAft>
                <a:spcPts val="0"/>
              </a:spcAft>
              <a:buClr>
                <a:schemeClr val="tx2"/>
              </a:buClr>
              <a:buSzPct val="100000"/>
              <a:buFont typeface="Symbol" panose="05050102010706020507" pitchFamily="18" charset="2"/>
              <a:buChar char="-"/>
              <a:defRPr baseline="0">
                <a:latin typeface="+mn-lt"/>
              </a:defRPr>
            </a:lvl5pPr>
            <a:lvl6pPr marL="648000" indent="-216000" defTabSz="576000" fontAlgn="base">
              <a:lnSpc>
                <a:spcPct val="120000"/>
              </a:lnSpc>
              <a:spcBef>
                <a:spcPts val="0"/>
              </a:spcBef>
              <a:spcAft>
                <a:spcPts val="0"/>
              </a:spcAft>
              <a:buClr>
                <a:schemeClr val="tx2"/>
              </a:buClr>
              <a:buFont typeface="Symbol" panose="05050102010706020507" pitchFamily="18" charset="2"/>
              <a:buChar char="-"/>
              <a:defRPr baseline="0">
                <a:latin typeface="+mn-lt"/>
              </a:defRPr>
            </a:lvl6pPr>
            <a:lvl7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7pPr>
            <a:lvl8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8pPr>
            <a:lvl9pPr marL="648000" indent="-216000" defTabSz="576000" fontAlgn="base">
              <a:lnSpc>
                <a:spcPct val="120000"/>
              </a:lnSpc>
              <a:spcBef>
                <a:spcPts val="0"/>
              </a:spcBef>
              <a:spcAft>
                <a:spcPct val="0"/>
              </a:spcAft>
              <a:buClr>
                <a:schemeClr val="tx2"/>
              </a:buClr>
              <a:buFont typeface="Symbol" panose="05050102010706020507" pitchFamily="18" charset="2"/>
              <a:buChar char="-"/>
              <a:defRPr>
                <a:latin typeface="+mn-lt"/>
              </a:defRPr>
            </a:lvl9pPr>
          </a:lstStyle>
          <a:p>
            <a:pPr marL="0" indent="0" algn="ctr" defTabSz="575986">
              <a:buClr>
                <a:srgbClr val="0A8276"/>
              </a:buClr>
              <a:buNone/>
              <a:defRPr/>
            </a:pPr>
            <a:r>
              <a:rPr lang="en-US" sz="5400" b="1">
                <a:solidFill>
                  <a:srgbClr val="0A8276"/>
                </a:solidFill>
              </a:rPr>
              <a:t>H7</a:t>
            </a:r>
            <a:r>
              <a:rPr lang="en-US" sz="2800"/>
              <a:t>	</a:t>
            </a:r>
            <a:endParaRPr lang="en-US" sz="2800" dirty="0"/>
          </a:p>
        </p:txBody>
      </p:sp>
    </p:spTree>
    <p:extLst>
      <p:ext uri="{BB962C8B-B14F-4D97-AF65-F5344CB8AC3E}">
        <p14:creationId xmlns:p14="http://schemas.microsoft.com/office/powerpoint/2010/main" val="1994574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7">
            <a:extLst>
              <a:ext uri="{FF2B5EF4-FFF2-40B4-BE49-F238E27FC236}">
                <a16:creationId xmlns:a16="http://schemas.microsoft.com/office/drawing/2014/main" id="{F54F3634-71B2-4C3A-A612-0AEFD5D3045B}"/>
              </a:ext>
            </a:extLst>
          </p:cNvPr>
          <p:cNvGraphicFramePr>
            <a:graphicFrameLocks noGrp="1"/>
          </p:cNvGraphicFramePr>
          <p:nvPr>
            <p:custDataLst>
              <p:tags r:id="rId1"/>
            </p:custDataLst>
            <p:extLst>
              <p:ext uri="{D42A27DB-BD31-4B8C-83A1-F6EECF244321}">
                <p14:modId xmlns:p14="http://schemas.microsoft.com/office/powerpoint/2010/main" val="919694803"/>
              </p:ext>
            </p:extLst>
          </p:nvPr>
        </p:nvGraphicFramePr>
        <p:xfrm>
          <a:off x="623392" y="764704"/>
          <a:ext cx="9777267" cy="5775055"/>
        </p:xfrm>
        <a:graphic>
          <a:graphicData uri="http://schemas.openxmlformats.org/drawingml/2006/table">
            <a:tbl>
              <a:tblPr firstRow="1" bandRow="1"/>
              <a:tblGrid>
                <a:gridCol w="475072">
                  <a:extLst>
                    <a:ext uri="{9D8B030D-6E8A-4147-A177-3AD203B41FA5}">
                      <a16:colId xmlns:a16="http://schemas.microsoft.com/office/drawing/2014/main" val="877986325"/>
                    </a:ext>
                  </a:extLst>
                </a:gridCol>
                <a:gridCol w="882276">
                  <a:extLst>
                    <a:ext uri="{9D8B030D-6E8A-4147-A177-3AD203B41FA5}">
                      <a16:colId xmlns:a16="http://schemas.microsoft.com/office/drawing/2014/main" val="97145014"/>
                    </a:ext>
                  </a:extLst>
                </a:gridCol>
                <a:gridCol w="1755214">
                  <a:extLst>
                    <a:ext uri="{9D8B030D-6E8A-4147-A177-3AD203B41FA5}">
                      <a16:colId xmlns:a16="http://schemas.microsoft.com/office/drawing/2014/main" val="2797500347"/>
                    </a:ext>
                  </a:extLst>
                </a:gridCol>
                <a:gridCol w="1531806">
                  <a:extLst>
                    <a:ext uri="{9D8B030D-6E8A-4147-A177-3AD203B41FA5}">
                      <a16:colId xmlns:a16="http://schemas.microsoft.com/office/drawing/2014/main" val="1974990070"/>
                    </a:ext>
                  </a:extLst>
                </a:gridCol>
                <a:gridCol w="1636575">
                  <a:extLst>
                    <a:ext uri="{9D8B030D-6E8A-4147-A177-3AD203B41FA5}">
                      <a16:colId xmlns:a16="http://schemas.microsoft.com/office/drawing/2014/main" val="20002"/>
                    </a:ext>
                  </a:extLst>
                </a:gridCol>
                <a:gridCol w="1824831">
                  <a:extLst>
                    <a:ext uri="{9D8B030D-6E8A-4147-A177-3AD203B41FA5}">
                      <a16:colId xmlns:a16="http://schemas.microsoft.com/office/drawing/2014/main" val="20003"/>
                    </a:ext>
                  </a:extLst>
                </a:gridCol>
                <a:gridCol w="1671493">
                  <a:extLst>
                    <a:ext uri="{9D8B030D-6E8A-4147-A177-3AD203B41FA5}">
                      <a16:colId xmlns:a16="http://schemas.microsoft.com/office/drawing/2014/main" val="20004"/>
                    </a:ext>
                  </a:extLst>
                </a:gridCol>
              </a:tblGrid>
              <a:tr h="615810">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lvl="0" algn="ctr">
                        <a:buClr>
                          <a:schemeClr val="tx1"/>
                        </a:buClr>
                      </a:pPr>
                      <a:endParaRPr lang="en-US" sz="1000" b="1" dirty="0">
                        <a:solidFill>
                          <a:schemeClr val="tx1"/>
                        </a:solidFill>
                        <a:latin typeface="Arial" panose="020B0604020202020204" pitchFamily="34" charset="0"/>
                        <a:cs typeface="Arial" panose="020B0604020202020204" pitchFamily="34" charset="0"/>
                      </a:endParaRPr>
                    </a:p>
                  </a:txBody>
                  <a:tcPr>
                    <a:lnL w="12700" cap="flat" cmpd="sng" algn="ctr">
                      <a:solidFill>
                        <a:srgbClr val="0A8276"/>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A8276"/>
                    </a:solidFill>
                  </a:tcPr>
                </a:tc>
                <a:tc>
                  <a:txBody>
                    <a:bodyPr/>
                    <a:lstStyle/>
                    <a:p>
                      <a:pPr lvl="0" algn="ctr">
                        <a:buClr>
                          <a:schemeClr val="tx1"/>
                        </a:buClr>
                      </a:pPr>
                      <a:r>
                        <a:rPr lang="en-US" sz="1100" b="1" kern="1200" dirty="0">
                          <a:solidFill>
                            <a:schemeClr val="lt1"/>
                          </a:solidFill>
                          <a:latin typeface="Arial"/>
                          <a:cs typeface="Arial"/>
                        </a:rPr>
                        <a:t>Current Inom</a:t>
                      </a:r>
                    </a:p>
                  </a:txBody>
                  <a:tcPr>
                    <a:lnL w="12700" cmpd="sng">
                      <a:solidFill>
                        <a:srgbClr val="FFFFFF"/>
                      </a:solidFill>
                    </a:lnL>
                    <a:lnR w="12700" cmpd="sng">
                      <a:solidFill>
                        <a:srgbClr val="FFFFFF"/>
                      </a:solidFill>
                    </a:lnR>
                    <a:lnT w="12700" cap="flat" cmpd="sng" algn="ctr">
                      <a:solidFill>
                        <a:srgbClr val="0A8276"/>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A8276"/>
                    </a:solidFill>
                  </a:tcPr>
                </a:tc>
                <a:tc>
                  <a:txBody>
                    <a:bodyPr/>
                    <a:lstStyle/>
                    <a:p>
                      <a:pPr marL="0" marR="0" lvl="0" indent="0" algn="l" defTabSz="1219170" rtl="0" eaLnBrk="1" fontAlgn="auto" latinLnBrk="0" hangingPunct="1">
                        <a:lnSpc>
                          <a:spcPct val="100000"/>
                        </a:lnSpc>
                        <a:spcBef>
                          <a:spcPts val="0"/>
                        </a:spcBef>
                        <a:spcAft>
                          <a:spcPts val="0"/>
                        </a:spcAft>
                        <a:buClr>
                          <a:schemeClr val="tx1"/>
                        </a:buClr>
                        <a:buSzTx/>
                        <a:buFontTx/>
                        <a:buNone/>
                        <a:tabLst/>
                        <a:defRPr/>
                      </a:pPr>
                      <a:r>
                        <a:rPr lang="en-US" sz="1100" b="1" kern="1200" dirty="0">
                          <a:solidFill>
                            <a:schemeClr val="lt1"/>
                          </a:solidFill>
                          <a:latin typeface="Arial"/>
                          <a:ea typeface="+mn-ea"/>
                          <a:cs typeface="Arial"/>
                        </a:rPr>
                        <a:t>TO-247-</a:t>
                      </a:r>
                      <a:r>
                        <a:rPr lang="sl-SI" sz="1100" b="1" kern="1200" dirty="0">
                          <a:solidFill>
                            <a:schemeClr val="lt1"/>
                          </a:solidFill>
                          <a:latin typeface="Arial"/>
                          <a:ea typeface="+mn-ea"/>
                          <a:cs typeface="Arial"/>
                        </a:rPr>
                        <a:t>3</a:t>
                      </a:r>
                      <a:r>
                        <a:rPr lang="en-US" sz="1100" b="1" kern="1200" dirty="0">
                          <a:solidFill>
                            <a:schemeClr val="lt1"/>
                          </a:solidFill>
                          <a:latin typeface="Arial"/>
                          <a:ea typeface="+mn-ea"/>
                          <a:cs typeface="Arial"/>
                        </a:rPr>
                        <a:t>-HCC </a:t>
                      </a:r>
                    </a:p>
                    <a:p>
                      <a:pPr marL="0" marR="0" lvl="0" indent="0" algn="l" defTabSz="1219170" rtl="0" eaLnBrk="1" fontAlgn="auto" latinLnBrk="0" hangingPunct="1">
                        <a:lnSpc>
                          <a:spcPct val="100000"/>
                        </a:lnSpc>
                        <a:spcBef>
                          <a:spcPts val="0"/>
                        </a:spcBef>
                        <a:spcAft>
                          <a:spcPts val="0"/>
                        </a:spcAft>
                        <a:buClr>
                          <a:schemeClr val="tx1"/>
                        </a:buClr>
                        <a:buSzTx/>
                        <a:buFontTx/>
                        <a:buNone/>
                        <a:tabLst/>
                        <a:defRPr/>
                      </a:pPr>
                      <a:r>
                        <a:rPr lang="en-US" sz="1100" b="1" kern="1200" dirty="0">
                          <a:solidFill>
                            <a:schemeClr val="lt1"/>
                          </a:solidFill>
                          <a:latin typeface="Arial"/>
                          <a:ea typeface="+mn-ea"/>
                          <a:cs typeface="Arial"/>
                        </a:rPr>
                        <a:t>high creepage,</a:t>
                      </a:r>
                    </a:p>
                    <a:p>
                      <a:pPr marL="0" marR="0" lvl="0" indent="0" algn="l" defTabSz="1219170" rtl="0" eaLnBrk="1" fontAlgn="auto" latinLnBrk="0" hangingPunct="1">
                        <a:lnSpc>
                          <a:spcPct val="100000"/>
                        </a:lnSpc>
                        <a:spcBef>
                          <a:spcPts val="0"/>
                        </a:spcBef>
                        <a:spcAft>
                          <a:spcPts val="0"/>
                        </a:spcAft>
                        <a:buClr>
                          <a:schemeClr val="tx1"/>
                        </a:buClr>
                        <a:buSzTx/>
                        <a:buFontTx/>
                        <a:buNone/>
                        <a:tabLst/>
                        <a:defRPr/>
                      </a:pPr>
                      <a:r>
                        <a:rPr lang="en-US" sz="1100" b="1" kern="1200" dirty="0">
                          <a:solidFill>
                            <a:schemeClr val="lt1"/>
                          </a:solidFill>
                          <a:latin typeface="Arial"/>
                          <a:ea typeface="+mn-ea"/>
                          <a:cs typeface="Arial"/>
                        </a:rPr>
                        <a:t>high clearance</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lvl="0">
                        <a:buClr>
                          <a:schemeClr val="tx1"/>
                        </a:buClr>
                      </a:pPr>
                      <a:r>
                        <a:rPr lang="en-US" sz="1100" dirty="0"/>
                        <a:t>TO-247-3</a:t>
                      </a:r>
                    </a:p>
                    <a:p>
                      <a:pPr lvl="0">
                        <a:buClr>
                          <a:schemeClr val="tx1"/>
                        </a:buClr>
                      </a:pPr>
                      <a:endParaRPr lang="en-US" sz="1100" dirty="0"/>
                    </a:p>
                    <a:p>
                      <a:pPr lvl="0">
                        <a:buClr>
                          <a:schemeClr val="tx1"/>
                        </a:buClr>
                      </a:pPr>
                      <a:endParaRPr lang="en-US" sz="1100" b="1" dirty="0">
                        <a:solidFill>
                          <a:schemeClr val="tx1"/>
                        </a:solidFill>
                        <a:latin typeface="Arial" panose="020B0604020202020204" pitchFamily="34"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marL="0" marR="0" lvl="0" indent="0" algn="l" defTabSz="914400" rtl="0" eaLnBrk="1" fontAlgn="auto" latinLnBrk="0" hangingPunct="1">
                        <a:lnSpc>
                          <a:spcPct val="100000"/>
                        </a:lnSpc>
                        <a:spcBef>
                          <a:spcPts val="0"/>
                        </a:spcBef>
                        <a:spcAft>
                          <a:spcPts val="0"/>
                        </a:spcAft>
                        <a:buClr>
                          <a:schemeClr val="bg1"/>
                        </a:buClr>
                        <a:buSzTx/>
                        <a:buFontTx/>
                        <a:buNone/>
                        <a:tabLst/>
                        <a:defRPr/>
                      </a:pPr>
                      <a:r>
                        <a:rPr lang="en-US" sz="1100" dirty="0"/>
                        <a:t>TO-247-4pin </a:t>
                      </a:r>
                      <a:endParaRPr lang="sl-SI" sz="1100" dirty="0"/>
                    </a:p>
                    <a:p>
                      <a:pPr marL="0" marR="0" lvl="0" indent="0" algn="l" defTabSz="914400" rtl="0" eaLnBrk="1" fontAlgn="auto" latinLnBrk="0" hangingPunct="1">
                        <a:lnSpc>
                          <a:spcPct val="100000"/>
                        </a:lnSpc>
                        <a:spcBef>
                          <a:spcPts val="0"/>
                        </a:spcBef>
                        <a:spcAft>
                          <a:spcPts val="0"/>
                        </a:spcAft>
                        <a:buClr>
                          <a:schemeClr val="bg1"/>
                        </a:buClr>
                        <a:buSzTx/>
                        <a:buFontTx/>
                        <a:buNone/>
                        <a:tabLst/>
                        <a:defRPr/>
                      </a:pPr>
                      <a:r>
                        <a:rPr lang="en-US" sz="1100" dirty="0"/>
                        <a:t>asymmetric</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lvl="0">
                        <a:buClr>
                          <a:schemeClr val="tx1"/>
                        </a:buClr>
                      </a:pPr>
                      <a:r>
                        <a:rPr lang="en-US" sz="1100" baseline="0" dirty="0"/>
                        <a:t>TO-247PLUS-3pin</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lvl1pPr marL="0" algn="l" defTabSz="1219170" rtl="0" eaLnBrk="1" latinLnBrk="0" hangingPunct="1">
                        <a:defRPr sz="1800" b="1" kern="1200">
                          <a:solidFill>
                            <a:schemeClr val="lt1"/>
                          </a:solidFill>
                          <a:latin typeface="Arial"/>
                          <a:ea typeface="Arial Unicode MS"/>
                          <a:cs typeface="Arial"/>
                        </a:defRPr>
                      </a:lvl1pPr>
                      <a:lvl2pPr marL="609585" algn="l" defTabSz="1219170" rtl="0" eaLnBrk="1" latinLnBrk="0" hangingPunct="1">
                        <a:defRPr sz="1800" b="1" kern="1200">
                          <a:solidFill>
                            <a:schemeClr val="lt1"/>
                          </a:solidFill>
                          <a:latin typeface="Arial"/>
                          <a:ea typeface="Arial Unicode MS"/>
                          <a:cs typeface="Arial"/>
                        </a:defRPr>
                      </a:lvl2pPr>
                      <a:lvl3pPr marL="1219170" algn="l" defTabSz="1219170" rtl="0" eaLnBrk="1" latinLnBrk="0" hangingPunct="1">
                        <a:defRPr sz="1800" b="1" kern="1200">
                          <a:solidFill>
                            <a:schemeClr val="lt1"/>
                          </a:solidFill>
                          <a:latin typeface="Arial"/>
                          <a:ea typeface="Arial Unicode MS"/>
                          <a:cs typeface="Arial"/>
                        </a:defRPr>
                      </a:lvl3pPr>
                      <a:lvl4pPr marL="1828754" algn="l" defTabSz="1219170" rtl="0" eaLnBrk="1" latinLnBrk="0" hangingPunct="1">
                        <a:defRPr sz="1800" b="1" kern="1200">
                          <a:solidFill>
                            <a:schemeClr val="lt1"/>
                          </a:solidFill>
                          <a:latin typeface="Arial"/>
                          <a:ea typeface="Arial Unicode MS"/>
                          <a:cs typeface="Arial"/>
                        </a:defRPr>
                      </a:lvl4pPr>
                      <a:lvl5pPr marL="2438339" algn="l" defTabSz="1219170" rtl="0" eaLnBrk="1" latinLnBrk="0" hangingPunct="1">
                        <a:defRPr sz="1800" b="1" kern="1200">
                          <a:solidFill>
                            <a:schemeClr val="lt1"/>
                          </a:solidFill>
                          <a:latin typeface="Arial"/>
                          <a:ea typeface="Arial Unicode MS"/>
                          <a:cs typeface="Arial"/>
                        </a:defRPr>
                      </a:lvl5pPr>
                      <a:lvl6pPr marL="3047924" algn="l" defTabSz="1219170" rtl="0" eaLnBrk="1" latinLnBrk="0" hangingPunct="1">
                        <a:defRPr sz="1800" b="1" kern="1200">
                          <a:solidFill>
                            <a:schemeClr val="lt1"/>
                          </a:solidFill>
                          <a:latin typeface="Arial"/>
                          <a:ea typeface="Arial Unicode MS"/>
                          <a:cs typeface="Arial"/>
                        </a:defRPr>
                      </a:lvl6pPr>
                      <a:lvl7pPr marL="3657509" algn="l" defTabSz="1219170" rtl="0" eaLnBrk="1" latinLnBrk="0" hangingPunct="1">
                        <a:defRPr sz="1800" b="1" kern="1200">
                          <a:solidFill>
                            <a:schemeClr val="lt1"/>
                          </a:solidFill>
                          <a:latin typeface="Arial"/>
                          <a:ea typeface="Arial Unicode MS"/>
                          <a:cs typeface="Arial"/>
                        </a:defRPr>
                      </a:lvl7pPr>
                      <a:lvl8pPr marL="4267093" algn="l" defTabSz="1219170" rtl="0" eaLnBrk="1" latinLnBrk="0" hangingPunct="1">
                        <a:defRPr sz="1800" b="1" kern="1200">
                          <a:solidFill>
                            <a:schemeClr val="lt1"/>
                          </a:solidFill>
                          <a:latin typeface="Arial"/>
                          <a:ea typeface="Arial Unicode MS"/>
                          <a:cs typeface="Arial"/>
                        </a:defRPr>
                      </a:lvl8pPr>
                      <a:lvl9pPr marL="4876678" algn="l" defTabSz="1219170" rtl="0" eaLnBrk="1" latinLnBrk="0" hangingPunct="1">
                        <a:defRPr sz="1800" b="1" kern="1200">
                          <a:solidFill>
                            <a:schemeClr val="lt1"/>
                          </a:solidFill>
                          <a:latin typeface="Arial"/>
                          <a:ea typeface="Arial Unicode MS"/>
                          <a:cs typeface="Arial"/>
                        </a:defRPr>
                      </a:lvl9pPr>
                    </a:lstStyle>
                    <a:p>
                      <a:pPr marL="0" marR="0" lvl="0" indent="0" algn="l" defTabSz="914400" rtl="0" eaLnBrk="1" fontAlgn="auto" latinLnBrk="0" hangingPunct="1">
                        <a:lnSpc>
                          <a:spcPct val="100000"/>
                        </a:lnSpc>
                        <a:spcBef>
                          <a:spcPts val="0"/>
                        </a:spcBef>
                        <a:spcAft>
                          <a:spcPts val="0"/>
                        </a:spcAft>
                        <a:buClr>
                          <a:schemeClr val="bg1"/>
                        </a:buClr>
                        <a:buSzTx/>
                        <a:buFontTx/>
                        <a:buNone/>
                        <a:tabLst/>
                        <a:defRPr/>
                      </a:pPr>
                      <a:r>
                        <a:rPr lang="en-US" sz="1100" kern="1200" dirty="0"/>
                        <a:t>TO-247PLUS-4pin</a:t>
                      </a:r>
                    </a:p>
                  </a:txBody>
                  <a:tcP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extLst>
                  <a:ext uri="{0D108BD9-81ED-4DB2-BD59-A6C34878D82A}">
                    <a16:rowId xmlns:a16="http://schemas.microsoft.com/office/drawing/2014/main" val="28268734"/>
                  </a:ext>
                </a:extLst>
              </a:tr>
              <a:tr h="275145">
                <a:tc rowSpan="6">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lvl="0" algn="ctr">
                        <a:buClr>
                          <a:schemeClr val="tx1"/>
                        </a:buClr>
                      </a:pPr>
                      <a:r>
                        <a:rPr lang="sl-SI" sz="2000" b="1" dirty="0">
                          <a:solidFill>
                            <a:schemeClr val="bg1"/>
                          </a:solidFill>
                        </a:rPr>
                        <a:t>650</a:t>
                      </a:r>
                      <a:r>
                        <a:rPr lang="en-US" sz="2000" b="1" dirty="0">
                          <a:solidFill>
                            <a:schemeClr val="bg1"/>
                          </a:solidFill>
                        </a:rPr>
                        <a:t> V</a:t>
                      </a:r>
                      <a:endParaRPr lang="en-US" sz="2000" b="1" dirty="0">
                        <a:solidFill>
                          <a:schemeClr val="bg1"/>
                        </a:solidFill>
                        <a:latin typeface="+mj-lt"/>
                        <a:cs typeface="Arial" panose="020B0604020202020204" pitchFamily="34" charset="0"/>
                      </a:endParaRPr>
                    </a:p>
                  </a:txBody>
                  <a:tcPr vert="vert270" anchor="ctr">
                    <a:lnL w="12700" cap="flat" cmpd="sng" algn="ctr">
                      <a:solidFill>
                        <a:srgbClr val="0A8276"/>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A8276"/>
                    </a:solidFill>
                  </a:tcPr>
                </a:tc>
                <a:tc>
                  <a:txBody>
                    <a:bodyPr/>
                    <a:lstStyle/>
                    <a:p>
                      <a:pPr lvl="0" algn="ctr">
                        <a:buClr>
                          <a:schemeClr val="tx1"/>
                        </a:buClr>
                      </a:pPr>
                      <a:r>
                        <a:rPr lang="en-US" sz="1100" kern="1200" dirty="0">
                          <a:solidFill>
                            <a:schemeClr val="dk1"/>
                          </a:solidFill>
                          <a:latin typeface="+mn-lt"/>
                          <a:ea typeface="+mn-ea"/>
                          <a:cs typeface="+mn-cs"/>
                        </a:rPr>
                        <a:t>40</a:t>
                      </a:r>
                      <a:r>
                        <a:rPr lang="sl-SI" sz="1100" kern="1200" dirty="0">
                          <a:solidFill>
                            <a:schemeClr val="dk1"/>
                          </a:solidFill>
                          <a:latin typeface="+mn-lt"/>
                          <a:ea typeface="+mn-ea"/>
                          <a:cs typeface="+mn-cs"/>
                        </a:rPr>
                        <a:t> A</a:t>
                      </a:r>
                      <a:endParaRPr lang="en-US" sz="1100" b="1" dirty="0">
                        <a:solidFill>
                          <a:schemeClr val="bg1"/>
                        </a:solidFill>
                        <a:latin typeface="+mj-lt"/>
                        <a:cs typeface="Arial" panose="020B0604020202020204" pitchFamily="34" charset="0"/>
                      </a:endParaRPr>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38100" cmpd="sng">
                      <a:solidFill>
                        <a:srgbClr val="FFFFFF"/>
                      </a:solidFill>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vl="0" algn="ctr">
                        <a:buClr>
                          <a:schemeClr val="tx1"/>
                        </a:buClr>
                      </a:pPr>
                      <a:r>
                        <a:rPr lang="en-US" sz="1100" b="0" kern="1200">
                          <a:solidFill>
                            <a:schemeClr val="dk1"/>
                          </a:solidFill>
                          <a:latin typeface="+mn-lt"/>
                          <a:ea typeface="+mn-ea"/>
                          <a:cs typeface="+mn-cs"/>
                        </a:rPr>
                        <a:t>IKWH40N65EH7</a:t>
                      </a:r>
                      <a:endParaRPr lang="en-US" sz="1100" b="1" dirty="0">
                        <a:solidFill>
                          <a:schemeClr val="bg1"/>
                        </a:solidFill>
                        <a:latin typeface="+mj-lt"/>
                        <a:cs typeface="Arial" panose="020B0604020202020204" pitchFamily="34" charset="0"/>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100" b="0" kern="1200" dirty="0">
                          <a:solidFill>
                            <a:schemeClr val="dk1"/>
                          </a:solidFill>
                          <a:latin typeface="+mn-lt"/>
                          <a:ea typeface="+mn-ea"/>
                          <a:cs typeface="+mn-cs"/>
                        </a:rPr>
                        <a:t>IKZA40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41593827"/>
                  </a:ext>
                </a:extLst>
              </a:tr>
              <a:tr h="305110">
                <a:tc vMerge="1">
                  <a:txBody>
                    <a:bodyPr/>
                    <a:lstStyle/>
                    <a:p>
                      <a:pPr lvl="0" algn="ctr">
                        <a:buClr>
                          <a:schemeClr val="tx1"/>
                        </a:buClr>
                      </a:pPr>
                      <a:endParaRPr lang="en-US" sz="1400" b="0" dirty="0">
                        <a:solidFill>
                          <a:schemeClr val="tx1"/>
                        </a:solidFill>
                        <a:latin typeface="+mj-lt"/>
                        <a:cs typeface="Arial" panose="020B0604020202020204" pitchFamily="34" charset="0"/>
                      </a:endParaRPr>
                    </a:p>
                  </a:txBody>
                  <a:tcPr marL="68580" marR="68580" marT="34290" marB="34290" vert="vert27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5E1"/>
                    </a:solidFill>
                  </a:tcPr>
                </a:tc>
                <a:tc>
                  <a:txBody>
                    <a:bodyPr/>
                    <a:lstStyle/>
                    <a:p>
                      <a:pPr algn="ctr"/>
                      <a:r>
                        <a:rPr lang="en-US" sz="1100" kern="1200" dirty="0">
                          <a:solidFill>
                            <a:schemeClr val="dk1"/>
                          </a:solidFill>
                          <a:latin typeface="+mn-lt"/>
                          <a:ea typeface="+mn-ea"/>
                          <a:cs typeface="+mn-cs"/>
                        </a:rPr>
                        <a:t>50</a:t>
                      </a:r>
                      <a:r>
                        <a:rPr lang="sl-SI" sz="1100" kern="1200" dirty="0">
                          <a:solidFill>
                            <a:schemeClr val="dk1"/>
                          </a:solidFill>
                          <a:latin typeface="+mn-lt"/>
                          <a:ea typeface="+mn-ea"/>
                          <a:cs typeface="+mn-cs"/>
                        </a:rPr>
                        <a:t> A</a:t>
                      </a:r>
                      <a:endParaRPr lang="de-AT" sz="1100" dirty="0"/>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a:solidFill>
                            <a:schemeClr val="dk1"/>
                          </a:solidFill>
                          <a:latin typeface="+mn-lt"/>
                          <a:ea typeface="+mn-ea"/>
                          <a:cs typeface="+mn-cs"/>
                        </a:rPr>
                        <a:t>IKWH50N65EH7</a:t>
                      </a:r>
                      <a:endParaRPr lang="de-AT" sz="1100" dirty="0"/>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100" b="0" kern="1200" dirty="0">
                          <a:solidFill>
                            <a:schemeClr val="dk1"/>
                          </a:solidFill>
                          <a:latin typeface="+mn-lt"/>
                          <a:ea typeface="+mn-ea"/>
                          <a:cs typeface="+mn-cs"/>
                        </a:rPr>
                        <a:t>IKZA50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55721120"/>
                  </a:ext>
                </a:extLst>
              </a:tr>
              <a:tr h="305110">
                <a:tc vMerge="1">
                  <a:txBody>
                    <a:bodyPr/>
                    <a:lstStyle/>
                    <a:p>
                      <a:pPr lvl="0" algn="ctr">
                        <a:buClr>
                          <a:schemeClr val="tx1"/>
                        </a:buClr>
                      </a:pPr>
                      <a:endParaRPr lang="en-US" sz="1400" b="0" dirty="0">
                        <a:solidFill>
                          <a:schemeClr val="tx1"/>
                        </a:solidFill>
                        <a:latin typeface="+mj-lt"/>
                        <a:cs typeface="Arial" panose="020B0604020202020204" pitchFamily="34" charset="0"/>
                      </a:endParaRPr>
                    </a:p>
                  </a:txBody>
                  <a:tcPr marL="68580" marR="68580" marT="34290" marB="34290" vert="vert27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5E1"/>
                    </a:solidFill>
                  </a:tcPr>
                </a:tc>
                <a:tc>
                  <a:txBody>
                    <a:bodyPr/>
                    <a:lstStyle/>
                    <a:p>
                      <a:pPr algn="ctr"/>
                      <a:r>
                        <a:rPr lang="en-US" sz="1100" kern="1200">
                          <a:solidFill>
                            <a:schemeClr val="dk1"/>
                          </a:solidFill>
                          <a:latin typeface="+mn-lt"/>
                          <a:ea typeface="+mn-ea"/>
                          <a:cs typeface="+mn-cs"/>
                        </a:rPr>
                        <a:t>75</a:t>
                      </a:r>
                      <a:r>
                        <a:rPr lang="sl-SI" sz="1100" kern="1200">
                          <a:solidFill>
                            <a:schemeClr val="dk1"/>
                          </a:solidFill>
                          <a:latin typeface="+mn-lt"/>
                          <a:ea typeface="+mn-ea"/>
                          <a:cs typeface="+mn-cs"/>
                        </a:rPr>
                        <a:t> A</a:t>
                      </a:r>
                      <a:endParaRPr lang="de-AT" sz="1100"/>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a:solidFill>
                            <a:schemeClr val="dk1"/>
                          </a:solidFill>
                          <a:latin typeface="+mn-lt"/>
                          <a:ea typeface="+mn-ea"/>
                          <a:cs typeface="+mn-cs"/>
                        </a:rPr>
                        <a:t>IKWH75N65EH7</a:t>
                      </a:r>
                      <a:endParaRPr lang="de-AT" sz="1100"/>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100" b="0" kern="1200" dirty="0">
                          <a:solidFill>
                            <a:schemeClr val="dk1"/>
                          </a:solidFill>
                          <a:latin typeface="+mn-lt"/>
                          <a:ea typeface="+mn-ea"/>
                          <a:cs typeface="+mn-cs"/>
                        </a:rPr>
                        <a:t>IKZA75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33916341"/>
                  </a:ext>
                </a:extLst>
              </a:tr>
              <a:tr h="305110">
                <a:tc vMerge="1">
                  <a:txBody>
                    <a:bodyPr/>
                    <a:lstStyle/>
                    <a:p>
                      <a:pPr lvl="0" algn="ctr">
                        <a:buClr>
                          <a:schemeClr val="tx1"/>
                        </a:buClr>
                      </a:pPr>
                      <a:endParaRPr lang="en-US" sz="1400" b="0" dirty="0">
                        <a:solidFill>
                          <a:schemeClr val="tx1"/>
                        </a:solidFill>
                        <a:latin typeface="+mj-lt"/>
                        <a:cs typeface="Arial" panose="020B0604020202020204" pitchFamily="34" charset="0"/>
                      </a:endParaRPr>
                    </a:p>
                  </a:txBody>
                  <a:tcPr marL="68580" marR="68580" marT="34290" marB="34290" vert="vert270">
                    <a:lnB w="12700" cap="flat" cmpd="sng" algn="ctr">
                      <a:solidFill>
                        <a:schemeClr val="bg1"/>
                      </a:solidFill>
                      <a:prstDash val="solid"/>
                      <a:round/>
                      <a:headEnd type="none" w="med" len="med"/>
                      <a:tailEnd type="none" w="med" len="med"/>
                    </a:lnB>
                    <a:solidFill>
                      <a:srgbClr val="D9E5E1"/>
                    </a:solidFill>
                  </a:tcPr>
                </a:tc>
                <a:tc>
                  <a:txBody>
                    <a:bodyPr/>
                    <a:lstStyle/>
                    <a:p>
                      <a:pPr algn="ctr"/>
                      <a:r>
                        <a:rPr lang="en-US" sz="1100" kern="1200" dirty="0">
                          <a:solidFill>
                            <a:schemeClr val="dk1"/>
                          </a:solidFill>
                          <a:latin typeface="+mn-lt"/>
                          <a:ea typeface="+mn-ea"/>
                          <a:cs typeface="+mn-cs"/>
                        </a:rPr>
                        <a:t>100</a:t>
                      </a:r>
                      <a:r>
                        <a:rPr lang="sl-SI" sz="1100" kern="1200" dirty="0">
                          <a:solidFill>
                            <a:schemeClr val="dk1"/>
                          </a:solidFill>
                          <a:latin typeface="+mn-lt"/>
                          <a:ea typeface="+mn-ea"/>
                          <a:cs typeface="+mn-cs"/>
                        </a:rPr>
                        <a:t> A</a:t>
                      </a:r>
                      <a:endParaRPr lang="de-AT" sz="1100" dirty="0"/>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a:solidFill>
                            <a:schemeClr val="dk1"/>
                          </a:solidFill>
                          <a:latin typeface="+mn-lt"/>
                          <a:ea typeface="+mn-ea"/>
                          <a:cs typeface="+mn-cs"/>
                        </a:rPr>
                        <a:t>IKWH100N65EH7</a:t>
                      </a:r>
                      <a:endParaRPr lang="de-AT" sz="1100" dirty="0"/>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100" b="0" kern="1200" dirty="0">
                          <a:solidFill>
                            <a:schemeClr val="dk1"/>
                          </a:solidFill>
                          <a:latin typeface="+mn-lt"/>
                          <a:ea typeface="+mn-ea"/>
                          <a:cs typeface="+mn-cs"/>
                        </a:rPr>
                        <a:t>IKZA100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98060082"/>
                  </a:ext>
                </a:extLst>
              </a:tr>
              <a:tr h="305110">
                <a:tc vMerge="1">
                  <a:txBody>
                    <a:bodyPr/>
                    <a:lstStyle/>
                    <a:p>
                      <a:pPr lvl="0" algn="ctr">
                        <a:buClr>
                          <a:schemeClr val="tx1"/>
                        </a:buClr>
                      </a:pPr>
                      <a:endParaRPr lang="en-US" sz="900" b="1" dirty="0">
                        <a:solidFill>
                          <a:schemeClr val="tx1"/>
                        </a:solidFill>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F3F1"/>
                    </a:solidFill>
                  </a:tcPr>
                </a:tc>
                <a:tc>
                  <a:txBody>
                    <a:bodyPr/>
                    <a:lstStyle/>
                    <a:p>
                      <a:pPr algn="ctr"/>
                      <a:r>
                        <a:rPr lang="en-US" sz="1100" kern="1200" dirty="0">
                          <a:solidFill>
                            <a:schemeClr val="dk1"/>
                          </a:solidFill>
                          <a:latin typeface="+mn-lt"/>
                          <a:ea typeface="+mn-ea"/>
                          <a:cs typeface="+mn-cs"/>
                        </a:rPr>
                        <a:t>120</a:t>
                      </a:r>
                      <a:r>
                        <a:rPr lang="sl-SI" sz="1100" kern="1200" dirty="0">
                          <a:solidFill>
                            <a:schemeClr val="dk1"/>
                          </a:solidFill>
                          <a:latin typeface="+mn-lt"/>
                          <a:ea typeface="+mn-ea"/>
                          <a:cs typeface="+mn-cs"/>
                        </a:rPr>
                        <a:t> A</a:t>
                      </a:r>
                      <a:endParaRPr lang="de-AT" sz="1100" dirty="0"/>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100" b="0" kern="1200" dirty="0">
                          <a:solidFill>
                            <a:schemeClr val="dk1"/>
                          </a:solidFill>
                          <a:latin typeface="+mn-lt"/>
                          <a:ea typeface="+mn-ea"/>
                          <a:cs typeface="+mn-cs"/>
                        </a:rPr>
                        <a:t>IKQ120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a:r>
                        <a:rPr lang="en-US" sz="1100" b="0" kern="1200" dirty="0">
                          <a:solidFill>
                            <a:schemeClr val="dk1"/>
                          </a:solidFill>
                          <a:latin typeface="+mn-lt"/>
                          <a:ea typeface="+mn-ea"/>
                          <a:cs typeface="+mn-cs"/>
                        </a:rPr>
                        <a:t>IKY120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21823234"/>
                  </a:ext>
                </a:extLst>
              </a:tr>
              <a:tr h="305110">
                <a:tc vMerge="1">
                  <a:txBody>
                    <a:bodyPr/>
                    <a:lstStyle/>
                    <a:p>
                      <a:pPr lvl="0" algn="ctr">
                        <a:buClr>
                          <a:schemeClr val="tx1"/>
                        </a:buClr>
                      </a:pPr>
                      <a:endParaRPr lang="en-US" sz="900" b="1" dirty="0">
                        <a:solidFill>
                          <a:schemeClr val="tx1"/>
                        </a:solidFill>
                        <a:latin typeface="Arial" panose="020B0604020202020204" pitchFamily="34" charset="0"/>
                        <a:cs typeface="Arial" panose="020B0604020202020204" pitchFamily="34" charset="0"/>
                      </a:endParaRP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E5E1"/>
                    </a:solidFill>
                  </a:tcPr>
                </a:tc>
                <a:tc>
                  <a:txBody>
                    <a:bodyPr/>
                    <a:lstStyle/>
                    <a:p>
                      <a:pPr algn="ctr"/>
                      <a:r>
                        <a:rPr lang="en-US" sz="1100" kern="1200" dirty="0">
                          <a:solidFill>
                            <a:schemeClr val="dk1"/>
                          </a:solidFill>
                          <a:latin typeface="+mn-lt"/>
                          <a:ea typeface="+mn-ea"/>
                          <a:cs typeface="+mn-cs"/>
                        </a:rPr>
                        <a:t>150</a:t>
                      </a:r>
                      <a:r>
                        <a:rPr lang="sl-SI" sz="1100" kern="1200" dirty="0">
                          <a:solidFill>
                            <a:schemeClr val="dk1"/>
                          </a:solidFill>
                          <a:latin typeface="+mn-lt"/>
                          <a:ea typeface="+mn-ea"/>
                          <a:cs typeface="+mn-cs"/>
                        </a:rPr>
                        <a:t> A</a:t>
                      </a:r>
                      <a:endParaRPr lang="de-AT" sz="1100" dirty="0"/>
                    </a:p>
                  </a:txBody>
                  <a:tcPr marL="121920" marR="121920" marT="60960" marB="6096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100" b="0" kern="1200" dirty="0">
                        <a:solidFill>
                          <a:schemeClr val="dk1"/>
                        </a:solidFill>
                        <a:latin typeface="+mn-lt"/>
                        <a:ea typeface="+mn-ea"/>
                        <a:cs typeface="+mn-cs"/>
                      </a:endParaRP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r>
                        <a:rPr lang="en-US" sz="1100" b="0" kern="1200" dirty="0">
                          <a:solidFill>
                            <a:schemeClr val="dk1"/>
                          </a:solidFill>
                          <a:latin typeface="+mn-lt"/>
                          <a:ea typeface="+mn-ea"/>
                          <a:cs typeface="+mn-cs"/>
                        </a:rPr>
                        <a:t>IKQ150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a:r>
                        <a:rPr lang="en-US" sz="1100" b="0" kern="1200" dirty="0">
                          <a:solidFill>
                            <a:schemeClr val="dk1"/>
                          </a:solidFill>
                          <a:latin typeface="+mn-lt"/>
                          <a:ea typeface="+mn-ea"/>
                          <a:cs typeface="+mn-cs"/>
                        </a:rPr>
                        <a:t>IKY150N65EH7</a:t>
                      </a:r>
                    </a:p>
                  </a:txBody>
                  <a:tcPr marL="121920" marR="121920" marT="60960" marB="6096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99131355"/>
                  </a:ext>
                </a:extLst>
              </a:tr>
              <a:tr h="145385">
                <a:tc gridSpan="7">
                  <a:txBody>
                    <a:bodyPr/>
                    <a:lstStyle/>
                    <a:p>
                      <a:pPr lvl="0" algn="ctr">
                        <a:buClr>
                          <a:schemeClr val="tx1"/>
                        </a:buClr>
                      </a:pPr>
                      <a:endParaRPr lang="en-US" sz="1100" b="1" dirty="0">
                        <a:solidFill>
                          <a:schemeClr val="bg1"/>
                        </a:solidFill>
                        <a:latin typeface="+mj-lt"/>
                        <a:cs typeface="Arial" panose="020B0604020202020204" pitchFamily="34" charset="0"/>
                      </a:endParaRPr>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hMerge="1">
                  <a:txBody>
                    <a:bodyPr/>
                    <a:lstStyle/>
                    <a:p>
                      <a:endParaRPr lang="de-AT"/>
                    </a:p>
                  </a:txBody>
                  <a:tcPr/>
                </a:tc>
                <a:tc hMerge="1">
                  <a:txBody>
                    <a:bodyPr/>
                    <a:lstStyle/>
                    <a:p>
                      <a:endParaRPr lang="de-AT"/>
                    </a:p>
                  </a:txBody>
                  <a:tcPr/>
                </a:tc>
                <a:tc hMerge="1">
                  <a:txBody>
                    <a:bodyPr/>
                    <a:lstStyle/>
                    <a:p>
                      <a:endParaRPr lang="de-AT"/>
                    </a:p>
                  </a:txBody>
                  <a:tcPr>
                    <a:lnL w="12700" cap="flat" cmpd="sng" algn="ctr">
                      <a:solidFill>
                        <a:srgbClr val="0A8276"/>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tc hMerge="1">
                  <a:txBody>
                    <a:bodyPr/>
                    <a:lstStyle/>
                    <a:p>
                      <a:endParaRPr lang="de-AT"/>
                    </a:p>
                  </a:txBody>
                  <a:tcPr>
                    <a:lnL w="1270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tc hMerge="1">
                  <a:txBody>
                    <a:bodyPr/>
                    <a:lstStyle/>
                    <a:p>
                      <a:endParaRPr lang="de-AT"/>
                    </a:p>
                  </a:txBody>
                  <a:tcPr>
                    <a:lnL w="1270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tc hMerge="1">
                  <a:txBody>
                    <a:bodyPr/>
                    <a:lstStyle/>
                    <a:p>
                      <a:endParaRPr lang="de-AT"/>
                    </a:p>
                  </a:txBody>
                  <a:tcPr>
                    <a:lnL w="1270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2895754499"/>
                  </a:ext>
                </a:extLst>
              </a:tr>
              <a:tr h="274599">
                <a:tc rowSpan="5">
                  <a:txBody>
                    <a:bodyPr/>
                    <a:lstStyle/>
                    <a:p>
                      <a:pPr lvl="0" algn="ctr">
                        <a:buClr>
                          <a:schemeClr val="tx1"/>
                        </a:buClr>
                      </a:pPr>
                      <a:r>
                        <a:rPr lang="en-US" sz="2000" b="1" dirty="0">
                          <a:solidFill>
                            <a:schemeClr val="bg1"/>
                          </a:solidFill>
                          <a:latin typeface="+mj-lt"/>
                          <a:cs typeface="Arial" panose="020B0604020202020204" pitchFamily="34" charset="0"/>
                        </a:rPr>
                        <a:t>750 V</a:t>
                      </a:r>
                    </a:p>
                  </a:txBody>
                  <a:tcPr vert="vert270" anchor="ctr">
                    <a:lnL w="12700" cap="flat" cmpd="sng" algn="ctr">
                      <a:solidFill>
                        <a:srgbClr val="0A827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p>
                      <a:pPr lvl="0" algn="ctr">
                        <a:buClr>
                          <a:schemeClr val="tx1"/>
                        </a:buClr>
                      </a:pPr>
                      <a:r>
                        <a:rPr lang="en-US" sz="1100" kern="1200">
                          <a:solidFill>
                            <a:schemeClr val="dk1"/>
                          </a:solidFill>
                          <a:latin typeface="+mn-lt"/>
                          <a:ea typeface="+mn-ea"/>
                          <a:cs typeface="+mn-cs"/>
                        </a:rPr>
                        <a:t>50 A</a:t>
                      </a:r>
                      <a:endParaRPr lang="en-US" sz="1100" b="1" dirty="0">
                        <a:solidFill>
                          <a:schemeClr val="bg1"/>
                        </a:solidFill>
                        <a:latin typeface="+mj-lt"/>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vl="0" algn="ctr">
                        <a:buClr>
                          <a:schemeClr val="tx1"/>
                        </a:buClr>
                      </a:pPr>
                      <a:r>
                        <a:rPr lang="en-US" sz="1100" b="0" kern="1200">
                          <a:solidFill>
                            <a:schemeClr val="dk1"/>
                          </a:solidFill>
                          <a:latin typeface="+mn-lt"/>
                          <a:ea typeface="+mn-ea"/>
                          <a:cs typeface="+mn-cs"/>
                        </a:rPr>
                        <a:t>IKWH50N75EH7</a:t>
                      </a:r>
                      <a:endParaRPr lang="en-US" sz="1100" b="1" dirty="0">
                        <a:solidFill>
                          <a:schemeClr val="bg1"/>
                        </a:solidFill>
                        <a:latin typeface="+mj-lt"/>
                        <a:cs typeface="Arial" panose="020B0604020202020204" pitchFamily="34" charset="0"/>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dirty="0">
                          <a:solidFill>
                            <a:schemeClr val="dk1"/>
                          </a:solidFill>
                          <a:latin typeface="+mn-lt"/>
                          <a:ea typeface="+mn-ea"/>
                          <a:cs typeface="+mn-cs"/>
                        </a:rPr>
                        <a:t>IKZA50N75EH7</a:t>
                      </a: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48006745"/>
                  </a:ext>
                </a:extLst>
              </a:tr>
              <a:tr h="274599">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8DEDA"/>
                    </a:solidFill>
                  </a:tcPr>
                </a:tc>
                <a:tc>
                  <a:txBody>
                    <a:bodyPr/>
                    <a:lstStyle/>
                    <a:p>
                      <a:pPr algn="ctr"/>
                      <a:r>
                        <a:rPr lang="en-US" sz="1100" kern="1200" dirty="0">
                          <a:solidFill>
                            <a:schemeClr val="dk1"/>
                          </a:solidFill>
                          <a:latin typeface="+mn-lt"/>
                          <a:ea typeface="+mn-ea"/>
                          <a:cs typeface="+mn-cs"/>
                        </a:rPr>
                        <a:t>75 A</a:t>
                      </a:r>
                      <a:endParaRPr lang="de-AT" sz="1100" dirty="0"/>
                    </a:p>
                  </a:txBody>
                  <a:tcPr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a:solidFill>
                            <a:schemeClr val="dk1"/>
                          </a:solidFill>
                          <a:latin typeface="+mn-lt"/>
                          <a:ea typeface="+mn-ea"/>
                          <a:cs typeface="+mn-cs"/>
                        </a:rPr>
                        <a:t>IKWH75N75EH7</a:t>
                      </a: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de-AT" sz="1100" b="0" kern="1200" dirty="0">
                          <a:solidFill>
                            <a:schemeClr val="dk1"/>
                          </a:solidFill>
                          <a:latin typeface="+mn-lt"/>
                          <a:ea typeface="+mn-ea"/>
                          <a:cs typeface="+mn-cs"/>
                        </a:rPr>
                        <a:t>IKZA75N75EH7</a:t>
                      </a: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72738050"/>
                  </a:ext>
                </a:extLst>
              </a:tr>
              <a:tr h="274599">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8DEDA"/>
                    </a:solidFill>
                  </a:tcPr>
                </a:tc>
                <a:tc>
                  <a:txBody>
                    <a:bodyPr/>
                    <a:lstStyle/>
                    <a:p>
                      <a:pPr algn="ctr"/>
                      <a:r>
                        <a:rPr lang="en-US" sz="1100" kern="1200" dirty="0">
                          <a:solidFill>
                            <a:schemeClr val="dk1"/>
                          </a:solidFill>
                          <a:latin typeface="+mn-lt"/>
                          <a:ea typeface="+mn-ea"/>
                          <a:cs typeface="+mn-cs"/>
                        </a:rPr>
                        <a:t>100 A</a:t>
                      </a:r>
                      <a:endParaRPr lang="de-AT" sz="1100" dirty="0"/>
                    </a:p>
                  </a:txBody>
                  <a:tcPr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a:solidFill>
                            <a:schemeClr val="dk1"/>
                          </a:solidFill>
                          <a:latin typeface="+mn-lt"/>
                          <a:ea typeface="+mn-ea"/>
                          <a:cs typeface="+mn-cs"/>
                        </a:rPr>
                        <a:t>IKWH100N75EH7</a:t>
                      </a: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dirty="0">
                          <a:solidFill>
                            <a:schemeClr val="dk1"/>
                          </a:solidFill>
                          <a:latin typeface="+mn-lt"/>
                          <a:ea typeface="+mn-ea"/>
                          <a:cs typeface="+mn-cs"/>
                        </a:rPr>
                        <a:t>IKZA100N75EH7</a:t>
                      </a: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0214523"/>
                  </a:ext>
                </a:extLst>
              </a:tr>
              <a:tr h="340225">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8DEDA"/>
                    </a:solidFill>
                  </a:tcPr>
                </a:tc>
                <a:tc>
                  <a:txBody>
                    <a:bodyPr/>
                    <a:lstStyle/>
                    <a:p>
                      <a:pPr algn="ctr"/>
                      <a:r>
                        <a:rPr lang="en-US" sz="1100" kern="1200" dirty="0">
                          <a:solidFill>
                            <a:schemeClr val="dk1"/>
                          </a:solidFill>
                          <a:latin typeface="+mn-lt"/>
                          <a:ea typeface="+mn-ea"/>
                          <a:cs typeface="+mn-cs"/>
                        </a:rPr>
                        <a:t>120 A</a:t>
                      </a:r>
                      <a:endParaRPr lang="de-AT" sz="1100" dirty="0"/>
                    </a:p>
                  </a:txBody>
                  <a:tcPr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dirty="0">
                          <a:solidFill>
                            <a:schemeClr val="dk1"/>
                          </a:solidFill>
                          <a:latin typeface="+mn-lt"/>
                          <a:ea typeface="+mn-ea"/>
                          <a:cs typeface="+mn-cs"/>
                        </a:rPr>
                        <a:t>IKQ120N75EH7</a:t>
                      </a: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dirty="0">
                          <a:solidFill>
                            <a:schemeClr val="dk1"/>
                          </a:solidFill>
                          <a:latin typeface="+mn-lt"/>
                          <a:ea typeface="+mn-ea"/>
                          <a:cs typeface="+mn-cs"/>
                        </a:rPr>
                        <a:t>IKY120N75EH7</a:t>
                      </a: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51232733"/>
                  </a:ext>
                </a:extLst>
              </a:tr>
              <a:tr h="270174">
                <a:tc vMerge="1">
                  <a:txBody>
                    <a:bodyPr/>
                    <a:lstStyle/>
                    <a:p>
                      <a:pPr lvl="0" algn="ctr">
                        <a:buClr>
                          <a:schemeClr val="tx1"/>
                        </a:buClr>
                      </a:pPr>
                      <a:endParaRPr lang="en-US" sz="2000" b="1" dirty="0">
                        <a:solidFill>
                          <a:schemeClr val="tx1"/>
                        </a:solidFill>
                        <a:latin typeface="+mj-lt"/>
                        <a:cs typeface="Arial" panose="020B0604020202020204" pitchFamily="34" charset="0"/>
                      </a:endParaRPr>
                    </a:p>
                  </a:txBody>
                  <a:tcPr vert="vert2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8DEDA"/>
                    </a:solidFill>
                  </a:tcPr>
                </a:tc>
                <a:tc>
                  <a:txBody>
                    <a:bodyPr/>
                    <a:lstStyle/>
                    <a:p>
                      <a:pPr algn="ctr"/>
                      <a:r>
                        <a:rPr lang="en-US" sz="1100" kern="1200" dirty="0">
                          <a:solidFill>
                            <a:schemeClr val="dk1"/>
                          </a:solidFill>
                          <a:latin typeface="+mn-lt"/>
                          <a:ea typeface="+mn-ea"/>
                          <a:cs typeface="+mn-cs"/>
                        </a:rPr>
                        <a:t>150 A</a:t>
                      </a:r>
                      <a:endParaRPr lang="de-AT" sz="1100" dirty="0"/>
                    </a:p>
                  </a:txBody>
                  <a:tcPr anchor="ctr">
                    <a:lnL w="12700" cap="flat" cmpd="sng" algn="ctr">
                      <a:solidFill>
                        <a:srgbClr val="FFFFFF"/>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b="0" kern="1200" dirty="0">
                          <a:solidFill>
                            <a:schemeClr val="dk1"/>
                          </a:solidFill>
                          <a:latin typeface="+mn-lt"/>
                          <a:ea typeface="+mn-ea"/>
                          <a:cs typeface="+mn-cs"/>
                        </a:rPr>
                        <a:t>IKQ150N75EH7</a:t>
                      </a: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100" b="0" kern="1200" dirty="0">
                          <a:solidFill>
                            <a:schemeClr val="dk1"/>
                          </a:solidFill>
                          <a:latin typeface="+mn-lt"/>
                          <a:ea typeface="+mn-ea"/>
                          <a:cs typeface="+mn-cs"/>
                        </a:rPr>
                        <a:t>IKY150N75EH7</a:t>
                      </a:r>
                      <a:endParaRPr lang="de-AT" sz="1100" b="0" kern="1200" dirty="0">
                        <a:solidFill>
                          <a:schemeClr val="dk1"/>
                        </a:solidFill>
                        <a:latin typeface="+mn-lt"/>
                        <a:ea typeface="+mn-ea"/>
                        <a:cs typeface="+mn-cs"/>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3211471"/>
                  </a:ext>
                </a:extLst>
              </a:tr>
              <a:tr h="116960">
                <a:tc gridSpan="7">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lvl="0" algn="ctr">
                        <a:buClr>
                          <a:schemeClr val="tx1"/>
                        </a:buClr>
                      </a:pPr>
                      <a:endParaRPr lang="en-US" sz="1100" b="1" dirty="0">
                        <a:solidFill>
                          <a:schemeClr val="bg1"/>
                        </a:solidFill>
                        <a:latin typeface="+mj-lt"/>
                        <a:cs typeface="Arial" panose="020B0604020202020204" pitchFamily="34" charset="0"/>
                      </a:endParaRPr>
                    </a:p>
                  </a:txBody>
                  <a:tcPr vert="vert27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hMerge="1">
                  <a:txBody>
                    <a:bodyPr/>
                    <a:lstStyle/>
                    <a:p>
                      <a:endParaRPr lang="de-AT"/>
                    </a:p>
                  </a:txBody>
                  <a:tcPr/>
                </a:tc>
                <a:tc hMerge="1">
                  <a:txBody>
                    <a:bodyPr/>
                    <a:lstStyle/>
                    <a:p>
                      <a:endParaRPr lang="de-AT"/>
                    </a:p>
                  </a:txBody>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2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A8276"/>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D5D7"/>
                    </a:solidFill>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2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D5D7"/>
                    </a:solidFill>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2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D5D7"/>
                    </a:solidFill>
                  </a:tcPr>
                </a:tc>
                <a:tc hMerge="1">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marL="0" marR="0" lvl="0" indent="0" algn="ctr" defTabSz="914400" rtl="0" eaLnBrk="1" fontAlgn="auto" latinLnBrk="0" hangingPunct="1">
                        <a:lnSpc>
                          <a:spcPct val="100000"/>
                        </a:lnSpc>
                        <a:spcBef>
                          <a:spcPts val="0"/>
                        </a:spcBef>
                        <a:spcAft>
                          <a:spcPts val="0"/>
                        </a:spcAft>
                        <a:buClr>
                          <a:schemeClr val="tx1"/>
                        </a:buClr>
                        <a:buSzTx/>
                        <a:buFontTx/>
                        <a:buNone/>
                        <a:tabLst/>
                        <a:defRPr/>
                      </a:pPr>
                      <a:endParaRPr lang="en-US" sz="12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D5D7"/>
                    </a:solidFill>
                  </a:tcPr>
                </a:tc>
                <a:extLst>
                  <a:ext uri="{0D108BD9-81ED-4DB2-BD59-A6C34878D82A}">
                    <a16:rowId xmlns:a16="http://schemas.microsoft.com/office/drawing/2014/main" val="3376772492"/>
                  </a:ext>
                </a:extLst>
              </a:tr>
              <a:tr h="274599">
                <a:tc rowSpan="6">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lvl="0" algn="ctr">
                        <a:buClr>
                          <a:schemeClr val="tx1"/>
                        </a:buClr>
                      </a:pPr>
                      <a:r>
                        <a:rPr lang="sl-SI" sz="2000" b="1" dirty="0">
                          <a:solidFill>
                            <a:schemeClr val="bg1"/>
                          </a:solidFill>
                        </a:rPr>
                        <a:t>1200</a:t>
                      </a:r>
                      <a:r>
                        <a:rPr lang="en-US" sz="2000" b="1" dirty="0">
                          <a:solidFill>
                            <a:schemeClr val="bg1"/>
                          </a:solidFill>
                        </a:rPr>
                        <a:t> V</a:t>
                      </a:r>
                      <a:endParaRPr lang="en-US" sz="2000" b="1" dirty="0">
                        <a:solidFill>
                          <a:schemeClr val="bg1"/>
                        </a:solidFill>
                        <a:latin typeface="+mj-lt"/>
                        <a:cs typeface="Arial" panose="020B0604020202020204" pitchFamily="34" charset="0"/>
                      </a:endParaRPr>
                    </a:p>
                  </a:txBody>
                  <a:tcPr vert="vert270" anchor="ctr">
                    <a:lnL w="12700" cap="flat" cmpd="sng" algn="ctr">
                      <a:solidFill>
                        <a:srgbClr val="0A8276"/>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0A8276"/>
                    </a:solidFill>
                  </a:tcPr>
                </a:tc>
                <a:tc>
                  <a:txBody>
                    <a:bodyPr/>
                    <a:lstStyle/>
                    <a:p>
                      <a:pPr lvl="0" algn="ctr">
                        <a:buClr>
                          <a:schemeClr val="tx1"/>
                        </a:buClr>
                      </a:pPr>
                      <a:r>
                        <a:rPr lang="en-US" sz="1100" kern="1200" dirty="0">
                          <a:solidFill>
                            <a:schemeClr val="dk1"/>
                          </a:solidFill>
                          <a:latin typeface="+mn-lt"/>
                          <a:ea typeface="+mn-ea"/>
                          <a:cs typeface="+mn-cs"/>
                        </a:rPr>
                        <a:t>40 A</a:t>
                      </a:r>
                      <a:endParaRPr lang="en-US" sz="1100" b="1" dirty="0">
                        <a:solidFill>
                          <a:schemeClr val="bg1"/>
                        </a:solidFill>
                        <a:latin typeface="+mj-lt"/>
                        <a:cs typeface="Arial" panose="020B0604020202020204" pitchFamily="34" charset="0"/>
                      </a:endParaRPr>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mpd="sng">
                      <a:solidFill>
                        <a:srgbClr val="FFFFFF"/>
                      </a:solidFill>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vl="0" algn="ctr">
                        <a:buClr>
                          <a:schemeClr val="tx1"/>
                        </a:buClr>
                      </a:pPr>
                      <a:endParaRPr lang="en-US" sz="1100" b="1" dirty="0">
                        <a:solidFill>
                          <a:schemeClr val="bg1"/>
                        </a:solidFill>
                        <a:latin typeface="+mj-lt"/>
                        <a:cs typeface="Arial" panose="020B0604020202020204" pitchFamily="34" charset="0"/>
                      </a:endParaRPr>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W40N120CH7</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ZA40N120CH7</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endParaRPr lang="en-US" sz="1100" b="0" kern="1200" dirty="0">
                        <a:solidFill>
                          <a:schemeClr val="dk1"/>
                        </a:solidFill>
                        <a:latin typeface="+mn-lt"/>
                        <a:ea typeface="+mn-ea"/>
                        <a:cs typeface="+mn-cs"/>
                      </a:endParaRP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6050290"/>
                  </a:ext>
                </a:extLst>
              </a:tr>
              <a:tr h="274599">
                <a:tc vMerge="1">
                  <a:txBody>
                    <a:bodyPr/>
                    <a:lstStyle/>
                    <a:p>
                      <a:pPr lvl="0" algn="ctr">
                        <a:buClr>
                          <a:schemeClr val="tx1"/>
                        </a:buClr>
                      </a:pPr>
                      <a:endParaRPr lang="en-US" sz="1200" b="0" dirty="0">
                        <a:solidFill>
                          <a:schemeClr val="tx1"/>
                        </a:solidFill>
                        <a:latin typeface="+mj-lt"/>
                        <a:cs typeface="Arial" panose="020B0604020202020204" pitchFamily="34" charset="0"/>
                      </a:endParaRPr>
                    </a:p>
                  </a:txBody>
                  <a:tcPr vert="vert270"/>
                </a:tc>
                <a:tc>
                  <a:txBody>
                    <a:bodyPr/>
                    <a:lstStyle/>
                    <a:p>
                      <a:pPr algn="ctr"/>
                      <a:r>
                        <a:rPr lang="en-US" sz="1100" kern="1200" dirty="0">
                          <a:solidFill>
                            <a:schemeClr val="dk1"/>
                          </a:solidFill>
                          <a:latin typeface="+mn-lt"/>
                          <a:ea typeface="+mn-ea"/>
                          <a:cs typeface="+mn-cs"/>
                        </a:rPr>
                        <a:t>50 A</a:t>
                      </a:r>
                      <a:endParaRPr lang="de-AT" sz="1100" dirty="0"/>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W50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ZA50N120CH7</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Q50N120CH7</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Y50N120CH7</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88609782"/>
                  </a:ext>
                </a:extLst>
              </a:tr>
              <a:tr h="274599">
                <a:tc vMerge="1">
                  <a:txBody>
                    <a:bodyPr/>
                    <a:lstStyle/>
                    <a:p>
                      <a:pPr lvl="0" algn="ctr">
                        <a:buClr>
                          <a:schemeClr val="tx1"/>
                        </a:buClr>
                      </a:pPr>
                      <a:endParaRPr lang="en-US" sz="1200" b="0" dirty="0">
                        <a:solidFill>
                          <a:schemeClr val="tx1"/>
                        </a:solidFill>
                        <a:latin typeface="+mj-lt"/>
                        <a:cs typeface="Arial" panose="020B0604020202020204" pitchFamily="34" charset="0"/>
                      </a:endParaRPr>
                    </a:p>
                  </a:txBody>
                  <a:tcPr vert="vert270"/>
                </a:tc>
                <a:tc>
                  <a:txBody>
                    <a:bodyPr/>
                    <a:lstStyle/>
                    <a:p>
                      <a:pPr algn="ctr"/>
                      <a:r>
                        <a:rPr lang="en-US" sz="1100" kern="1200" dirty="0">
                          <a:solidFill>
                            <a:schemeClr val="dk1"/>
                          </a:solidFill>
                          <a:latin typeface="+mn-lt"/>
                          <a:ea typeface="+mn-ea"/>
                          <a:cs typeface="+mn-cs"/>
                        </a:rPr>
                        <a:t>75 A</a:t>
                      </a:r>
                      <a:endParaRPr lang="de-AT" sz="1100" dirty="0"/>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W75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ZA75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Q75N120CH7</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Y75N120CH7</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6313333"/>
                  </a:ext>
                </a:extLst>
              </a:tr>
              <a:tr h="274599">
                <a:tc vMerge="1">
                  <a:txBody>
                    <a:bodyPr/>
                    <a:lstStyle/>
                    <a:p>
                      <a:pPr lvl="0" algn="ctr">
                        <a:buClr>
                          <a:schemeClr val="tx1"/>
                        </a:buClr>
                      </a:pPr>
                      <a:endParaRPr lang="en-US" sz="1200" b="0" dirty="0">
                        <a:solidFill>
                          <a:schemeClr val="tx1"/>
                        </a:solidFill>
                        <a:latin typeface="+mj-lt"/>
                        <a:cs typeface="Arial" panose="020B0604020202020204" pitchFamily="34" charset="0"/>
                      </a:endParaRPr>
                    </a:p>
                  </a:txBody>
                  <a:tcPr vert="vert270"/>
                </a:tc>
                <a:tc>
                  <a:txBody>
                    <a:bodyPr/>
                    <a:lstStyle/>
                    <a:p>
                      <a:pPr algn="ctr"/>
                      <a:r>
                        <a:rPr lang="en-US" sz="1100" kern="1200" dirty="0">
                          <a:solidFill>
                            <a:schemeClr val="dk1"/>
                          </a:solidFill>
                          <a:latin typeface="+mn-lt"/>
                          <a:ea typeface="+mn-ea"/>
                          <a:cs typeface="+mn-cs"/>
                        </a:rPr>
                        <a:t>100 A</a:t>
                      </a:r>
                      <a:endParaRPr lang="de-AT" sz="1100" dirty="0"/>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Q100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Y100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42835515"/>
                  </a:ext>
                </a:extLst>
              </a:tr>
              <a:tr h="274599">
                <a:tc vMerge="1">
                  <a:txBody>
                    <a:bodyPr/>
                    <a:lstStyle/>
                    <a:p>
                      <a:pPr lvl="0" algn="ctr">
                        <a:buClr>
                          <a:schemeClr val="tx1"/>
                        </a:buClr>
                      </a:pPr>
                      <a:endParaRPr lang="en-US" sz="1200" b="0" dirty="0">
                        <a:solidFill>
                          <a:schemeClr val="tx1"/>
                        </a:solidFill>
                        <a:latin typeface="+mj-lt"/>
                        <a:cs typeface="Arial" panose="020B0604020202020204" pitchFamily="34" charset="0"/>
                      </a:endParaRPr>
                    </a:p>
                  </a:txBody>
                  <a:tcPr vert="vert270"/>
                </a:tc>
                <a:tc>
                  <a:txBody>
                    <a:bodyPr/>
                    <a:lstStyle/>
                    <a:p>
                      <a:pPr algn="ctr"/>
                      <a:r>
                        <a:rPr lang="en-US" sz="1100" kern="1200" dirty="0">
                          <a:solidFill>
                            <a:schemeClr val="dk1"/>
                          </a:solidFill>
                          <a:latin typeface="+mn-lt"/>
                          <a:ea typeface="+mn-ea"/>
                          <a:cs typeface="+mn-cs"/>
                        </a:rPr>
                        <a:t>120 A</a:t>
                      </a:r>
                      <a:endParaRPr lang="de-AT" sz="1100" dirty="0"/>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t"/>
                      <a:r>
                        <a:rPr lang="en-US" sz="1100" b="0" kern="1200" dirty="0">
                          <a:solidFill>
                            <a:schemeClr val="dk1"/>
                          </a:solidFill>
                          <a:latin typeface="+mn-lt"/>
                          <a:ea typeface="+mn-ea"/>
                          <a:cs typeface="+mn-cs"/>
                        </a:rPr>
                        <a:t>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t"/>
                      <a:r>
                        <a:rPr lang="en-US" sz="1100" b="0" kern="1200" dirty="0">
                          <a:solidFill>
                            <a:schemeClr val="dk1"/>
                          </a:solidFill>
                          <a:latin typeface="+mn-lt"/>
                          <a:ea typeface="+mn-ea"/>
                          <a:cs typeface="+mn-cs"/>
                        </a:rPr>
                        <a:t>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tx1"/>
                          </a:solidFill>
                          <a:latin typeface="+mn-lt"/>
                          <a:ea typeface="+mn-ea"/>
                          <a:cs typeface="+mn-cs"/>
                        </a:rPr>
                        <a:t>IKQ120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Y120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68153654"/>
                  </a:ext>
                </a:extLst>
              </a:tr>
              <a:tr h="274599">
                <a:tc vMerge="1">
                  <a:txBody>
                    <a:bodyPr/>
                    <a:lstStyle/>
                    <a:p>
                      <a:pPr lvl="0" algn="ctr">
                        <a:buClr>
                          <a:schemeClr val="tx1"/>
                        </a:buClr>
                      </a:pPr>
                      <a:endParaRPr lang="en-US" sz="1200" b="1" dirty="0">
                        <a:solidFill>
                          <a:schemeClr val="tx1"/>
                        </a:solidFill>
                        <a:latin typeface="+mj-lt"/>
                        <a:cs typeface="Arial" panose="020B0604020202020204" pitchFamily="34" charset="0"/>
                      </a:endParaRPr>
                    </a:p>
                  </a:txBody>
                  <a:tcPr vert="vert270"/>
                </a:tc>
                <a:tc>
                  <a:txBody>
                    <a:bodyPr/>
                    <a:lstStyle/>
                    <a:p>
                      <a:pPr algn="ctr"/>
                      <a:r>
                        <a:rPr lang="sl-SI" sz="1100" kern="1200" dirty="0">
                          <a:solidFill>
                            <a:schemeClr val="dk1"/>
                          </a:solidFill>
                          <a:latin typeface="+mn-lt"/>
                          <a:ea typeface="+mn-ea"/>
                          <a:cs typeface="+mn-cs"/>
                        </a:rPr>
                        <a:t>140 A</a:t>
                      </a:r>
                      <a:endParaRPr lang="de-AT" sz="1100" dirty="0"/>
                    </a:p>
                  </a:txBody>
                  <a:tcPr marL="7144" marR="7144" marT="7144" marB="0" anchor="ctr">
                    <a:lnL w="12700" cmpd="sng">
                      <a:solidFill>
                        <a:srgbClr val="FFFFFF"/>
                      </a:solidFill>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de-AT" sz="1100" dirty="0"/>
                    </a:p>
                  </a:txBody>
                  <a:tcPr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t"/>
                      <a:endParaRPr lang="en-US" sz="1100" b="0" kern="1200" dirty="0">
                        <a:solidFill>
                          <a:schemeClr val="dk1"/>
                        </a:solidFill>
                        <a:latin typeface="+mn-lt"/>
                        <a:ea typeface="+mn-ea"/>
                        <a:cs typeface="+mn-cs"/>
                      </a:endParaRP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t"/>
                      <a:endParaRPr lang="en-US" sz="1100" b="0" kern="1200" dirty="0">
                        <a:solidFill>
                          <a:schemeClr val="dk1"/>
                        </a:solidFill>
                        <a:latin typeface="+mn-lt"/>
                        <a:ea typeface="+mn-ea"/>
                        <a:cs typeface="+mn-cs"/>
                      </a:endParaRP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tx1"/>
                          </a:solidFill>
                          <a:latin typeface="+mn-lt"/>
                          <a:ea typeface="+mn-ea"/>
                          <a:cs typeface="+mn-cs"/>
                        </a:rPr>
                        <a:t>IKQ140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1800" kern="1200">
                          <a:solidFill>
                            <a:schemeClr val="dk1"/>
                          </a:solidFill>
                          <a:latin typeface="Arial"/>
                          <a:ea typeface="Arial Unicode MS"/>
                          <a:cs typeface="Arial"/>
                        </a:defRPr>
                      </a:lvl1pPr>
                      <a:lvl2pPr marL="609585" algn="l" defTabSz="1219170" rtl="0" eaLnBrk="1" latinLnBrk="0" hangingPunct="1">
                        <a:defRPr sz="1800" kern="1200">
                          <a:solidFill>
                            <a:schemeClr val="dk1"/>
                          </a:solidFill>
                          <a:latin typeface="Arial"/>
                          <a:ea typeface="Arial Unicode MS"/>
                          <a:cs typeface="Arial"/>
                        </a:defRPr>
                      </a:lvl2pPr>
                      <a:lvl3pPr marL="1219170" algn="l" defTabSz="1219170" rtl="0" eaLnBrk="1" latinLnBrk="0" hangingPunct="1">
                        <a:defRPr sz="1800" kern="1200">
                          <a:solidFill>
                            <a:schemeClr val="dk1"/>
                          </a:solidFill>
                          <a:latin typeface="Arial"/>
                          <a:ea typeface="Arial Unicode MS"/>
                          <a:cs typeface="Arial"/>
                        </a:defRPr>
                      </a:lvl3pPr>
                      <a:lvl4pPr marL="1828754" algn="l" defTabSz="1219170" rtl="0" eaLnBrk="1" latinLnBrk="0" hangingPunct="1">
                        <a:defRPr sz="1800" kern="1200">
                          <a:solidFill>
                            <a:schemeClr val="dk1"/>
                          </a:solidFill>
                          <a:latin typeface="Arial"/>
                          <a:ea typeface="Arial Unicode MS"/>
                          <a:cs typeface="Arial"/>
                        </a:defRPr>
                      </a:lvl4pPr>
                      <a:lvl5pPr marL="2438339" algn="l" defTabSz="1219170" rtl="0" eaLnBrk="1" latinLnBrk="0" hangingPunct="1">
                        <a:defRPr sz="1800" kern="1200">
                          <a:solidFill>
                            <a:schemeClr val="dk1"/>
                          </a:solidFill>
                          <a:latin typeface="Arial"/>
                          <a:ea typeface="Arial Unicode MS"/>
                          <a:cs typeface="Arial"/>
                        </a:defRPr>
                      </a:lvl5pPr>
                      <a:lvl6pPr marL="3047924" algn="l" defTabSz="1219170" rtl="0" eaLnBrk="1" latinLnBrk="0" hangingPunct="1">
                        <a:defRPr sz="1800" kern="1200">
                          <a:solidFill>
                            <a:schemeClr val="dk1"/>
                          </a:solidFill>
                          <a:latin typeface="Arial"/>
                          <a:ea typeface="Arial Unicode MS"/>
                          <a:cs typeface="Arial"/>
                        </a:defRPr>
                      </a:lvl6pPr>
                      <a:lvl7pPr marL="3657509" algn="l" defTabSz="1219170" rtl="0" eaLnBrk="1" latinLnBrk="0" hangingPunct="1">
                        <a:defRPr sz="1800" kern="1200">
                          <a:solidFill>
                            <a:schemeClr val="dk1"/>
                          </a:solidFill>
                          <a:latin typeface="Arial"/>
                          <a:ea typeface="Arial Unicode MS"/>
                          <a:cs typeface="Arial"/>
                        </a:defRPr>
                      </a:lvl7pPr>
                      <a:lvl8pPr marL="4267093" algn="l" defTabSz="1219170" rtl="0" eaLnBrk="1" latinLnBrk="0" hangingPunct="1">
                        <a:defRPr sz="1800" kern="1200">
                          <a:solidFill>
                            <a:schemeClr val="dk1"/>
                          </a:solidFill>
                          <a:latin typeface="Arial"/>
                          <a:ea typeface="Arial Unicode MS"/>
                          <a:cs typeface="Arial"/>
                        </a:defRPr>
                      </a:lvl8pPr>
                      <a:lvl9pPr marL="4876678" algn="l" defTabSz="1219170" rtl="0" eaLnBrk="1" latinLnBrk="0" hangingPunct="1">
                        <a:defRPr sz="1800" kern="1200">
                          <a:solidFill>
                            <a:schemeClr val="dk1"/>
                          </a:solidFill>
                          <a:latin typeface="Arial"/>
                          <a:ea typeface="Arial Unicode MS"/>
                          <a:cs typeface="Arial"/>
                        </a:defRPr>
                      </a:lvl9pPr>
                    </a:lstStyle>
                    <a:p>
                      <a:pPr algn="ctr" fontAlgn="b"/>
                      <a:r>
                        <a:rPr lang="en-US" sz="1100" b="0" kern="1200" dirty="0">
                          <a:solidFill>
                            <a:schemeClr val="dk1"/>
                          </a:solidFill>
                          <a:latin typeface="+mn-lt"/>
                          <a:ea typeface="+mn-ea"/>
                          <a:cs typeface="+mn-cs"/>
                        </a:rPr>
                        <a:t>IKY140N120CH7 </a:t>
                      </a:r>
                    </a:p>
                  </a:txBody>
                  <a:tcPr marL="7144" marR="7144" marT="7144" marB="0" anchor="ctr">
                    <a:lnL w="12700" cap="flat" cmpd="sng" algn="ctr">
                      <a:solidFill>
                        <a:srgbClr val="0A8276"/>
                      </a:solidFill>
                      <a:prstDash val="solid"/>
                      <a:round/>
                      <a:headEnd type="none" w="med" len="med"/>
                      <a:tailEnd type="none" w="med" len="med"/>
                    </a:lnL>
                    <a:lnR w="12700" cap="flat" cmpd="sng" algn="ctr">
                      <a:solidFill>
                        <a:srgbClr val="0A8276"/>
                      </a:solidFill>
                      <a:prstDash val="solid"/>
                      <a:round/>
                      <a:headEnd type="none" w="med" len="med"/>
                      <a:tailEnd type="none" w="med" len="med"/>
                    </a:lnR>
                    <a:lnT w="12700" cap="flat" cmpd="sng" algn="ctr">
                      <a:solidFill>
                        <a:srgbClr val="0A8276"/>
                      </a:solidFill>
                      <a:prstDash val="solid"/>
                      <a:round/>
                      <a:headEnd type="none" w="med" len="med"/>
                      <a:tailEnd type="none" w="med" len="med"/>
                    </a:lnT>
                    <a:lnB w="12700" cap="flat" cmpd="sng" algn="ctr">
                      <a:solidFill>
                        <a:srgbClr val="0A827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9632459"/>
                  </a:ext>
                </a:extLst>
              </a:tr>
            </a:tbl>
          </a:graphicData>
        </a:graphic>
      </p:graphicFrame>
      <p:pic>
        <p:nvPicPr>
          <p:cNvPr id="25" name="Picture 24">
            <a:extLst>
              <a:ext uri="{FF2B5EF4-FFF2-40B4-BE49-F238E27FC236}">
                <a16:creationId xmlns:a16="http://schemas.microsoft.com/office/drawing/2014/main" id="{BE157E2C-416F-4114-BDB3-47BA069F41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61812" y="779892"/>
            <a:ext cx="427863" cy="541142"/>
          </a:xfrm>
          <a:prstGeom prst="rect">
            <a:avLst/>
          </a:prstGeom>
        </p:spPr>
      </p:pic>
      <p:pic>
        <p:nvPicPr>
          <p:cNvPr id="26" name="Picture 25">
            <a:extLst>
              <a:ext uri="{FF2B5EF4-FFF2-40B4-BE49-F238E27FC236}">
                <a16:creationId xmlns:a16="http://schemas.microsoft.com/office/drawing/2014/main" id="{D4FDFC95-9434-42D8-8F27-144013A281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51843" y="779892"/>
            <a:ext cx="427863" cy="562977"/>
          </a:xfrm>
          <a:prstGeom prst="rect">
            <a:avLst/>
          </a:prstGeom>
        </p:spPr>
      </p:pic>
      <p:pic>
        <p:nvPicPr>
          <p:cNvPr id="27" name="Picture 26">
            <a:extLst>
              <a:ext uri="{FF2B5EF4-FFF2-40B4-BE49-F238E27FC236}">
                <a16:creationId xmlns:a16="http://schemas.microsoft.com/office/drawing/2014/main" id="{36853DCF-A9AD-4542-87A3-AD26729E5ED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41603" y="779892"/>
            <a:ext cx="427863" cy="562977"/>
          </a:xfrm>
          <a:prstGeom prst="rect">
            <a:avLst/>
          </a:prstGeom>
        </p:spPr>
      </p:pic>
      <p:pic>
        <p:nvPicPr>
          <p:cNvPr id="28" name="Picture 27">
            <a:extLst>
              <a:ext uri="{FF2B5EF4-FFF2-40B4-BE49-F238E27FC236}">
                <a16:creationId xmlns:a16="http://schemas.microsoft.com/office/drawing/2014/main" id="{B7813781-C4ED-47C1-B646-9C00971F06F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20421" y="779892"/>
            <a:ext cx="427863" cy="562977"/>
          </a:xfrm>
          <a:prstGeom prst="rect">
            <a:avLst/>
          </a:prstGeom>
        </p:spPr>
      </p:pic>
      <p:pic>
        <p:nvPicPr>
          <p:cNvPr id="29" name="Picture 28">
            <a:extLst>
              <a:ext uri="{FF2B5EF4-FFF2-40B4-BE49-F238E27FC236}">
                <a16:creationId xmlns:a16="http://schemas.microsoft.com/office/drawing/2014/main" id="{550C8899-C055-4DAC-86DD-20F014D7ED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20949" y="779892"/>
            <a:ext cx="427863" cy="561010"/>
          </a:xfrm>
          <a:prstGeom prst="rect">
            <a:avLst/>
          </a:prstGeom>
        </p:spPr>
      </p:pic>
      <p:sp>
        <p:nvSpPr>
          <p:cNvPr id="2" name="Title 2">
            <a:extLst>
              <a:ext uri="{FF2B5EF4-FFF2-40B4-BE49-F238E27FC236}">
                <a16:creationId xmlns:a16="http://schemas.microsoft.com/office/drawing/2014/main" id="{F04EB4AE-4F19-E7A8-6D45-4E80C13C5315}"/>
              </a:ext>
            </a:extLst>
          </p:cNvPr>
          <p:cNvSpPr>
            <a:spLocks noGrp="1"/>
          </p:cNvSpPr>
          <p:nvPr>
            <p:ph type="title"/>
          </p:nvPr>
        </p:nvSpPr>
        <p:spPr>
          <a:xfrm>
            <a:off x="623392" y="44624"/>
            <a:ext cx="6458236" cy="720000"/>
          </a:xfrm>
          <a:noFill/>
          <a:ln/>
          <a:extLst>
            <a:ext uri="{909E8E84-426E-40DD-AFC4-6F175D3DCCD1}">
              <a14:hiddenFill xmlns:a14="http://schemas.microsoft.com/office/drawing/2010/main">
                <a:solidFill>
                  <a:srgbClr val="FFFFFF">
                    <a:alpha val="0"/>
                  </a:srgbClr>
                </a:solidFill>
              </a14:hiddenFill>
            </a:ext>
          </a:extLst>
        </p:spPr>
        <p:txBody>
          <a:bodyPr lIns="0" tIns="0" rIns="0" bIns="10800" anchor="b">
            <a:noAutofit/>
          </a:bodyPr>
          <a:lstStyle/>
          <a:p>
            <a:r>
              <a:rPr lang="de-AT" sz="2000" dirty="0">
                <a:solidFill>
                  <a:srgbClr val="0A8276"/>
                </a:solidFill>
                <a:latin typeface="Arial" panose="020B0604020202020204" pitchFamily="34" charset="0"/>
              </a:rPr>
              <a:t>TRENCHSTOP</a:t>
            </a:r>
            <a:r>
              <a:rPr lang="de-AT" sz="2000" baseline="30000" dirty="0">
                <a:solidFill>
                  <a:srgbClr val="0A8276"/>
                </a:solidFill>
                <a:latin typeface="Arial" panose="020B0604020202020204" pitchFamily="34" charset="0"/>
              </a:rPr>
              <a:t>TM</a:t>
            </a:r>
            <a:r>
              <a:rPr lang="de-AT" sz="2000" dirty="0">
                <a:solidFill>
                  <a:srgbClr val="0A8276"/>
                </a:solidFill>
                <a:latin typeface="Arial" panose="020B0604020202020204" pitchFamily="34" charset="0"/>
              </a:rPr>
              <a:t> IGBT7</a:t>
            </a:r>
            <a:r>
              <a:rPr lang="sl-SI" sz="2000" dirty="0">
                <a:solidFill>
                  <a:srgbClr val="0A8276"/>
                </a:solidFill>
                <a:latin typeface="Arial" panose="020B0604020202020204" pitchFamily="34" charset="0"/>
              </a:rPr>
              <a:t> H7</a:t>
            </a:r>
            <a:r>
              <a:rPr lang="de-AT" sz="2000" dirty="0">
                <a:solidFill>
                  <a:srgbClr val="0A8276"/>
                </a:solidFill>
                <a:latin typeface="Arial" panose="020B0604020202020204" pitchFamily="34" charset="0"/>
              </a:rPr>
              <a:t> family</a:t>
            </a:r>
            <a:br>
              <a:rPr lang="sl-SI" sz="2000" dirty="0">
                <a:solidFill>
                  <a:srgbClr val="0A8276"/>
                </a:solidFill>
                <a:latin typeface="Arial" panose="020B0604020202020204" pitchFamily="34" charset="0"/>
              </a:rPr>
            </a:br>
            <a:r>
              <a:rPr lang="sl-SI" sz="2000" dirty="0">
                <a:solidFill>
                  <a:srgbClr val="0A8276"/>
                </a:solidFill>
                <a:latin typeface="Arial" panose="020B0604020202020204" pitchFamily="34" charset="0"/>
              </a:rPr>
              <a:t>for </a:t>
            </a:r>
            <a:r>
              <a:rPr lang="de-DE" sz="2000" dirty="0">
                <a:solidFill>
                  <a:srgbClr val="0A8276"/>
                </a:solidFill>
                <a:latin typeface="Arial" panose="020B0604020202020204" pitchFamily="34" charset="0"/>
              </a:rPr>
              <a:t>s</a:t>
            </a:r>
            <a:r>
              <a:rPr lang="sl-SI" sz="2000" dirty="0">
                <a:solidFill>
                  <a:srgbClr val="0A8276"/>
                </a:solidFill>
                <a:latin typeface="Arial" panose="020B0604020202020204" pitchFamily="34" charset="0"/>
              </a:rPr>
              <a:t>olar, ESS and EV </a:t>
            </a:r>
            <a:r>
              <a:rPr lang="de-DE" sz="2000" dirty="0">
                <a:solidFill>
                  <a:srgbClr val="0A8276"/>
                </a:solidFill>
                <a:latin typeface="Arial" panose="020B0604020202020204" pitchFamily="34" charset="0"/>
              </a:rPr>
              <a:t>c</a:t>
            </a:r>
            <a:r>
              <a:rPr lang="sl-SI" sz="2000" dirty="0">
                <a:solidFill>
                  <a:srgbClr val="0A8276"/>
                </a:solidFill>
                <a:latin typeface="Arial" panose="020B0604020202020204" pitchFamily="34" charset="0"/>
              </a:rPr>
              <a:t>harging applications</a:t>
            </a:r>
            <a:endParaRPr lang="de-AT" sz="2000" dirty="0">
              <a:solidFill>
                <a:srgbClr val="0A8276"/>
              </a:solidFill>
              <a:latin typeface="Arial" panose="020B0604020202020204" pitchFamily="34" charset="0"/>
            </a:endParaRPr>
          </a:p>
        </p:txBody>
      </p:sp>
      <p:pic>
        <p:nvPicPr>
          <p:cNvPr id="9" name="Picture 8">
            <a:extLst>
              <a:ext uri="{FF2B5EF4-FFF2-40B4-BE49-F238E27FC236}">
                <a16:creationId xmlns:a16="http://schemas.microsoft.com/office/drawing/2014/main" id="{47DEF526-06CE-4149-B7B3-D888663BD3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21057" y="2132856"/>
            <a:ext cx="1080120" cy="1080120"/>
          </a:xfrm>
          <a:prstGeom prst="rect">
            <a:avLst/>
          </a:prstGeom>
        </p:spPr>
      </p:pic>
      <p:sp>
        <p:nvSpPr>
          <p:cNvPr id="11" name="Rectangle 10">
            <a:extLst>
              <a:ext uri="{FF2B5EF4-FFF2-40B4-BE49-F238E27FC236}">
                <a16:creationId xmlns:a16="http://schemas.microsoft.com/office/drawing/2014/main" id="{D0804BDE-0E1A-D2DC-A2E1-F5761453D986}"/>
              </a:ext>
            </a:extLst>
          </p:cNvPr>
          <p:cNvSpPr/>
          <p:nvPr/>
        </p:nvSpPr>
        <p:spPr bwMode="auto">
          <a:xfrm>
            <a:off x="10453322" y="3328416"/>
            <a:ext cx="1415590" cy="1444752"/>
          </a:xfrm>
          <a:prstGeom prst="rect">
            <a:avLst/>
          </a:prstGeom>
          <a:solidFill>
            <a:srgbClr val="6CB4AD"/>
          </a:solidFill>
          <a:ln w="9525">
            <a:noFill/>
            <a:miter lim="800000"/>
            <a:headEnd/>
            <a:tailEnd/>
          </a:ln>
        </p:spPr>
        <p:txBody>
          <a:bodyPr wrap="square" lIns="72000" tIns="72000" rIns="72000" bIns="72000" rtlCol="0" anchor="ctr"/>
          <a:lstStyle/>
          <a:p>
            <a:pPr algn="ctr" defTabSz="576000" eaLnBrk="0" hangingPunct="0">
              <a:lnSpc>
                <a:spcPct val="120000"/>
              </a:lnSpc>
            </a:pPr>
            <a:r>
              <a:rPr lang="en-US" sz="1600" baseline="0" dirty="0">
                <a:solidFill>
                  <a:schemeClr val="bg1"/>
                </a:solidFill>
                <a:latin typeface="+mn-lt"/>
                <a:ea typeface="+mn-ea"/>
                <a:cs typeface="+mn-cs"/>
              </a:rPr>
              <a:t>New Release:</a:t>
            </a:r>
            <a:br>
              <a:rPr lang="en-US" sz="1600" baseline="0" dirty="0">
                <a:solidFill>
                  <a:schemeClr val="bg1"/>
                </a:solidFill>
                <a:latin typeface="+mn-lt"/>
                <a:ea typeface="+mn-ea"/>
                <a:cs typeface="+mn-cs"/>
              </a:rPr>
            </a:br>
            <a:r>
              <a:rPr lang="en-US" sz="1600" baseline="0" dirty="0">
                <a:solidFill>
                  <a:schemeClr val="bg1"/>
                </a:solidFill>
                <a:latin typeface="+mn-lt"/>
                <a:ea typeface="+mn-ea"/>
                <a:cs typeface="+mn-cs"/>
              </a:rPr>
              <a:t>October 2025</a:t>
            </a:r>
            <a:endParaRPr lang="de-AT" sz="1600" baseline="0" dirty="0">
              <a:solidFill>
                <a:schemeClr val="bg1"/>
              </a:solidFill>
              <a:latin typeface="+mn-lt"/>
              <a:ea typeface="+mn-ea"/>
              <a:cs typeface="+mn-cs"/>
            </a:endParaRPr>
          </a:p>
        </p:txBody>
      </p:sp>
    </p:spTree>
    <p:extLst>
      <p:ext uri="{BB962C8B-B14F-4D97-AF65-F5344CB8AC3E}">
        <p14:creationId xmlns:p14="http://schemas.microsoft.com/office/powerpoint/2010/main" val="16083553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B2A61CE9-E2B1-4DFE-B48A-CBCB1544E65C}"/>
              </a:ext>
            </a:extLst>
          </p:cNvPr>
          <p:cNvGrpSpPr/>
          <p:nvPr/>
        </p:nvGrpSpPr>
        <p:grpSpPr>
          <a:xfrm>
            <a:off x="602304" y="4725144"/>
            <a:ext cx="538403" cy="216674"/>
            <a:chOff x="1008066" y="4345928"/>
            <a:chExt cx="511366" cy="216674"/>
          </a:xfrm>
        </p:grpSpPr>
        <p:grpSp>
          <p:nvGrpSpPr>
            <p:cNvPr id="96" name="Group 95">
              <a:extLst>
                <a:ext uri="{FF2B5EF4-FFF2-40B4-BE49-F238E27FC236}">
                  <a16:creationId xmlns:a16="http://schemas.microsoft.com/office/drawing/2014/main" id="{4DF590C2-E4EF-45AA-8E15-956B9DFADAA6}"/>
                </a:ext>
              </a:extLst>
            </p:cNvPr>
            <p:cNvGrpSpPr/>
            <p:nvPr/>
          </p:nvGrpSpPr>
          <p:grpSpPr>
            <a:xfrm>
              <a:off x="1008066" y="4345928"/>
              <a:ext cx="511366" cy="216674"/>
              <a:chOff x="974653" y="4867882"/>
              <a:chExt cx="511366" cy="216674"/>
            </a:xfrm>
          </p:grpSpPr>
          <p:sp>
            <p:nvSpPr>
              <p:cNvPr id="98" name="Rectangle 97">
                <a:extLst>
                  <a:ext uri="{FF2B5EF4-FFF2-40B4-BE49-F238E27FC236}">
                    <a16:creationId xmlns:a16="http://schemas.microsoft.com/office/drawing/2014/main" id="{8FC66257-56C8-4936-AAC6-AED759A0DA8C}"/>
                  </a:ext>
                </a:extLst>
              </p:cNvPr>
              <p:cNvSpPr/>
              <p:nvPr/>
            </p:nvSpPr>
            <p:spPr bwMode="auto">
              <a:xfrm>
                <a:off x="974653" y="4867882"/>
                <a:ext cx="252000"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9" name="Rectangle 98">
                <a:extLst>
                  <a:ext uri="{FF2B5EF4-FFF2-40B4-BE49-F238E27FC236}">
                    <a16:creationId xmlns:a16="http://schemas.microsoft.com/office/drawing/2014/main" id="{E157ABE7-1772-4F60-897E-75DDF1C6F44D}"/>
                  </a:ext>
                </a:extLst>
              </p:cNvPr>
              <p:cNvSpPr/>
              <p:nvPr/>
            </p:nvSpPr>
            <p:spPr bwMode="auto">
              <a:xfrm>
                <a:off x="1234019" y="4868556"/>
                <a:ext cx="252000"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97" name="TextBox 96">
              <a:extLst>
                <a:ext uri="{FF2B5EF4-FFF2-40B4-BE49-F238E27FC236}">
                  <a16:creationId xmlns:a16="http://schemas.microsoft.com/office/drawing/2014/main" id="{64AD36F7-BF3C-4548-BCA7-E5D69D13E2A6}"/>
                </a:ext>
              </a:extLst>
            </p:cNvPr>
            <p:cNvSpPr txBox="1"/>
            <p:nvPr/>
          </p:nvSpPr>
          <p:spPr bwMode="auto">
            <a:xfrm>
              <a:off x="1015084" y="4354278"/>
              <a:ext cx="490237" cy="184474"/>
            </a:xfrm>
            <a:prstGeom prst="rect">
              <a:avLst/>
            </a:prstGeom>
            <a:noFill/>
            <a:ln w="9525">
              <a:noFill/>
              <a:miter lim="800000"/>
              <a:headEnd/>
              <a:tailEnd/>
            </a:ln>
            <a:effectLst/>
          </p:spPr>
          <p:txBody>
            <a:bodyPr wrap="square" lIns="0" tIns="0" rIns="0" bIns="0" rtlCol="0" anchor="t" anchorCtr="0">
              <a:spAutoFit/>
            </a:bodyPr>
            <a:lstStyle/>
            <a:p>
              <a:pPr marL="0" marR="0" lvl="0" indent="0" algn="ctr" defTabSz="576000" rtl="0" eaLnBrk="0" fontAlgn="auto" latinLnBrk="0" hangingPunct="0">
                <a:lnSpc>
                  <a:spcPct val="120000"/>
                </a:lnSpc>
                <a:spcBef>
                  <a:spcPts val="0"/>
                </a:spcBef>
                <a:spcAft>
                  <a:spcPts val="0"/>
                </a:spcAft>
                <a:buClr>
                  <a:srgbClr val="0A8276"/>
                </a:buClr>
                <a:buSzTx/>
                <a:buFontTx/>
                <a:buNone/>
                <a:tabLst/>
                <a:defRPr/>
              </a:pPr>
              <a:r>
                <a:rPr lang="sl-SI" sz="1100" kern="0" dirty="0">
                  <a:solidFill>
                    <a:srgbClr val="1D1D1D"/>
                  </a:solidFill>
                  <a:latin typeface="Arial"/>
                  <a:cs typeface="Arial"/>
                </a:rPr>
                <a:t>4</a:t>
              </a:r>
              <a:r>
                <a:rPr kumimoji="0" lang="de-AT" sz="1100" b="0" i="0" u="none" strike="noStrike" kern="0" cap="none" spc="0" normalizeH="0" baseline="0" noProof="0" dirty="0">
                  <a:ln>
                    <a:noFill/>
                  </a:ln>
                  <a:solidFill>
                    <a:srgbClr val="1D1D1D"/>
                  </a:solidFill>
                  <a:effectLst/>
                  <a:uLnTx/>
                  <a:uFillTx/>
                  <a:latin typeface="Arial"/>
                  <a:ea typeface="+mn-ea"/>
                  <a:cs typeface="Arial"/>
                </a:rPr>
                <a:t>0 A</a:t>
              </a:r>
            </a:p>
          </p:txBody>
        </p:sp>
      </p:grpSp>
      <p:pic>
        <p:nvPicPr>
          <p:cNvPr id="14" name="Picture 13">
            <a:extLst>
              <a:ext uri="{FF2B5EF4-FFF2-40B4-BE49-F238E27FC236}">
                <a16:creationId xmlns:a16="http://schemas.microsoft.com/office/drawing/2014/main" id="{FC8992E0-518E-470D-AF07-5C179C7C2B87}"/>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165046" y="2364242"/>
            <a:ext cx="754490" cy="992750"/>
          </a:xfrm>
          <a:prstGeom prst="rect">
            <a:avLst/>
          </a:prstGeom>
        </p:spPr>
      </p:pic>
      <p:pic>
        <p:nvPicPr>
          <p:cNvPr id="49" name="Picture 48">
            <a:extLst>
              <a:ext uri="{FF2B5EF4-FFF2-40B4-BE49-F238E27FC236}">
                <a16:creationId xmlns:a16="http://schemas.microsoft.com/office/drawing/2014/main" id="{20F1EC01-8012-430E-8FA2-45C6496E5E3C}"/>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455253" y="2294707"/>
            <a:ext cx="768592" cy="1011306"/>
          </a:xfrm>
          <a:prstGeom prst="rect">
            <a:avLst/>
          </a:prstGeom>
        </p:spPr>
      </p:pic>
      <p:pic>
        <p:nvPicPr>
          <p:cNvPr id="10" name="Picture 9">
            <a:extLst>
              <a:ext uri="{FF2B5EF4-FFF2-40B4-BE49-F238E27FC236}">
                <a16:creationId xmlns:a16="http://schemas.microsoft.com/office/drawing/2014/main" id="{EDA1865D-21E6-4FA6-B222-6896F4DF5C08}"/>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154030" y="1469518"/>
            <a:ext cx="755826" cy="955935"/>
          </a:xfrm>
          <a:prstGeom prst="rect">
            <a:avLst/>
          </a:prstGeom>
        </p:spPr>
      </p:pic>
      <p:pic>
        <p:nvPicPr>
          <p:cNvPr id="8" name="Picture 7">
            <a:extLst>
              <a:ext uri="{FF2B5EF4-FFF2-40B4-BE49-F238E27FC236}">
                <a16:creationId xmlns:a16="http://schemas.microsoft.com/office/drawing/2014/main" id="{698603B8-C16A-438E-8E47-0197956BCE84}"/>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480507" y="1383652"/>
            <a:ext cx="763779" cy="994504"/>
          </a:xfrm>
          <a:prstGeom prst="rect">
            <a:avLst/>
          </a:prstGeom>
        </p:spPr>
      </p:pic>
      <p:sp>
        <p:nvSpPr>
          <p:cNvPr id="17" name="Titel 16"/>
          <p:cNvSpPr>
            <a:spLocks noGrp="1"/>
          </p:cNvSpPr>
          <p:nvPr>
            <p:ph type="title" hasCustomPrompt="1"/>
          </p:nvPr>
        </p:nvSpPr>
        <p:spPr/>
        <p:txBody>
          <a:bodyPr/>
          <a:lstStyle/>
          <a:p>
            <a:r>
              <a:rPr lang="de-AT" dirty="0"/>
              <a:t>TRENCHSTOP</a:t>
            </a:r>
            <a:r>
              <a:rPr lang="de-AT" baseline="30000" dirty="0"/>
              <a:t>TM</a:t>
            </a:r>
            <a:r>
              <a:rPr lang="de-AT" dirty="0"/>
              <a:t> IGBT7</a:t>
            </a:r>
            <a:r>
              <a:rPr lang="sl-SI" dirty="0"/>
              <a:t> H7</a:t>
            </a:r>
            <a:r>
              <a:rPr lang="de-AT" dirty="0"/>
              <a:t> family</a:t>
            </a:r>
            <a:br>
              <a:rPr lang="sl-SI" dirty="0"/>
            </a:br>
            <a:r>
              <a:rPr lang="sl-SI" b="0" dirty="0"/>
              <a:t>for </a:t>
            </a:r>
            <a:r>
              <a:rPr lang="de-DE" b="0" dirty="0"/>
              <a:t>s</a:t>
            </a:r>
            <a:r>
              <a:rPr lang="sl-SI" b="0" dirty="0"/>
              <a:t>olar, ESS and EV </a:t>
            </a:r>
            <a:r>
              <a:rPr lang="de-DE" b="0" dirty="0"/>
              <a:t>c</a:t>
            </a:r>
            <a:r>
              <a:rPr lang="sl-SI" b="0" dirty="0"/>
              <a:t>harging applications</a:t>
            </a:r>
            <a:endParaRPr lang="de-AT" baseline="30000" dirty="0"/>
          </a:p>
        </p:txBody>
      </p:sp>
      <p:sp>
        <p:nvSpPr>
          <p:cNvPr id="51" name="Rectangle 50">
            <a:extLst>
              <a:ext uri="{FF2B5EF4-FFF2-40B4-BE49-F238E27FC236}">
                <a16:creationId xmlns:a16="http://schemas.microsoft.com/office/drawing/2014/main" id="{2C096474-97B9-1811-0088-DE19422C1E75}"/>
              </a:ext>
            </a:extLst>
          </p:cNvPr>
          <p:cNvSpPr/>
          <p:nvPr>
            <p:custDataLst>
              <p:tags r:id="rId2"/>
            </p:custDataLst>
          </p:nvPr>
        </p:nvSpPr>
        <p:spPr bwMode="auto">
          <a:xfrm>
            <a:off x="2089969" y="1329211"/>
            <a:ext cx="1975643"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Value Proposition</a:t>
            </a:r>
          </a:p>
        </p:txBody>
      </p:sp>
      <p:sp>
        <p:nvSpPr>
          <p:cNvPr id="52" name="Rectangle 51">
            <a:extLst>
              <a:ext uri="{FF2B5EF4-FFF2-40B4-BE49-F238E27FC236}">
                <a16:creationId xmlns:a16="http://schemas.microsoft.com/office/drawing/2014/main" id="{BD298039-6708-3315-7EB9-46A234398EA4}"/>
              </a:ext>
            </a:extLst>
          </p:cNvPr>
          <p:cNvSpPr/>
          <p:nvPr>
            <p:custDataLst>
              <p:tags r:id="rId3"/>
            </p:custDataLst>
          </p:nvPr>
        </p:nvSpPr>
        <p:spPr bwMode="auto">
          <a:xfrm>
            <a:off x="4374028" y="2726867"/>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Maximize system output power</a:t>
            </a:r>
            <a:endParaRPr kumimoji="0" lang="en-US" sz="1400" b="1" i="0" u="none" strike="noStrike" kern="1200" cap="none" spc="0" normalizeH="0" baseline="0" noProof="0" dirty="0">
              <a:ln>
                <a:noFill/>
              </a:ln>
              <a:solidFill>
                <a:srgbClr val="1D1D1D"/>
              </a:solidFill>
              <a:effectLst/>
              <a:uLnTx/>
              <a:uFillTx/>
              <a:latin typeface="Arial" panose="020B0604020202020204" pitchFamily="34" charset="0"/>
              <a:ea typeface="Verdana" pitchFamily="34" charset="0"/>
              <a:cs typeface="Arial" panose="020B0604020202020204" pitchFamily="34" charset="0"/>
            </a:endParaRPr>
          </a:p>
        </p:txBody>
      </p:sp>
      <p:sp>
        <p:nvSpPr>
          <p:cNvPr id="53" name="Rectangle 52">
            <a:extLst>
              <a:ext uri="{FF2B5EF4-FFF2-40B4-BE49-F238E27FC236}">
                <a16:creationId xmlns:a16="http://schemas.microsoft.com/office/drawing/2014/main" id="{035F2719-5C9D-2AD4-D6EE-17F1827176B2}"/>
              </a:ext>
            </a:extLst>
          </p:cNvPr>
          <p:cNvSpPr/>
          <p:nvPr>
            <p:custDataLst>
              <p:tags r:id="rId4"/>
            </p:custDataLst>
          </p:nvPr>
        </p:nvSpPr>
        <p:spPr bwMode="auto">
          <a:xfrm>
            <a:off x="1991544" y="2762256"/>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Power Density</a:t>
            </a:r>
            <a:endParaRPr lang="en-US" dirty="0">
              <a:solidFill>
                <a:srgbClr val="FFFFFF"/>
              </a:solidFill>
              <a:latin typeface="Arial" panose="020B0604020202020204" pitchFamily="34" charset="0"/>
              <a:ea typeface="Verdana" pitchFamily="34" charset="0"/>
              <a:cs typeface="Arial" panose="020B0604020202020204" pitchFamily="34" charset="0"/>
            </a:endParaRPr>
          </a:p>
        </p:txBody>
      </p:sp>
      <p:sp>
        <p:nvSpPr>
          <p:cNvPr id="55" name="Rectangle 54">
            <a:extLst>
              <a:ext uri="{FF2B5EF4-FFF2-40B4-BE49-F238E27FC236}">
                <a16:creationId xmlns:a16="http://schemas.microsoft.com/office/drawing/2014/main" id="{CB57C2FB-EEAB-42CD-0651-40A4A99472FC}"/>
              </a:ext>
            </a:extLst>
          </p:cNvPr>
          <p:cNvSpPr/>
          <p:nvPr>
            <p:custDataLst>
              <p:tags r:id="rId5"/>
            </p:custDataLst>
          </p:nvPr>
        </p:nvSpPr>
        <p:spPr bwMode="auto">
          <a:xfrm>
            <a:off x="7392119" y="2726867"/>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b="1" dirty="0">
                <a:latin typeface="Arial" panose="020B0604020202020204" pitchFamily="34" charset="0"/>
                <a:ea typeface="Verdana" pitchFamily="34" charset="0"/>
                <a:cs typeface="Arial" panose="020B0604020202020204" pitchFamily="34" charset="0"/>
              </a:rPr>
              <a:t>Highest power density</a:t>
            </a:r>
            <a:r>
              <a:rPr lang="en-US" dirty="0">
                <a:latin typeface="Arial" panose="020B0604020202020204" pitchFamily="34" charset="0"/>
                <a:ea typeface="Verdana" pitchFamily="34" charset="0"/>
                <a:cs typeface="Arial" panose="020B0604020202020204" pitchFamily="34" charset="0"/>
              </a:rPr>
              <a:t>, first on</a:t>
            </a:r>
            <a:r>
              <a:rPr lang="sl-SI" dirty="0">
                <a:latin typeface="Arial" panose="020B0604020202020204" pitchFamily="34" charset="0"/>
                <a:ea typeface="Verdana" pitchFamily="34" charset="0"/>
                <a:cs typeface="Arial" panose="020B0604020202020204" pitchFamily="34" charset="0"/>
              </a:rPr>
              <a:t> </a:t>
            </a:r>
            <a:r>
              <a:rPr lang="en-US" dirty="0">
                <a:latin typeface="Arial" panose="020B0604020202020204" pitchFamily="34" charset="0"/>
                <a:ea typeface="Verdana" pitchFamily="34" charset="0"/>
                <a:cs typeface="Arial" panose="020B0604020202020204" pitchFamily="34" charset="0"/>
              </a:rPr>
              <a:t>the market with </a:t>
            </a:r>
            <a:r>
              <a:rPr lang="en-US" b="1" dirty="0">
                <a:latin typeface="Arial" panose="020B0604020202020204" pitchFamily="34" charset="0"/>
                <a:ea typeface="Verdana" pitchFamily="34" charset="0"/>
                <a:cs typeface="Arial" panose="020B0604020202020204" pitchFamily="34" charset="0"/>
              </a:rPr>
              <a:t>140A rating</a:t>
            </a:r>
            <a:r>
              <a:rPr lang="en-US" dirty="0">
                <a:latin typeface="Arial" panose="020B0604020202020204" pitchFamily="34" charset="0"/>
                <a:ea typeface="Verdana" pitchFamily="34" charset="0"/>
                <a:cs typeface="Arial" panose="020B0604020202020204" pitchFamily="34" charset="0"/>
              </a:rPr>
              <a:t> in</a:t>
            </a:r>
            <a:r>
              <a:rPr lang="sl-SI" dirty="0">
                <a:latin typeface="Arial" panose="020B0604020202020204" pitchFamily="34" charset="0"/>
                <a:ea typeface="Verdana" pitchFamily="34" charset="0"/>
                <a:cs typeface="Arial" panose="020B0604020202020204" pitchFamily="34" charset="0"/>
              </a:rPr>
              <a:t> </a:t>
            </a:r>
            <a:r>
              <a:rPr lang="en-US" dirty="0">
                <a:latin typeface="Arial" panose="020B0604020202020204" pitchFamily="34" charset="0"/>
                <a:ea typeface="Verdana" pitchFamily="34" charset="0"/>
                <a:cs typeface="Arial" panose="020B0604020202020204" pitchFamily="34" charset="0"/>
              </a:rPr>
              <a:t>1200V </a:t>
            </a:r>
            <a:r>
              <a:rPr lang="de-AT" dirty="0">
                <a:latin typeface="Arial" panose="020B0604020202020204" pitchFamily="34" charset="0"/>
                <a:ea typeface="Verdana" pitchFamily="34" charset="0"/>
                <a:cs typeface="Arial" panose="020B0604020202020204" pitchFamily="34" charset="0"/>
              </a:rPr>
              <a:t>and </a:t>
            </a:r>
            <a:r>
              <a:rPr lang="de-AT" b="1" dirty="0">
                <a:latin typeface="Arial" panose="020B0604020202020204" pitchFamily="34" charset="0"/>
                <a:ea typeface="Verdana" pitchFamily="34" charset="0"/>
                <a:cs typeface="Arial" panose="020B0604020202020204" pitchFamily="34" charset="0"/>
              </a:rPr>
              <a:t>150A</a:t>
            </a:r>
            <a:r>
              <a:rPr lang="de-AT" dirty="0">
                <a:latin typeface="Arial" panose="020B0604020202020204" pitchFamily="34" charset="0"/>
                <a:ea typeface="Verdana" pitchFamily="34" charset="0"/>
                <a:cs typeface="Arial" panose="020B0604020202020204" pitchFamily="34" charset="0"/>
              </a:rPr>
              <a:t> for 650 V and 750 V </a:t>
            </a:r>
            <a:r>
              <a:rPr lang="en-US" dirty="0">
                <a:latin typeface="Arial" panose="020B0604020202020204" pitchFamily="34" charset="0"/>
                <a:ea typeface="Verdana" pitchFamily="34" charset="0"/>
                <a:cs typeface="Arial" panose="020B0604020202020204" pitchFamily="34" charset="0"/>
              </a:rPr>
              <a:t>discrete</a:t>
            </a:r>
            <a:r>
              <a:rPr lang="sl-SI" dirty="0">
                <a:latin typeface="Arial" panose="020B0604020202020204" pitchFamily="34" charset="0"/>
                <a:ea typeface="Verdana" pitchFamily="34" charset="0"/>
                <a:cs typeface="Arial" panose="020B0604020202020204" pitchFamily="34" charset="0"/>
              </a:rPr>
              <a:t> devices</a:t>
            </a:r>
            <a:r>
              <a:rPr lang="de-AT" dirty="0">
                <a:latin typeface="Arial" panose="020B0604020202020204" pitchFamily="34" charset="0"/>
                <a:ea typeface="Verdana" pitchFamily="34" charset="0"/>
                <a:cs typeface="Arial" panose="020B0604020202020204" pitchFamily="34" charset="0"/>
              </a:rPr>
              <a:t> </a:t>
            </a:r>
            <a:endParaRPr kumimoji="0" lang="en-US" sz="1400" b="0" i="0" u="none" strike="noStrike" kern="1200" cap="none" spc="0" normalizeH="0" baseline="-25000" noProof="0" dirty="0">
              <a:ln>
                <a:noFill/>
              </a:ln>
              <a:effectLst/>
              <a:uLnTx/>
              <a:uFillTx/>
              <a:latin typeface="Arial" panose="020B0604020202020204" pitchFamily="34" charset="0"/>
              <a:ea typeface="Verdana" pitchFamily="34" charset="0"/>
              <a:cs typeface="Arial" panose="020B0604020202020204" pitchFamily="34" charset="0"/>
            </a:endParaRPr>
          </a:p>
        </p:txBody>
      </p:sp>
      <p:sp>
        <p:nvSpPr>
          <p:cNvPr id="56" name="Rectangle 55">
            <a:extLst>
              <a:ext uri="{FF2B5EF4-FFF2-40B4-BE49-F238E27FC236}">
                <a16:creationId xmlns:a16="http://schemas.microsoft.com/office/drawing/2014/main" id="{491B4691-6F7F-D559-92D1-2AD67B0C871D}"/>
              </a:ext>
            </a:extLst>
          </p:cNvPr>
          <p:cNvSpPr/>
          <p:nvPr>
            <p:custDataLst>
              <p:tags r:id="rId6"/>
            </p:custDataLst>
          </p:nvPr>
        </p:nvSpPr>
        <p:spPr bwMode="auto">
          <a:xfrm>
            <a:off x="4367808" y="3684464"/>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Uncompromising performance and full utilization </a:t>
            </a:r>
          </a:p>
        </p:txBody>
      </p:sp>
      <p:sp>
        <p:nvSpPr>
          <p:cNvPr id="57" name="Rectangle 56">
            <a:extLst>
              <a:ext uri="{FF2B5EF4-FFF2-40B4-BE49-F238E27FC236}">
                <a16:creationId xmlns:a16="http://schemas.microsoft.com/office/drawing/2014/main" id="{882250A6-281A-6F7F-4A96-831499669924}"/>
              </a:ext>
            </a:extLst>
          </p:cNvPr>
          <p:cNvSpPr/>
          <p:nvPr>
            <p:custDataLst>
              <p:tags r:id="rId7"/>
            </p:custDataLst>
          </p:nvPr>
        </p:nvSpPr>
        <p:spPr bwMode="auto">
          <a:xfrm>
            <a:off x="1991544" y="3684462"/>
            <a:ext cx="2287885" cy="709855"/>
          </a:xfrm>
          <a:prstGeom prst="rect">
            <a:avLst/>
          </a:prstGeom>
          <a:solidFill>
            <a:schemeClr val="tx2"/>
          </a:solidFill>
          <a:ln w="19050">
            <a:noFill/>
            <a:miter lim="800000"/>
            <a:headEnd/>
            <a:tailEnd/>
          </a:ln>
          <a:effectLst/>
        </p:spPr>
        <p:txBody>
          <a:bodyPr wrap="square" lIns="18000" tIns="36000" rIns="18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Efficiency</a:t>
            </a:r>
          </a:p>
        </p:txBody>
      </p:sp>
      <p:sp>
        <p:nvSpPr>
          <p:cNvPr id="58" name="Rectangle 57">
            <a:extLst>
              <a:ext uri="{FF2B5EF4-FFF2-40B4-BE49-F238E27FC236}">
                <a16:creationId xmlns:a16="http://schemas.microsoft.com/office/drawing/2014/main" id="{05E837AA-ED8F-0693-DAB2-8EB9F1D35914}"/>
              </a:ext>
            </a:extLst>
          </p:cNvPr>
          <p:cNvSpPr/>
          <p:nvPr>
            <p:custDataLst>
              <p:tags r:id="rId8"/>
            </p:custDataLst>
          </p:nvPr>
        </p:nvSpPr>
        <p:spPr bwMode="auto">
          <a:xfrm>
            <a:off x="7392119" y="3608909"/>
            <a:ext cx="4398643" cy="860963"/>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sl-SI" dirty="0">
                <a:solidFill>
                  <a:srgbClr val="000000"/>
                </a:solidFill>
                <a:latin typeface="Arial" panose="020B0604020202020204" pitchFamily="34" charset="0"/>
                <a:ea typeface="Verdana" pitchFamily="34" charset="0"/>
                <a:cs typeface="Arial" panose="020B0604020202020204" pitchFamily="34" charset="0"/>
              </a:rPr>
              <a:t>Best </a:t>
            </a:r>
            <a:r>
              <a:rPr lang="en-US" dirty="0">
                <a:solidFill>
                  <a:srgbClr val="000000"/>
                </a:solidFill>
                <a:latin typeface="Arial" panose="020B0604020202020204" pitchFamily="34" charset="0"/>
                <a:ea typeface="Verdana" pitchFamily="34" charset="0"/>
                <a:cs typeface="Arial" panose="020B0604020202020204" pitchFamily="34" charset="0"/>
              </a:rPr>
              <a:t>in class conduction and</a:t>
            </a:r>
            <a:r>
              <a:rPr lang="sl-SI" dirty="0">
                <a:solidFill>
                  <a:srgbClr val="000000"/>
                </a:solidFill>
                <a:latin typeface="Arial" panose="020B0604020202020204" pitchFamily="34" charset="0"/>
                <a:ea typeface="Verdana" pitchFamily="34" charset="0"/>
                <a:cs typeface="Arial" panose="020B0604020202020204" pitchFamily="34" charset="0"/>
              </a:rPr>
              <a:t> </a:t>
            </a:r>
            <a:r>
              <a:rPr lang="en-US" dirty="0">
                <a:solidFill>
                  <a:srgbClr val="000000"/>
                </a:solidFill>
                <a:latin typeface="Arial" panose="020B0604020202020204" pitchFamily="34" charset="0"/>
                <a:ea typeface="Verdana" pitchFamily="34" charset="0"/>
                <a:cs typeface="Arial" panose="020B0604020202020204" pitchFamily="34" charset="0"/>
              </a:rPr>
              <a:t>switching power losses performance</a:t>
            </a:r>
          </a:p>
        </p:txBody>
      </p:sp>
      <p:sp>
        <p:nvSpPr>
          <p:cNvPr id="60" name="Rectangle 59">
            <a:extLst>
              <a:ext uri="{FF2B5EF4-FFF2-40B4-BE49-F238E27FC236}">
                <a16:creationId xmlns:a16="http://schemas.microsoft.com/office/drawing/2014/main" id="{7C647FEF-707B-0C68-29ED-1642FEC37034}"/>
              </a:ext>
            </a:extLst>
          </p:cNvPr>
          <p:cNvSpPr/>
          <p:nvPr>
            <p:custDataLst>
              <p:tags r:id="rId9"/>
            </p:custDataLst>
          </p:nvPr>
        </p:nvSpPr>
        <p:spPr bwMode="auto">
          <a:xfrm>
            <a:off x="4375871" y="4613451"/>
            <a:ext cx="2732864" cy="790634"/>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Best system performance and good price/performance ratio </a:t>
            </a:r>
          </a:p>
        </p:txBody>
      </p:sp>
      <p:sp>
        <p:nvSpPr>
          <p:cNvPr id="61" name="Rectangle 60">
            <a:extLst>
              <a:ext uri="{FF2B5EF4-FFF2-40B4-BE49-F238E27FC236}">
                <a16:creationId xmlns:a16="http://schemas.microsoft.com/office/drawing/2014/main" id="{8A3E1144-9728-739C-D7F8-D38864BFC6B6}"/>
              </a:ext>
            </a:extLst>
          </p:cNvPr>
          <p:cNvSpPr/>
          <p:nvPr>
            <p:custDataLst>
              <p:tags r:id="rId10"/>
            </p:custDataLst>
          </p:nvPr>
        </p:nvSpPr>
        <p:spPr bwMode="auto">
          <a:xfrm>
            <a:off x="1991544" y="4613450"/>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System cost</a:t>
            </a: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endParaRPr>
          </a:p>
        </p:txBody>
      </p:sp>
      <p:sp>
        <p:nvSpPr>
          <p:cNvPr id="62" name="Rectangle 61">
            <a:extLst>
              <a:ext uri="{FF2B5EF4-FFF2-40B4-BE49-F238E27FC236}">
                <a16:creationId xmlns:a16="http://schemas.microsoft.com/office/drawing/2014/main" id="{384068C6-CEBC-3B05-5C04-BEA34832B2E4}"/>
              </a:ext>
            </a:extLst>
          </p:cNvPr>
          <p:cNvSpPr/>
          <p:nvPr>
            <p:custDataLst>
              <p:tags r:id="rId11"/>
            </p:custDataLst>
          </p:nvPr>
        </p:nvSpPr>
        <p:spPr bwMode="auto">
          <a:xfrm>
            <a:off x="7392119" y="4631379"/>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1D1D1D"/>
                </a:solidFill>
                <a:latin typeface="Arial" panose="020B0604020202020204" pitchFamily="34" charset="0"/>
                <a:ea typeface="Verdana" pitchFamily="34" charset="0"/>
                <a:cs typeface="Arial" panose="020B0604020202020204" pitchFamily="34" charset="0"/>
              </a:rPr>
              <a:t>A cost-effective alternative to wide-bandgap solutions </a:t>
            </a:r>
          </a:p>
        </p:txBody>
      </p:sp>
      <p:sp>
        <p:nvSpPr>
          <p:cNvPr id="64" name="Rectangle 63">
            <a:extLst>
              <a:ext uri="{FF2B5EF4-FFF2-40B4-BE49-F238E27FC236}">
                <a16:creationId xmlns:a16="http://schemas.microsoft.com/office/drawing/2014/main" id="{4830679A-6278-8875-AC03-F277F3E74F15}"/>
              </a:ext>
            </a:extLst>
          </p:cNvPr>
          <p:cNvSpPr/>
          <p:nvPr>
            <p:custDataLst>
              <p:tags r:id="rId12"/>
            </p:custDataLst>
          </p:nvPr>
        </p:nvSpPr>
        <p:spPr bwMode="auto">
          <a:xfrm>
            <a:off x="4367808" y="5524101"/>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1D1D1D"/>
                </a:solidFill>
                <a:latin typeface="Arial" panose="020B0604020202020204" pitchFamily="34" charset="0"/>
                <a:ea typeface="Verdana" pitchFamily="34" charset="0"/>
                <a:cs typeface="Arial" panose="020B0604020202020204" pitchFamily="34" charset="0"/>
              </a:rPr>
              <a:t>Extra reliability, even in high-humidity environment</a:t>
            </a:r>
          </a:p>
        </p:txBody>
      </p:sp>
      <p:sp>
        <p:nvSpPr>
          <p:cNvPr id="65" name="Rectangle 64">
            <a:extLst>
              <a:ext uri="{FF2B5EF4-FFF2-40B4-BE49-F238E27FC236}">
                <a16:creationId xmlns:a16="http://schemas.microsoft.com/office/drawing/2014/main" id="{17D9B137-7767-ADEA-EEA2-BE93ABFCB48A}"/>
              </a:ext>
            </a:extLst>
          </p:cNvPr>
          <p:cNvSpPr/>
          <p:nvPr>
            <p:custDataLst>
              <p:tags r:id="rId13"/>
            </p:custDataLst>
          </p:nvPr>
        </p:nvSpPr>
        <p:spPr bwMode="auto">
          <a:xfrm>
            <a:off x="1991544" y="5524101"/>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rPr>
              <a:t>Quality</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Verdana" pitchFamily="34" charset="0"/>
              <a:cs typeface="Arial" panose="020B0604020202020204" pitchFamily="34" charset="0"/>
            </a:endParaRPr>
          </a:p>
        </p:txBody>
      </p:sp>
      <p:sp>
        <p:nvSpPr>
          <p:cNvPr id="66" name="Rectangle 65">
            <a:extLst>
              <a:ext uri="{FF2B5EF4-FFF2-40B4-BE49-F238E27FC236}">
                <a16:creationId xmlns:a16="http://schemas.microsoft.com/office/drawing/2014/main" id="{BD8074BB-E3BF-DB47-5CBD-AA259080FB1A}"/>
              </a:ext>
            </a:extLst>
          </p:cNvPr>
          <p:cNvSpPr/>
          <p:nvPr>
            <p:custDataLst>
              <p:tags r:id="rId14"/>
            </p:custDataLst>
          </p:nvPr>
        </p:nvSpPr>
        <p:spPr bwMode="auto">
          <a:xfrm>
            <a:off x="7392119" y="5524102"/>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000000"/>
                </a:solidFill>
                <a:latin typeface="Arial" panose="020B0604020202020204" pitchFamily="34" charset="0"/>
                <a:ea typeface="Verdana" pitchFamily="34" charset="0"/>
                <a:cs typeface="Arial" panose="020B0604020202020204" pitchFamily="34" charset="0"/>
              </a:rPr>
              <a:t>Qualified by JEDEC standard for HV-H3TRB</a:t>
            </a:r>
          </a:p>
        </p:txBody>
      </p:sp>
      <p:sp>
        <p:nvSpPr>
          <p:cNvPr id="68" name="Rectangle 67">
            <a:extLst>
              <a:ext uri="{FF2B5EF4-FFF2-40B4-BE49-F238E27FC236}">
                <a16:creationId xmlns:a16="http://schemas.microsoft.com/office/drawing/2014/main" id="{2BA91057-B337-7B21-2C17-253F36A1288B}"/>
              </a:ext>
            </a:extLst>
          </p:cNvPr>
          <p:cNvSpPr/>
          <p:nvPr>
            <p:custDataLst>
              <p:tags r:id="rId15"/>
            </p:custDataLst>
          </p:nvPr>
        </p:nvSpPr>
        <p:spPr bwMode="auto">
          <a:xfrm>
            <a:off x="4367808" y="1877809"/>
            <a:ext cx="2732864" cy="678336"/>
          </a:xfrm>
          <a:prstGeom prst="rect">
            <a:avLst/>
          </a:prstGeom>
          <a:solidFill>
            <a:srgbClr val="FFFFFF"/>
          </a:solidFill>
          <a:ln w="9525">
            <a:noFill/>
            <a:miter lim="800000"/>
            <a:headEnd/>
            <a:tailEnd/>
          </a:ln>
          <a:effectLst/>
        </p:spPr>
        <p:txBody>
          <a:bodyPr wrap="square" lIns="72000" tIns="72000" rIns="72000" bIns="72000" rtlCol="0" anchor="ctr"/>
          <a:lstStyle/>
          <a:p>
            <a:pPr lvl="0" algn="ctr" defTabSz="1219080" eaLnBrk="0" hangingPunct="0">
              <a:buClr>
                <a:srgbClr val="000000"/>
              </a:buClr>
              <a:defRPr/>
            </a:pPr>
            <a:r>
              <a:rPr lang="sl-SI" b="1" dirty="0">
                <a:solidFill>
                  <a:srgbClr val="1D1D1D"/>
                </a:solidFill>
                <a:latin typeface="Arial" panose="020B0604020202020204" pitchFamily="34" charset="0"/>
                <a:ea typeface="Verdana" pitchFamily="34" charset="0"/>
                <a:cs typeface="Arial" panose="020B0604020202020204" pitchFamily="34" charset="0"/>
              </a:rPr>
              <a:t>U</a:t>
            </a:r>
            <a:r>
              <a:rPr lang="en-US" b="1" dirty="0" err="1">
                <a:solidFill>
                  <a:srgbClr val="1D1D1D"/>
                </a:solidFill>
                <a:latin typeface="Arial" panose="020B0604020202020204" pitchFamily="34" charset="0"/>
                <a:ea typeface="Verdana" pitchFamily="34" charset="0"/>
                <a:cs typeface="Arial" panose="020B0604020202020204" pitchFamily="34" charset="0"/>
              </a:rPr>
              <a:t>ncompromising</a:t>
            </a:r>
            <a:r>
              <a:rPr lang="en-US" b="1" dirty="0">
                <a:solidFill>
                  <a:srgbClr val="1D1D1D"/>
                </a:solidFill>
                <a:latin typeface="Arial" panose="020B0604020202020204" pitchFamily="34" charset="0"/>
                <a:ea typeface="Verdana" pitchFamily="34" charset="0"/>
                <a:cs typeface="Arial" panose="020B0604020202020204" pitchFamily="34" charset="0"/>
              </a:rPr>
              <a:t> performance and full utilization</a:t>
            </a:r>
            <a:r>
              <a:rPr lang="sl-SI" b="1" dirty="0">
                <a:solidFill>
                  <a:srgbClr val="1D1D1D"/>
                </a:solidFill>
                <a:latin typeface="Arial" panose="020B0604020202020204" pitchFamily="34" charset="0"/>
                <a:ea typeface="Verdana" pitchFamily="34" charset="0"/>
                <a:cs typeface="Arial" panose="020B0604020202020204" pitchFamily="34" charset="0"/>
              </a:rPr>
              <a:t> </a:t>
            </a:r>
          </a:p>
        </p:txBody>
      </p:sp>
      <p:sp>
        <p:nvSpPr>
          <p:cNvPr id="69" name="Rectangle 68">
            <a:extLst>
              <a:ext uri="{FF2B5EF4-FFF2-40B4-BE49-F238E27FC236}">
                <a16:creationId xmlns:a16="http://schemas.microsoft.com/office/drawing/2014/main" id="{F3803D74-7E2B-15F2-9C9B-FDF0A1A03153}"/>
              </a:ext>
            </a:extLst>
          </p:cNvPr>
          <p:cNvSpPr/>
          <p:nvPr>
            <p:custDataLst>
              <p:tags r:id="rId16"/>
            </p:custDataLst>
          </p:nvPr>
        </p:nvSpPr>
        <p:spPr bwMode="auto">
          <a:xfrm>
            <a:off x="1991544" y="1863161"/>
            <a:ext cx="2287885" cy="709855"/>
          </a:xfrm>
          <a:prstGeom prst="rect">
            <a:avLst/>
          </a:prstGeom>
          <a:solidFill>
            <a:schemeClr val="tx2"/>
          </a:solidFill>
          <a:ln w="19050">
            <a:noFill/>
            <a:miter lim="800000"/>
            <a:headEnd/>
            <a:tailEnd/>
          </a:ln>
          <a:effectLst/>
        </p:spPr>
        <p:txBody>
          <a:bodyPr wrap="square" lIns="72000" tIns="72000" rIns="72000" bIns="72000" rtlCol="0" anchor="ctr"/>
          <a:lstStyle/>
          <a:p>
            <a:pPr lvl="0" algn="ctr" defTabSz="1219080" eaLnBrk="0" hangingPunct="0">
              <a:buClr>
                <a:srgbClr val="000000"/>
              </a:buClr>
              <a:defRPr/>
            </a:pPr>
            <a:r>
              <a:rPr lang="en-US" b="1" dirty="0">
                <a:solidFill>
                  <a:srgbClr val="FFFFFF"/>
                </a:solidFill>
                <a:latin typeface="Arial" panose="020B0604020202020204" pitchFamily="34" charset="0"/>
                <a:ea typeface="Verdana" pitchFamily="34" charset="0"/>
                <a:cs typeface="Arial" panose="020B0604020202020204" pitchFamily="34" charset="0"/>
              </a:rPr>
              <a:t>Ease of Use</a:t>
            </a:r>
          </a:p>
        </p:txBody>
      </p:sp>
      <p:sp>
        <p:nvSpPr>
          <p:cNvPr id="70" name="Rectangle 69">
            <a:extLst>
              <a:ext uri="{FF2B5EF4-FFF2-40B4-BE49-F238E27FC236}">
                <a16:creationId xmlns:a16="http://schemas.microsoft.com/office/drawing/2014/main" id="{DFA320B2-B583-3A71-A62E-29F68DAF41EC}"/>
              </a:ext>
            </a:extLst>
          </p:cNvPr>
          <p:cNvSpPr/>
          <p:nvPr>
            <p:custDataLst>
              <p:tags r:id="rId17"/>
            </p:custDataLst>
          </p:nvPr>
        </p:nvSpPr>
        <p:spPr bwMode="auto">
          <a:xfrm>
            <a:off x="7392119" y="1844824"/>
            <a:ext cx="4398643" cy="709855"/>
          </a:xfrm>
          <a:prstGeom prst="rect">
            <a:avLst/>
          </a:prstGeom>
          <a:solidFill>
            <a:srgbClr val="FFFFFF"/>
          </a:solidFill>
          <a:ln w="9525">
            <a:noFill/>
            <a:miter lim="800000"/>
            <a:headEnd/>
            <a:tailEnd/>
          </a:ln>
          <a:effectLst/>
        </p:spPr>
        <p:txBody>
          <a:bodyPr wrap="square" lIns="36000" tIns="36000" rIns="36000" bIns="36000" rtlCol="0" anchor="ctr"/>
          <a:lstStyle/>
          <a:p>
            <a:pPr lvl="0" defTabSz="1219080" eaLnBrk="0" hangingPunct="0">
              <a:buClr>
                <a:srgbClr val="000000"/>
              </a:buClr>
              <a:defRPr/>
            </a:pPr>
            <a:r>
              <a:rPr lang="en-US" dirty="0">
                <a:solidFill>
                  <a:srgbClr val="000000"/>
                </a:solidFill>
                <a:latin typeface="Arial" panose="020B0604020202020204" pitchFamily="34" charset="0"/>
                <a:ea typeface="Verdana" pitchFamily="34" charset="0"/>
                <a:cs typeface="Arial" panose="020B0604020202020204" pitchFamily="34" charset="0"/>
              </a:rPr>
              <a:t>Easy to switch, developed to fulfill the demand in green energy and efficient applications</a:t>
            </a:r>
          </a:p>
        </p:txBody>
      </p:sp>
      <p:sp>
        <p:nvSpPr>
          <p:cNvPr id="72" name="Rectangle 71">
            <a:extLst>
              <a:ext uri="{FF2B5EF4-FFF2-40B4-BE49-F238E27FC236}">
                <a16:creationId xmlns:a16="http://schemas.microsoft.com/office/drawing/2014/main" id="{9F195FB2-9FDF-E75F-6CB8-9317F53842C7}"/>
              </a:ext>
            </a:extLst>
          </p:cNvPr>
          <p:cNvSpPr/>
          <p:nvPr>
            <p:custDataLst>
              <p:tags r:id="rId18"/>
            </p:custDataLst>
          </p:nvPr>
        </p:nvSpPr>
        <p:spPr bwMode="auto">
          <a:xfrm>
            <a:off x="1991544" y="1628800"/>
            <a:ext cx="2287885"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3" name="Rectangle 72">
            <a:extLst>
              <a:ext uri="{FF2B5EF4-FFF2-40B4-BE49-F238E27FC236}">
                <a16:creationId xmlns:a16="http://schemas.microsoft.com/office/drawing/2014/main" id="{0598B941-C751-A6EB-5DF6-48F078809866}"/>
              </a:ext>
            </a:extLst>
          </p:cNvPr>
          <p:cNvSpPr/>
          <p:nvPr>
            <p:custDataLst>
              <p:tags r:id="rId19"/>
            </p:custDataLst>
          </p:nvPr>
        </p:nvSpPr>
        <p:spPr bwMode="auto">
          <a:xfrm>
            <a:off x="4764997" y="1323036"/>
            <a:ext cx="1975643"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Customer benefits </a:t>
            </a:r>
          </a:p>
        </p:txBody>
      </p:sp>
      <p:sp>
        <p:nvSpPr>
          <p:cNvPr id="74" name="Rectangle 73">
            <a:extLst>
              <a:ext uri="{FF2B5EF4-FFF2-40B4-BE49-F238E27FC236}">
                <a16:creationId xmlns:a16="http://schemas.microsoft.com/office/drawing/2014/main" id="{59D20D10-D92F-6A8C-FF56-14BCFE21CF3C}"/>
              </a:ext>
            </a:extLst>
          </p:cNvPr>
          <p:cNvSpPr/>
          <p:nvPr>
            <p:custDataLst>
              <p:tags r:id="rId20"/>
            </p:custDataLst>
          </p:nvPr>
        </p:nvSpPr>
        <p:spPr bwMode="auto">
          <a:xfrm>
            <a:off x="4613079" y="1628800"/>
            <a:ext cx="2287885"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75" name="Rectangle 74">
            <a:extLst>
              <a:ext uri="{FF2B5EF4-FFF2-40B4-BE49-F238E27FC236}">
                <a16:creationId xmlns:a16="http://schemas.microsoft.com/office/drawing/2014/main" id="{77900CF4-4805-15FA-219D-D732EC697374}"/>
              </a:ext>
            </a:extLst>
          </p:cNvPr>
          <p:cNvSpPr/>
          <p:nvPr>
            <p:custDataLst>
              <p:tags r:id="rId21"/>
            </p:custDataLst>
          </p:nvPr>
        </p:nvSpPr>
        <p:spPr bwMode="auto">
          <a:xfrm>
            <a:off x="7392118" y="1322011"/>
            <a:ext cx="4301769" cy="220403"/>
          </a:xfrm>
          <a:prstGeom prst="rect">
            <a:avLst/>
          </a:prstGeom>
          <a:solidFill>
            <a:srgbClr val="FFFFFF"/>
          </a:solidFill>
          <a:ln w="9525">
            <a:noFill/>
            <a:miter lim="800000"/>
            <a:headEnd/>
            <a:tailEnd/>
          </a:ln>
          <a:effectLst/>
        </p:spPr>
        <p:txBody>
          <a:bodyPr wrap="square" lIns="72000" tIns="72000" rIns="72000" bIns="72000" rtlCol="0" anchor="ct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r>
              <a:rPr kumimoji="0" lang="en-US" sz="1400" b="1" i="0" u="none" strike="noStrike" kern="1200" cap="none" spc="0" normalizeH="0" baseline="0" noProof="0" dirty="0">
                <a:ln>
                  <a:noFill/>
                </a:ln>
                <a:solidFill>
                  <a:srgbClr val="0A8276"/>
                </a:solidFill>
                <a:effectLst/>
                <a:uLnTx/>
                <a:uFillTx/>
                <a:latin typeface="Arial" panose="020B0604020202020204" pitchFamily="34" charset="0"/>
                <a:ea typeface="Verdana" pitchFamily="34" charset="0"/>
                <a:cs typeface="Arial" panose="020B0604020202020204" pitchFamily="34" charset="0"/>
              </a:rPr>
              <a:t>Product features</a:t>
            </a:r>
          </a:p>
        </p:txBody>
      </p:sp>
      <p:sp>
        <p:nvSpPr>
          <p:cNvPr id="76" name="Rectangle 75">
            <a:extLst>
              <a:ext uri="{FF2B5EF4-FFF2-40B4-BE49-F238E27FC236}">
                <a16:creationId xmlns:a16="http://schemas.microsoft.com/office/drawing/2014/main" id="{DECFFC99-3957-94C3-6713-59DEC03F4F7C}"/>
              </a:ext>
            </a:extLst>
          </p:cNvPr>
          <p:cNvSpPr/>
          <p:nvPr>
            <p:custDataLst>
              <p:tags r:id="rId22"/>
            </p:custDataLst>
          </p:nvPr>
        </p:nvSpPr>
        <p:spPr bwMode="auto">
          <a:xfrm>
            <a:off x="7386491" y="1624477"/>
            <a:ext cx="4301769" cy="45719"/>
          </a:xfrm>
          <a:prstGeom prst="rect">
            <a:avLst/>
          </a:prstGeom>
          <a:solidFill>
            <a:schemeClr val="tx2"/>
          </a:solidFill>
          <a:ln w="9525">
            <a:noFill/>
            <a:miter lim="800000"/>
            <a:headEnd/>
            <a:tailEnd/>
          </a:ln>
          <a:effectLst/>
        </p:spPr>
        <p:txBody>
          <a:bodyPr wrap="square" lIns="72000" tIns="72000" rIns="72000" bIns="72000" rtlCol="0" anchor="ctr">
            <a:noAutofit/>
          </a:bodyPr>
          <a:lstStyle/>
          <a:p>
            <a:pPr marL="0" marR="0" lvl="0" indent="0" algn="ctr" defTabSz="1219080" rtl="0" eaLnBrk="0" fontAlgn="base" latinLnBrk="0" hangingPunct="0">
              <a:lnSpc>
                <a:spcPct val="100000"/>
              </a:lnSpc>
              <a:spcBef>
                <a:spcPct val="0"/>
              </a:spcBef>
              <a:spcAft>
                <a:spcPct val="0"/>
              </a:spcAft>
              <a:buClr>
                <a:srgbClr val="000000"/>
              </a:buClr>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Verdana" pitchFamily="34" charset="0"/>
              <a:cs typeface="Arial" panose="020B0604020202020204" pitchFamily="34" charset="0"/>
            </a:endParaRPr>
          </a:p>
        </p:txBody>
      </p:sp>
      <p:sp>
        <p:nvSpPr>
          <p:cNvPr id="16" name="Rectangle 15">
            <a:extLst>
              <a:ext uri="{FF2B5EF4-FFF2-40B4-BE49-F238E27FC236}">
                <a16:creationId xmlns:a16="http://schemas.microsoft.com/office/drawing/2014/main" id="{9D0F0547-4A62-D6E6-0651-4C20A89BB285}"/>
              </a:ext>
            </a:extLst>
          </p:cNvPr>
          <p:cNvSpPr/>
          <p:nvPr>
            <p:custDataLst>
              <p:tags r:id="rId23"/>
            </p:custDataLst>
          </p:nvPr>
        </p:nvSpPr>
        <p:spPr bwMode="auto">
          <a:xfrm>
            <a:off x="608146" y="3579395"/>
            <a:ext cx="1110318" cy="216000"/>
          </a:xfrm>
          <a:prstGeom prst="rect">
            <a:avLst/>
          </a:prstGeom>
          <a:solidFill>
            <a:schemeClr val="accent4"/>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65</a:t>
            </a:r>
            <a:r>
              <a:rPr kumimoji="0" lang="en-US" sz="1100" b="0" i="0" u="none" strike="noStrike" kern="1200" cap="none" spc="0" normalizeH="0" baseline="0" noProof="0" dirty="0">
                <a:ln>
                  <a:noFill/>
                </a:ln>
                <a:solidFill>
                  <a:srgbClr val="1D1D1D"/>
                </a:solidFill>
                <a:effectLst/>
                <a:uLnTx/>
                <a:uFillTx/>
                <a:latin typeface="Arial"/>
                <a:ea typeface="+mn-ea"/>
                <a:cs typeface="Arial"/>
              </a:rPr>
              <a:t>0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2" name="Rectangle 21">
            <a:extLst>
              <a:ext uri="{FF2B5EF4-FFF2-40B4-BE49-F238E27FC236}">
                <a16:creationId xmlns:a16="http://schemas.microsoft.com/office/drawing/2014/main" id="{EBB68F63-1F64-C75C-FE07-E05715E5219F}"/>
              </a:ext>
            </a:extLst>
          </p:cNvPr>
          <p:cNvSpPr/>
          <p:nvPr>
            <p:custDataLst>
              <p:tags r:id="rId24"/>
            </p:custDataLst>
          </p:nvPr>
        </p:nvSpPr>
        <p:spPr bwMode="auto">
          <a:xfrm>
            <a:off x="598870" y="3319240"/>
            <a:ext cx="1110319" cy="21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Arial"/>
              </a:rPr>
              <a:t>Voltage Class</a:t>
            </a:r>
            <a:endParaRPr kumimoji="0" lang="de-AT" sz="1100" b="0" i="0" u="none" strike="noStrike" kern="1200" cap="none" spc="0" normalizeH="0" baseline="0" noProof="0" dirty="0">
              <a:ln>
                <a:noFill/>
              </a:ln>
              <a:solidFill>
                <a:srgbClr val="FFFFFF"/>
              </a:solidFill>
              <a:effectLst/>
              <a:uLnTx/>
              <a:uFillTx/>
              <a:latin typeface="Arial"/>
              <a:ea typeface="+mn-ea"/>
              <a:cs typeface="Arial"/>
            </a:endParaRPr>
          </a:p>
        </p:txBody>
      </p:sp>
      <p:sp>
        <p:nvSpPr>
          <p:cNvPr id="24" name="Rectangle 23">
            <a:extLst>
              <a:ext uri="{FF2B5EF4-FFF2-40B4-BE49-F238E27FC236}">
                <a16:creationId xmlns:a16="http://schemas.microsoft.com/office/drawing/2014/main" id="{47AE2087-2C51-E68D-C5CD-2D38CF5A60CC}"/>
              </a:ext>
            </a:extLst>
          </p:cNvPr>
          <p:cNvSpPr/>
          <p:nvPr>
            <p:custDataLst>
              <p:tags r:id="rId25"/>
            </p:custDataLst>
          </p:nvPr>
        </p:nvSpPr>
        <p:spPr bwMode="auto">
          <a:xfrm>
            <a:off x="602304" y="6191372"/>
            <a:ext cx="1116160" cy="216000"/>
          </a:xfrm>
          <a:prstGeom prst="rect">
            <a:avLst/>
          </a:prstGeom>
          <a:solidFill>
            <a:schemeClr val="bg1"/>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sl-SI" sz="1100" dirty="0">
                <a:solidFill>
                  <a:srgbClr val="1D1D1D"/>
                </a:solidFill>
                <a:latin typeface="Arial"/>
                <a:ea typeface="+mn-ea"/>
                <a:cs typeface="Arial"/>
              </a:rPr>
              <a:t>16</a:t>
            </a:r>
            <a:r>
              <a:rPr kumimoji="0" lang="en-US" sz="1100" b="0" i="0" u="none" strike="noStrike" kern="1200" cap="none" spc="0" normalizeH="0" baseline="0" noProof="0" dirty="0">
                <a:ln>
                  <a:noFill/>
                </a:ln>
                <a:solidFill>
                  <a:srgbClr val="1D1D1D"/>
                </a:solidFill>
                <a:effectLst/>
                <a:uLnTx/>
                <a:uFillTx/>
                <a:latin typeface="Arial"/>
                <a:ea typeface="+mn-ea"/>
                <a:cs typeface="Arial"/>
              </a:rPr>
              <a:t> – </a:t>
            </a:r>
            <a:r>
              <a:rPr kumimoji="0" lang="en-US" sz="1100" b="0" i="0" u="none" strike="noStrike" kern="1200" cap="none" spc="0" normalizeH="0" baseline="0" noProof="0" dirty="0">
                <a:ln>
                  <a:noFill/>
                </a:ln>
                <a:solidFill>
                  <a:srgbClr val="1D1D1D"/>
                </a:solidFill>
                <a:effectLst/>
                <a:uLnTx/>
                <a:uFillTx/>
                <a:latin typeface="Arial"/>
                <a:cs typeface="Arial"/>
              </a:rPr>
              <a:t>100</a:t>
            </a:r>
            <a:r>
              <a:rPr kumimoji="0" lang="en-US" sz="1100" b="0" i="0" u="none" strike="noStrike" kern="1200" cap="none" spc="0" normalizeH="0" baseline="0" noProof="0" dirty="0">
                <a:ln>
                  <a:noFill/>
                </a:ln>
                <a:solidFill>
                  <a:srgbClr val="1D1D1D"/>
                </a:solidFill>
                <a:effectLst/>
                <a:uLnTx/>
                <a:uFillTx/>
                <a:latin typeface="Arial"/>
                <a:ea typeface="+mn-ea"/>
                <a:cs typeface="Arial"/>
              </a:rPr>
              <a:t> kHz</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5" name="Rectangle 24">
            <a:extLst>
              <a:ext uri="{FF2B5EF4-FFF2-40B4-BE49-F238E27FC236}">
                <a16:creationId xmlns:a16="http://schemas.microsoft.com/office/drawing/2014/main" id="{26B3AC73-23B4-6E67-5921-CBF21A9D1E9B}"/>
              </a:ext>
            </a:extLst>
          </p:cNvPr>
          <p:cNvSpPr/>
          <p:nvPr>
            <p:custDataLst>
              <p:tags r:id="rId26"/>
            </p:custDataLst>
          </p:nvPr>
        </p:nvSpPr>
        <p:spPr bwMode="auto">
          <a:xfrm>
            <a:off x="608144" y="5749190"/>
            <a:ext cx="1110317" cy="39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Arial"/>
              </a:rPr>
              <a:t>Switching Frequency</a:t>
            </a:r>
            <a:endParaRPr kumimoji="0" lang="de-AT" sz="1100" b="0" i="0" u="none" strike="noStrike" kern="1200" cap="none" spc="0" normalizeH="0" baseline="0" noProof="0" dirty="0">
              <a:ln>
                <a:noFill/>
              </a:ln>
              <a:solidFill>
                <a:srgbClr val="FFFFFF"/>
              </a:solidFill>
              <a:effectLst/>
              <a:uLnTx/>
              <a:uFillTx/>
              <a:latin typeface="Arial"/>
              <a:ea typeface="+mn-ea"/>
              <a:cs typeface="Arial"/>
            </a:endParaRPr>
          </a:p>
        </p:txBody>
      </p:sp>
      <p:sp>
        <p:nvSpPr>
          <p:cNvPr id="54" name="Rectangle 53">
            <a:extLst>
              <a:ext uri="{FF2B5EF4-FFF2-40B4-BE49-F238E27FC236}">
                <a16:creationId xmlns:a16="http://schemas.microsoft.com/office/drawing/2014/main" id="{F87FB458-795F-4DDA-997B-7F8C755261BC}"/>
              </a:ext>
            </a:extLst>
          </p:cNvPr>
          <p:cNvSpPr/>
          <p:nvPr>
            <p:custDataLst>
              <p:tags r:id="rId27"/>
            </p:custDataLst>
          </p:nvPr>
        </p:nvSpPr>
        <p:spPr bwMode="auto">
          <a:xfrm>
            <a:off x="608146" y="4129967"/>
            <a:ext cx="1110318" cy="216000"/>
          </a:xfrm>
          <a:prstGeom prst="rect">
            <a:avLst/>
          </a:prstGeom>
          <a:solidFill>
            <a:schemeClr val="accent5"/>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1D1D1D"/>
                </a:solidFill>
                <a:effectLst/>
                <a:uLnTx/>
                <a:uFillTx/>
                <a:latin typeface="Arial"/>
                <a:cs typeface="Arial"/>
              </a:rPr>
              <a:t>1200</a:t>
            </a:r>
            <a:r>
              <a:rPr kumimoji="0" lang="en-US" sz="1100" b="0" i="0" u="none" strike="noStrike" kern="1200" cap="none" spc="0" normalizeH="0" baseline="0" noProof="0" dirty="0">
                <a:ln>
                  <a:noFill/>
                </a:ln>
                <a:solidFill>
                  <a:srgbClr val="1D1D1D"/>
                </a:solidFill>
                <a:effectLst/>
                <a:uLnTx/>
                <a:uFillTx/>
                <a:latin typeface="Arial"/>
                <a:ea typeface="+mn-ea"/>
                <a:cs typeface="Arial"/>
              </a:rPr>
              <a:t>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pic>
        <p:nvPicPr>
          <p:cNvPr id="59" name="Picture 58">
            <a:extLst>
              <a:ext uri="{FF2B5EF4-FFF2-40B4-BE49-F238E27FC236}">
                <a16:creationId xmlns:a16="http://schemas.microsoft.com/office/drawing/2014/main" id="{EE11EA8C-5164-40F2-86A1-4A9DBDB8E10D}"/>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904312" y="97185"/>
            <a:ext cx="1171575" cy="1171575"/>
          </a:xfrm>
          <a:prstGeom prst="rect">
            <a:avLst/>
          </a:prstGeom>
        </p:spPr>
      </p:pic>
      <p:sp>
        <p:nvSpPr>
          <p:cNvPr id="44" name="Rectangle 43">
            <a:extLst>
              <a:ext uri="{FF2B5EF4-FFF2-40B4-BE49-F238E27FC236}">
                <a16:creationId xmlns:a16="http://schemas.microsoft.com/office/drawing/2014/main" id="{4C64159B-D7FE-45DB-BC81-D510833A44EE}"/>
              </a:ext>
            </a:extLst>
          </p:cNvPr>
          <p:cNvSpPr/>
          <p:nvPr>
            <p:custDataLst>
              <p:tags r:id="rId28"/>
            </p:custDataLst>
          </p:nvPr>
        </p:nvSpPr>
        <p:spPr bwMode="auto">
          <a:xfrm>
            <a:off x="617082" y="4429027"/>
            <a:ext cx="1110318" cy="216000"/>
          </a:xfrm>
          <a:prstGeom prst="rect">
            <a:avLst/>
          </a:prstGeom>
          <a:solidFill>
            <a:schemeClr val="tx2"/>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auto" latinLnBrk="0" hangingPunct="0">
              <a:lnSpc>
                <a:spcPct val="120000"/>
              </a:lnSpc>
              <a:spcBef>
                <a:spcPts val="0"/>
              </a:spcBef>
              <a:spcAft>
                <a:spcPts val="0"/>
              </a:spcAft>
              <a:buClr>
                <a:srgbClr val="0A8276"/>
              </a:buClr>
              <a:buSzTx/>
              <a:buFontTx/>
              <a:buNone/>
              <a:tabLst/>
              <a:defRPr/>
            </a:pPr>
            <a:r>
              <a:rPr kumimoji="0" lang="en-US" sz="1100" b="0" i="0" u="none" strike="noStrike" kern="0" cap="none" spc="0" normalizeH="0" baseline="0" noProof="0" dirty="0">
                <a:ln>
                  <a:noFill/>
                </a:ln>
                <a:solidFill>
                  <a:srgbClr val="FFFFFF"/>
                </a:solidFill>
                <a:effectLst/>
                <a:uLnTx/>
                <a:uFillTx/>
                <a:latin typeface="Arial"/>
                <a:cs typeface="Arial"/>
              </a:rPr>
              <a:t>Current </a:t>
            </a:r>
            <a:r>
              <a:rPr kumimoji="0" lang="sl-SI" sz="1100" b="0" i="0" u="none" strike="noStrike" kern="0" cap="none" spc="0" normalizeH="0" baseline="0" noProof="0" dirty="0">
                <a:ln>
                  <a:noFill/>
                </a:ln>
                <a:solidFill>
                  <a:srgbClr val="FFFFFF"/>
                </a:solidFill>
                <a:effectLst/>
                <a:uLnTx/>
                <a:uFillTx/>
                <a:latin typeface="Arial"/>
                <a:cs typeface="Arial"/>
              </a:rPr>
              <a:t>C</a:t>
            </a:r>
            <a:r>
              <a:rPr kumimoji="0" lang="en-US" sz="1100" b="0" i="0" u="none" strike="noStrike" kern="0" cap="none" spc="0" normalizeH="0" baseline="0" noProof="0" dirty="0">
                <a:ln>
                  <a:noFill/>
                </a:ln>
                <a:solidFill>
                  <a:srgbClr val="FFFFFF"/>
                </a:solidFill>
                <a:effectLst/>
                <a:uLnTx/>
                <a:uFillTx/>
                <a:latin typeface="Arial"/>
                <a:cs typeface="Arial"/>
              </a:rPr>
              <a:t>lass</a:t>
            </a:r>
            <a:endParaRPr kumimoji="0" lang="de-AT" sz="1100" b="0" i="0" u="none" strike="noStrike" kern="0" cap="none" spc="0" normalizeH="0" baseline="0" noProof="0" dirty="0">
              <a:ln>
                <a:noFill/>
              </a:ln>
              <a:solidFill>
                <a:srgbClr val="FFFFFF"/>
              </a:solidFill>
              <a:effectLst/>
              <a:uLnTx/>
              <a:uFillTx/>
              <a:latin typeface="Arial"/>
              <a:ea typeface="+mn-ea"/>
              <a:cs typeface="Arial"/>
            </a:endParaRPr>
          </a:p>
        </p:txBody>
      </p:sp>
      <p:grpSp>
        <p:nvGrpSpPr>
          <p:cNvPr id="50" name="Group 49">
            <a:extLst>
              <a:ext uri="{FF2B5EF4-FFF2-40B4-BE49-F238E27FC236}">
                <a16:creationId xmlns:a16="http://schemas.microsoft.com/office/drawing/2014/main" id="{1EB93E57-7F48-469E-A4AB-7A827DDFADC6}"/>
              </a:ext>
            </a:extLst>
          </p:cNvPr>
          <p:cNvGrpSpPr/>
          <p:nvPr/>
        </p:nvGrpSpPr>
        <p:grpSpPr>
          <a:xfrm>
            <a:off x="602304" y="4984991"/>
            <a:ext cx="538404" cy="211330"/>
            <a:chOff x="974653" y="4867882"/>
            <a:chExt cx="511366" cy="216674"/>
          </a:xfrm>
        </p:grpSpPr>
        <p:sp>
          <p:nvSpPr>
            <p:cNvPr id="67" name="Rectangle 66">
              <a:extLst>
                <a:ext uri="{FF2B5EF4-FFF2-40B4-BE49-F238E27FC236}">
                  <a16:creationId xmlns:a16="http://schemas.microsoft.com/office/drawing/2014/main" id="{DFCB69D7-9913-4E19-9D09-5A972709E3B3}"/>
                </a:ext>
              </a:extLst>
            </p:cNvPr>
            <p:cNvSpPr/>
            <p:nvPr/>
          </p:nvSpPr>
          <p:spPr bwMode="auto">
            <a:xfrm>
              <a:off x="974653" y="4867882"/>
              <a:ext cx="175425"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71" name="Rectangle 70">
              <a:extLst>
                <a:ext uri="{FF2B5EF4-FFF2-40B4-BE49-F238E27FC236}">
                  <a16:creationId xmlns:a16="http://schemas.microsoft.com/office/drawing/2014/main" id="{ECD40C1A-ACC9-4516-95C0-6617F98B48DE}"/>
                </a:ext>
              </a:extLst>
            </p:cNvPr>
            <p:cNvSpPr/>
            <p:nvPr/>
          </p:nvSpPr>
          <p:spPr bwMode="auto">
            <a:xfrm>
              <a:off x="1310594" y="4868556"/>
              <a:ext cx="175425"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93" name="Rectangle 92">
            <a:extLst>
              <a:ext uri="{FF2B5EF4-FFF2-40B4-BE49-F238E27FC236}">
                <a16:creationId xmlns:a16="http://schemas.microsoft.com/office/drawing/2014/main" id="{2A946A55-17A0-4995-85AF-2F676C8C19B8}"/>
              </a:ext>
            </a:extLst>
          </p:cNvPr>
          <p:cNvSpPr/>
          <p:nvPr>
            <p:custDataLst>
              <p:tags r:id="rId29"/>
            </p:custDataLst>
          </p:nvPr>
        </p:nvSpPr>
        <p:spPr bwMode="auto">
          <a:xfrm>
            <a:off x="1201465" y="4984991"/>
            <a:ext cx="516999" cy="216000"/>
          </a:xfrm>
          <a:prstGeom prst="rect">
            <a:avLst/>
          </a:prstGeom>
          <a:solidFill>
            <a:schemeClr val="accent5"/>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sl-SI" sz="1100" dirty="0">
                <a:solidFill>
                  <a:srgbClr val="1D1D1D"/>
                </a:solidFill>
                <a:latin typeface="Arial"/>
                <a:cs typeface="Arial"/>
              </a:rPr>
              <a:t>14</a:t>
            </a:r>
            <a:r>
              <a:rPr kumimoji="0" lang="en-US" sz="1100" b="0" i="0" u="none" strike="noStrike" kern="1200" cap="none" spc="0" normalizeH="0" baseline="0" noProof="0" dirty="0">
                <a:ln>
                  <a:noFill/>
                </a:ln>
                <a:solidFill>
                  <a:srgbClr val="1D1D1D"/>
                </a:solidFill>
                <a:effectLst/>
                <a:uLnTx/>
                <a:uFillTx/>
                <a:latin typeface="Arial"/>
                <a:cs typeface="Arial"/>
              </a:rPr>
              <a:t>0</a:t>
            </a:r>
            <a:r>
              <a:rPr kumimoji="0" lang="sl-SI" sz="1100" b="0" i="0" u="none" strike="noStrike" kern="1200" cap="none" spc="0" normalizeH="0" baseline="0" noProof="0" dirty="0">
                <a:ln>
                  <a:noFill/>
                </a:ln>
                <a:solidFill>
                  <a:srgbClr val="1D1D1D"/>
                </a:solidFill>
                <a:effectLst/>
                <a:uLnTx/>
                <a:uFillTx/>
                <a:latin typeface="Arial"/>
                <a:cs typeface="Arial"/>
              </a:rPr>
              <a:t> </a:t>
            </a:r>
            <a:r>
              <a:rPr kumimoji="0" lang="en-US" sz="1100" b="0" i="0" u="none" strike="noStrike" kern="1200" cap="none" spc="0" normalizeH="0" baseline="0" noProof="0" dirty="0">
                <a:ln>
                  <a:noFill/>
                </a:ln>
                <a:solidFill>
                  <a:srgbClr val="1D1D1D"/>
                </a:solidFill>
                <a:effectLst/>
                <a:uLnTx/>
                <a:uFillTx/>
                <a:latin typeface="Arial"/>
                <a:ea typeface="+mn-ea"/>
                <a:cs typeface="Arial"/>
              </a:rPr>
              <a:t>A</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4" name="Rectangle 93">
            <a:extLst>
              <a:ext uri="{FF2B5EF4-FFF2-40B4-BE49-F238E27FC236}">
                <a16:creationId xmlns:a16="http://schemas.microsoft.com/office/drawing/2014/main" id="{48EA9DA5-0911-469F-944A-2250BB130932}"/>
              </a:ext>
            </a:extLst>
          </p:cNvPr>
          <p:cNvSpPr/>
          <p:nvPr>
            <p:custDataLst>
              <p:tags r:id="rId30"/>
            </p:custDataLst>
          </p:nvPr>
        </p:nvSpPr>
        <p:spPr bwMode="auto">
          <a:xfrm>
            <a:off x="1182450" y="5249886"/>
            <a:ext cx="536014" cy="215999"/>
          </a:xfrm>
          <a:prstGeom prst="rect">
            <a:avLst/>
          </a:prstGeom>
          <a:solidFill>
            <a:schemeClr val="accent4"/>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 name="Rectangle 1">
            <a:extLst>
              <a:ext uri="{FF2B5EF4-FFF2-40B4-BE49-F238E27FC236}">
                <a16:creationId xmlns:a16="http://schemas.microsoft.com/office/drawing/2014/main" id="{D761FCAE-9FA6-3C6B-F0B4-6641425FA77B}"/>
              </a:ext>
            </a:extLst>
          </p:cNvPr>
          <p:cNvSpPr/>
          <p:nvPr>
            <p:custDataLst>
              <p:tags r:id="rId31"/>
            </p:custDataLst>
          </p:nvPr>
        </p:nvSpPr>
        <p:spPr bwMode="auto">
          <a:xfrm>
            <a:off x="608146" y="3846244"/>
            <a:ext cx="1110318" cy="216000"/>
          </a:xfrm>
          <a:prstGeom prst="rect">
            <a:avLst/>
          </a:prstGeom>
          <a:solidFill>
            <a:srgbClr val="0A8276"/>
          </a:solidFill>
          <a:ln w="9525" cap="flat" cmpd="sng" algn="ctr">
            <a:solidFill>
              <a:schemeClr val="tx2"/>
            </a:solid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r>
              <a:rPr lang="en-US" sz="1100" dirty="0">
                <a:solidFill>
                  <a:srgbClr val="1D1D1D"/>
                </a:solidFill>
                <a:latin typeface="Arial"/>
                <a:cs typeface="Arial"/>
              </a:rPr>
              <a:t>7</a:t>
            </a:r>
            <a:r>
              <a:rPr kumimoji="0" lang="en-US" sz="1100" b="0" i="0" u="none" strike="noStrike" kern="1200" cap="none" spc="0" normalizeH="0" baseline="0" noProof="0" dirty="0">
                <a:ln>
                  <a:noFill/>
                </a:ln>
                <a:solidFill>
                  <a:srgbClr val="1D1D1D"/>
                </a:solidFill>
                <a:effectLst/>
                <a:uLnTx/>
                <a:uFillTx/>
                <a:latin typeface="Arial"/>
                <a:cs typeface="Arial"/>
              </a:rPr>
              <a:t>5</a:t>
            </a:r>
            <a:r>
              <a:rPr kumimoji="0" lang="en-US" sz="1100" b="0" i="0" u="none" strike="noStrike" kern="1200" cap="none" spc="0" normalizeH="0" baseline="0" noProof="0" dirty="0">
                <a:ln>
                  <a:noFill/>
                </a:ln>
                <a:solidFill>
                  <a:srgbClr val="1D1D1D"/>
                </a:solidFill>
                <a:effectLst/>
                <a:uLnTx/>
                <a:uFillTx/>
                <a:latin typeface="Arial"/>
                <a:ea typeface="+mn-ea"/>
                <a:cs typeface="Arial"/>
              </a:rPr>
              <a:t>0 V</a:t>
            </a: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4" name="Rectangle 3">
            <a:extLst>
              <a:ext uri="{FF2B5EF4-FFF2-40B4-BE49-F238E27FC236}">
                <a16:creationId xmlns:a16="http://schemas.microsoft.com/office/drawing/2014/main" id="{A46D1F09-4901-5162-6CC1-460DAF4A9CFE}"/>
              </a:ext>
            </a:extLst>
          </p:cNvPr>
          <p:cNvSpPr/>
          <p:nvPr/>
        </p:nvSpPr>
        <p:spPr bwMode="auto">
          <a:xfrm>
            <a:off x="778346" y="4985647"/>
            <a:ext cx="208852" cy="209607"/>
          </a:xfrm>
          <a:prstGeom prst="rect">
            <a:avLst/>
          </a:prstGeom>
          <a:solidFill>
            <a:srgbClr val="0A8276"/>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5" name="TextBox 4">
            <a:extLst>
              <a:ext uri="{FF2B5EF4-FFF2-40B4-BE49-F238E27FC236}">
                <a16:creationId xmlns:a16="http://schemas.microsoft.com/office/drawing/2014/main" id="{188946B8-197F-922F-40F7-432BFFE05717}"/>
              </a:ext>
            </a:extLst>
          </p:cNvPr>
          <p:cNvSpPr txBox="1"/>
          <p:nvPr/>
        </p:nvSpPr>
        <p:spPr bwMode="auto">
          <a:xfrm>
            <a:off x="729221" y="4981118"/>
            <a:ext cx="311328" cy="179306"/>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050" kern="0" baseline="0" dirty="0">
                <a:latin typeface="+mn-lt"/>
                <a:ea typeface="+mn-ea"/>
                <a:cs typeface="+mn-cs"/>
              </a:rPr>
              <a:t>50 A</a:t>
            </a:r>
            <a:endParaRPr lang="de-AT" sz="1050" kern="0" baseline="0" dirty="0">
              <a:latin typeface="+mn-lt"/>
              <a:ea typeface="+mn-ea"/>
              <a:cs typeface="+mn-cs"/>
            </a:endParaRPr>
          </a:p>
        </p:txBody>
      </p:sp>
      <p:grpSp>
        <p:nvGrpSpPr>
          <p:cNvPr id="6" name="Group 5">
            <a:extLst>
              <a:ext uri="{FF2B5EF4-FFF2-40B4-BE49-F238E27FC236}">
                <a16:creationId xmlns:a16="http://schemas.microsoft.com/office/drawing/2014/main" id="{328E2469-AAF3-0039-33A2-C43664D52A7D}"/>
              </a:ext>
            </a:extLst>
          </p:cNvPr>
          <p:cNvGrpSpPr/>
          <p:nvPr/>
        </p:nvGrpSpPr>
        <p:grpSpPr>
          <a:xfrm>
            <a:off x="609896" y="5249886"/>
            <a:ext cx="538404" cy="218151"/>
            <a:chOff x="974653" y="4867882"/>
            <a:chExt cx="511366" cy="216674"/>
          </a:xfrm>
        </p:grpSpPr>
        <p:sp>
          <p:nvSpPr>
            <p:cNvPr id="7" name="Rectangle 6">
              <a:extLst>
                <a:ext uri="{FF2B5EF4-FFF2-40B4-BE49-F238E27FC236}">
                  <a16:creationId xmlns:a16="http://schemas.microsoft.com/office/drawing/2014/main" id="{B3B1B19A-ED25-93B3-DCAB-10CBBB468016}"/>
                </a:ext>
              </a:extLst>
            </p:cNvPr>
            <p:cNvSpPr/>
            <p:nvPr/>
          </p:nvSpPr>
          <p:spPr bwMode="auto">
            <a:xfrm>
              <a:off x="974653" y="4867882"/>
              <a:ext cx="175425"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9" name="Rectangle 8">
              <a:extLst>
                <a:ext uri="{FF2B5EF4-FFF2-40B4-BE49-F238E27FC236}">
                  <a16:creationId xmlns:a16="http://schemas.microsoft.com/office/drawing/2014/main" id="{EE5BF6BE-4B84-3695-95F5-B19A998B4C8E}"/>
                </a:ext>
              </a:extLst>
            </p:cNvPr>
            <p:cNvSpPr/>
            <p:nvPr/>
          </p:nvSpPr>
          <p:spPr bwMode="auto">
            <a:xfrm>
              <a:off x="1310594" y="4868556"/>
              <a:ext cx="175425"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11" name="Rectangle 10">
            <a:extLst>
              <a:ext uri="{FF2B5EF4-FFF2-40B4-BE49-F238E27FC236}">
                <a16:creationId xmlns:a16="http://schemas.microsoft.com/office/drawing/2014/main" id="{CFFD78D5-FA1D-7298-D95A-33DF0D951F6D}"/>
              </a:ext>
            </a:extLst>
          </p:cNvPr>
          <p:cNvSpPr/>
          <p:nvPr/>
        </p:nvSpPr>
        <p:spPr bwMode="auto">
          <a:xfrm>
            <a:off x="784833" y="5247735"/>
            <a:ext cx="208852" cy="218151"/>
          </a:xfrm>
          <a:prstGeom prst="rect">
            <a:avLst/>
          </a:prstGeom>
          <a:solidFill>
            <a:srgbClr val="0A8276"/>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nvGrpSpPr>
          <p:cNvPr id="13" name="Group 12">
            <a:extLst>
              <a:ext uri="{FF2B5EF4-FFF2-40B4-BE49-F238E27FC236}">
                <a16:creationId xmlns:a16="http://schemas.microsoft.com/office/drawing/2014/main" id="{0BB27907-7B5C-3464-EC5E-E83E71257738}"/>
              </a:ext>
            </a:extLst>
          </p:cNvPr>
          <p:cNvGrpSpPr/>
          <p:nvPr/>
        </p:nvGrpSpPr>
        <p:grpSpPr>
          <a:xfrm>
            <a:off x="623392" y="5517232"/>
            <a:ext cx="538404" cy="195585"/>
            <a:chOff x="974653" y="4867882"/>
            <a:chExt cx="511366" cy="216674"/>
          </a:xfrm>
        </p:grpSpPr>
        <p:sp>
          <p:nvSpPr>
            <p:cNvPr id="15" name="Rectangle 14">
              <a:extLst>
                <a:ext uri="{FF2B5EF4-FFF2-40B4-BE49-F238E27FC236}">
                  <a16:creationId xmlns:a16="http://schemas.microsoft.com/office/drawing/2014/main" id="{E3D834BE-D2D6-CC9A-A9BE-7CE28D3ADE39}"/>
                </a:ext>
              </a:extLst>
            </p:cNvPr>
            <p:cNvSpPr/>
            <p:nvPr/>
          </p:nvSpPr>
          <p:spPr bwMode="auto">
            <a:xfrm>
              <a:off x="974653" y="4867882"/>
              <a:ext cx="175425"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18" name="Rectangle 17">
              <a:extLst>
                <a:ext uri="{FF2B5EF4-FFF2-40B4-BE49-F238E27FC236}">
                  <a16:creationId xmlns:a16="http://schemas.microsoft.com/office/drawing/2014/main" id="{42DF6E58-4395-344B-C264-CD46C2A5C107}"/>
                </a:ext>
              </a:extLst>
            </p:cNvPr>
            <p:cNvSpPr/>
            <p:nvPr/>
          </p:nvSpPr>
          <p:spPr bwMode="auto">
            <a:xfrm>
              <a:off x="1310594" y="4868556"/>
              <a:ext cx="175425"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19" name="Rectangle 18">
            <a:extLst>
              <a:ext uri="{FF2B5EF4-FFF2-40B4-BE49-F238E27FC236}">
                <a16:creationId xmlns:a16="http://schemas.microsoft.com/office/drawing/2014/main" id="{6DA8AEBC-B696-EEDF-F16C-1E249194D0E9}"/>
              </a:ext>
            </a:extLst>
          </p:cNvPr>
          <p:cNvSpPr/>
          <p:nvPr/>
        </p:nvSpPr>
        <p:spPr bwMode="auto">
          <a:xfrm>
            <a:off x="798329" y="5517232"/>
            <a:ext cx="208852" cy="194977"/>
          </a:xfrm>
          <a:prstGeom prst="rect">
            <a:avLst/>
          </a:prstGeom>
          <a:solidFill>
            <a:srgbClr val="0A8276"/>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0" name="TextBox 19">
            <a:extLst>
              <a:ext uri="{FF2B5EF4-FFF2-40B4-BE49-F238E27FC236}">
                <a16:creationId xmlns:a16="http://schemas.microsoft.com/office/drawing/2014/main" id="{1C1F2871-589A-714F-5777-0A2D61B3BB9F}"/>
              </a:ext>
            </a:extLst>
          </p:cNvPr>
          <p:cNvSpPr txBox="1"/>
          <p:nvPr/>
        </p:nvSpPr>
        <p:spPr bwMode="auto">
          <a:xfrm>
            <a:off x="743383" y="5536743"/>
            <a:ext cx="382467" cy="1760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050" kern="0" baseline="0" dirty="0">
                <a:latin typeface="+mn-lt"/>
                <a:ea typeface="+mn-ea"/>
                <a:cs typeface="+mn-cs"/>
              </a:rPr>
              <a:t>100 A</a:t>
            </a:r>
            <a:endParaRPr lang="de-AT" sz="1050" kern="0" baseline="0" dirty="0">
              <a:latin typeface="+mn-lt"/>
              <a:ea typeface="+mn-ea"/>
              <a:cs typeface="+mn-cs"/>
            </a:endParaRPr>
          </a:p>
        </p:txBody>
      </p:sp>
      <p:grpSp>
        <p:nvGrpSpPr>
          <p:cNvPr id="21" name="Group 20">
            <a:extLst>
              <a:ext uri="{FF2B5EF4-FFF2-40B4-BE49-F238E27FC236}">
                <a16:creationId xmlns:a16="http://schemas.microsoft.com/office/drawing/2014/main" id="{0ED927E9-5279-2A75-4732-EB1EEE5869FE}"/>
              </a:ext>
            </a:extLst>
          </p:cNvPr>
          <p:cNvGrpSpPr/>
          <p:nvPr/>
        </p:nvGrpSpPr>
        <p:grpSpPr>
          <a:xfrm>
            <a:off x="1196106" y="4739972"/>
            <a:ext cx="538404" cy="195585"/>
            <a:chOff x="974653" y="4867882"/>
            <a:chExt cx="511366" cy="216674"/>
          </a:xfrm>
        </p:grpSpPr>
        <p:sp>
          <p:nvSpPr>
            <p:cNvPr id="23" name="Rectangle 22">
              <a:extLst>
                <a:ext uri="{FF2B5EF4-FFF2-40B4-BE49-F238E27FC236}">
                  <a16:creationId xmlns:a16="http://schemas.microsoft.com/office/drawing/2014/main" id="{58E88848-8904-D63B-E536-4A3A7111B676}"/>
                </a:ext>
              </a:extLst>
            </p:cNvPr>
            <p:cNvSpPr/>
            <p:nvPr/>
          </p:nvSpPr>
          <p:spPr bwMode="auto">
            <a:xfrm>
              <a:off x="974653" y="4867882"/>
              <a:ext cx="175425" cy="216000"/>
            </a:xfrm>
            <a:prstGeom prst="rect">
              <a:avLst/>
            </a:prstGeom>
            <a:solidFill>
              <a:schemeClr val="accent4"/>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6" name="Rectangle 25">
              <a:extLst>
                <a:ext uri="{FF2B5EF4-FFF2-40B4-BE49-F238E27FC236}">
                  <a16:creationId xmlns:a16="http://schemas.microsoft.com/office/drawing/2014/main" id="{78CD94E9-E2B7-CE96-4AB5-EE6550E01B93}"/>
                </a:ext>
              </a:extLst>
            </p:cNvPr>
            <p:cNvSpPr/>
            <p:nvPr/>
          </p:nvSpPr>
          <p:spPr bwMode="auto">
            <a:xfrm>
              <a:off x="1310594" y="4868556"/>
              <a:ext cx="175425" cy="216000"/>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Lst>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grpSp>
      <p:sp>
        <p:nvSpPr>
          <p:cNvPr id="27" name="Rectangle 26">
            <a:extLst>
              <a:ext uri="{FF2B5EF4-FFF2-40B4-BE49-F238E27FC236}">
                <a16:creationId xmlns:a16="http://schemas.microsoft.com/office/drawing/2014/main" id="{3986DD5B-F823-5F1F-7AF4-DBE7D998B833}"/>
              </a:ext>
            </a:extLst>
          </p:cNvPr>
          <p:cNvSpPr/>
          <p:nvPr/>
        </p:nvSpPr>
        <p:spPr bwMode="auto">
          <a:xfrm>
            <a:off x="1348942" y="4738960"/>
            <a:ext cx="208852" cy="194977"/>
          </a:xfrm>
          <a:prstGeom prst="rect">
            <a:avLst/>
          </a:prstGeom>
          <a:solidFill>
            <a:srgbClr val="0A8276"/>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28" name="TextBox 27">
            <a:extLst>
              <a:ext uri="{FF2B5EF4-FFF2-40B4-BE49-F238E27FC236}">
                <a16:creationId xmlns:a16="http://schemas.microsoft.com/office/drawing/2014/main" id="{DDA9BC7E-4D75-3AF1-BF0D-EDC03BC829C3}"/>
              </a:ext>
            </a:extLst>
          </p:cNvPr>
          <p:cNvSpPr txBox="1"/>
          <p:nvPr/>
        </p:nvSpPr>
        <p:spPr bwMode="auto">
          <a:xfrm>
            <a:off x="1273850" y="4733494"/>
            <a:ext cx="382467" cy="1760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050" kern="0" baseline="0" dirty="0">
                <a:latin typeface="+mn-lt"/>
                <a:ea typeface="+mn-ea"/>
                <a:cs typeface="+mn-cs"/>
              </a:rPr>
              <a:t>120 A</a:t>
            </a:r>
            <a:endParaRPr lang="de-AT" sz="1050" kern="0" baseline="0" dirty="0">
              <a:latin typeface="+mn-lt"/>
              <a:ea typeface="+mn-ea"/>
              <a:cs typeface="+mn-cs"/>
            </a:endParaRPr>
          </a:p>
        </p:txBody>
      </p:sp>
      <p:sp>
        <p:nvSpPr>
          <p:cNvPr id="29" name="Rectangle 28">
            <a:extLst>
              <a:ext uri="{FF2B5EF4-FFF2-40B4-BE49-F238E27FC236}">
                <a16:creationId xmlns:a16="http://schemas.microsoft.com/office/drawing/2014/main" id="{07385DED-EC4F-D16A-0012-032B8F72DB4C}"/>
              </a:ext>
            </a:extLst>
          </p:cNvPr>
          <p:cNvSpPr/>
          <p:nvPr/>
        </p:nvSpPr>
        <p:spPr bwMode="auto">
          <a:xfrm>
            <a:off x="1433829" y="5249885"/>
            <a:ext cx="286966" cy="216000"/>
          </a:xfrm>
          <a:prstGeom prst="rect">
            <a:avLst/>
          </a:prstGeom>
          <a:solidFill>
            <a:srgbClr val="0A8276"/>
          </a:solidFill>
          <a:ln w="9525" cap="flat" cmpd="sng" algn="ctr">
            <a:noFill/>
            <a:prstDash val="solid"/>
            <a:miter lim="800000"/>
            <a:headEnd type="none" w="med" len="med"/>
            <a:tailEnd type="none" w="med" len="med"/>
          </a:ln>
        </p:spPr>
        <p:txBody>
          <a:bodyPr wrap="square" lIns="72000" tIns="72000" rIns="72000" bIns="72000" rtlCol="0" anchor="ctr"/>
          <a:lstStyle/>
          <a:p>
            <a:pPr marL="0" marR="0" lvl="0" indent="0" algn="ctr" defTabSz="576000" rtl="0" eaLnBrk="0" fontAlgn="base" latinLnBrk="0" hangingPunct="0">
              <a:lnSpc>
                <a:spcPct val="120000"/>
              </a:lnSpc>
              <a:spcBef>
                <a:spcPct val="0"/>
              </a:spcBef>
              <a:spcAft>
                <a:spcPct val="0"/>
              </a:spcAft>
              <a:buClrTx/>
              <a:buSzTx/>
              <a:buFontTx/>
              <a:buNone/>
              <a:tabLst/>
              <a:defRPr/>
            </a:pPr>
            <a:endParaRPr kumimoji="0" lang="de-AT" sz="1100" b="0" i="0" u="none" strike="noStrike" kern="1200" cap="none" spc="0" normalizeH="0" baseline="0" noProof="0" dirty="0">
              <a:ln>
                <a:noFill/>
              </a:ln>
              <a:solidFill>
                <a:srgbClr val="1D1D1D"/>
              </a:solidFill>
              <a:effectLst/>
              <a:uLnTx/>
              <a:uFillTx/>
              <a:latin typeface="Arial"/>
              <a:ea typeface="+mn-ea"/>
              <a:cs typeface="Arial"/>
            </a:endParaRPr>
          </a:p>
        </p:txBody>
      </p:sp>
      <p:sp>
        <p:nvSpPr>
          <p:cNvPr id="12" name="TextBox 11">
            <a:extLst>
              <a:ext uri="{FF2B5EF4-FFF2-40B4-BE49-F238E27FC236}">
                <a16:creationId xmlns:a16="http://schemas.microsoft.com/office/drawing/2014/main" id="{E481F93B-99D8-813D-F40F-CCF027CE800B}"/>
              </a:ext>
            </a:extLst>
          </p:cNvPr>
          <p:cNvSpPr txBox="1"/>
          <p:nvPr/>
        </p:nvSpPr>
        <p:spPr bwMode="auto">
          <a:xfrm>
            <a:off x="737479" y="5262524"/>
            <a:ext cx="444971" cy="1760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050" kern="0" dirty="0">
                <a:latin typeface="+mn-lt"/>
              </a:rPr>
              <a:t>75</a:t>
            </a:r>
            <a:r>
              <a:rPr lang="en-US" sz="1050" kern="0" baseline="0" dirty="0">
                <a:latin typeface="+mn-lt"/>
                <a:ea typeface="+mn-ea"/>
                <a:cs typeface="+mn-cs"/>
              </a:rPr>
              <a:t> A</a:t>
            </a:r>
            <a:endParaRPr lang="de-AT" sz="1050" kern="0" baseline="0" dirty="0">
              <a:latin typeface="+mn-lt"/>
              <a:ea typeface="+mn-ea"/>
              <a:cs typeface="+mn-cs"/>
            </a:endParaRPr>
          </a:p>
        </p:txBody>
      </p:sp>
      <p:sp>
        <p:nvSpPr>
          <p:cNvPr id="30" name="TextBox 29">
            <a:extLst>
              <a:ext uri="{FF2B5EF4-FFF2-40B4-BE49-F238E27FC236}">
                <a16:creationId xmlns:a16="http://schemas.microsoft.com/office/drawing/2014/main" id="{5E89B40B-4625-C99A-E2F2-B5411E4841B3}"/>
              </a:ext>
            </a:extLst>
          </p:cNvPr>
          <p:cNvSpPr txBox="1"/>
          <p:nvPr/>
        </p:nvSpPr>
        <p:spPr bwMode="auto">
          <a:xfrm>
            <a:off x="1241974" y="5264998"/>
            <a:ext cx="1100962" cy="1844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100" kern="0" baseline="0" dirty="0">
                <a:latin typeface="+mn-lt"/>
                <a:ea typeface="+mn-ea"/>
                <a:cs typeface="+mn-cs"/>
              </a:rPr>
              <a:t>150 A</a:t>
            </a:r>
            <a:endParaRPr lang="de-AT" sz="1100" kern="0" baseline="0" dirty="0">
              <a:latin typeface="+mn-lt"/>
              <a:ea typeface="+mn-ea"/>
              <a:cs typeface="+mn-cs"/>
            </a:endParaRPr>
          </a:p>
        </p:txBody>
      </p:sp>
    </p:spTree>
    <p:custDataLst>
      <p:tags r:id="rId1"/>
    </p:custDataLst>
    <p:extLst>
      <p:ext uri="{BB962C8B-B14F-4D97-AF65-F5344CB8AC3E}">
        <p14:creationId xmlns:p14="http://schemas.microsoft.com/office/powerpoint/2010/main" val="288587568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10GBAEGmsRCrWeMKWDzcgcEAAAAAAADAAAAAAADAAAAAwADAAEA////////BQAAAAMAEAALmbtfm0J6y0eAX6+1SJL+GwQAAAABAAMAAAACAAMAAAAEAAQAAgD///////8FAAAABAAQAAtU0aCsIfNqT7UjuaR5MIJh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XQYEAQaaxEKtZ4wpYPNyBwNEYXRhABsAAAAETGlua2VkU2hhcGVEYXRhAAUAAAAAAAJOYW1lABkAAABMaW5rZWRTaGFwZXNEYXRhUHJvcGVydHkAEFZlcnNpb24AAAAAAAlMYXN0V3JpdGUAQe86A4IBAAAAAQD/////gwCDAAAABV9pZAAQAAAABJm7X5tCestHgF+vtUiS/hsDRGF0YQAbAAAABExpbmtlZFNoYXBlRGF0YQAFAAAAAAACTmFtZQAZAAAATGlua2VkU2hhcGVzRGF0YVByb3BlcnR5ABBWZXJzaW9uAAEAAAAJTGFzdFdyaXRlAP9ciAmOAQAAAAI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EAP///////wUAAAACAP///////////////////////////////////////////////////////////////////////////////////////////////////////////////////////////////////////////////////////////////////////////////////////////////////////////////////////////////////////////////////////////////////////////////////////////////////////////////////////////////////////////////////////////////////////////////////////////////////////////////////////////////////////////////////////////////////////////////////////////////wEAIAH///////////////8AAA7///////8FAAAAAwD///////////////////////////////////////////////////////////////////////////////////////////////////////////////////////////////////////////////////////////////////////////////////////////////////////////////////////////////////////////////////////////////////////////////////////////////////////////////////////////////////////////////////////////////////////////////////////////////////////////////////////////////////////////////////////////////////////////////////////////////////////////////////////8CAAIBAwAAAAIA////////GgAGTGlua2VkU2hhcGVzRGF0YVByb3BlcnR5XzAEAAAAAAAFAAAABAAFAAAAAwAFAAAAAAAFAAAAAwADAAIBAwAAAAMA////////GgAGTGlua2VkU2hhcGVzRGF0YVByb3BlcnR5XzEEAAAAAQAFAAAAAgAFAAAAAQAFAAAAAgD///////8EAAEBAwAAAAQA////////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51537156317095"/>
  <p:tag name="EMPOWERCHARTSPROPERTIES_A_LENGTH" val="24576"/>
  <p:tag name="EMPOWER.INTEGRATIONS.LOCALMASTER" val="{&quot;path&quot;:null,&quot;elementId&quot;:&quot;f8120ca7-cceb-428f-a7d0-f20ce9397e1b&quot;,&quot;elementName&quot;:null,&quot;databaseId&quot;:&quot;FDE84254-54DB-49E3-9A0E-CDE72035D530&quot;,&quot;timeStamp&quot;:&quot;2024-03-07T09:47:48&quot;}"/>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4.xml><?xml version="1.0" encoding="utf-8"?>
<p:tagLst xmlns:a="http://schemas.openxmlformats.org/drawingml/2006/main" xmlns:r="http://schemas.openxmlformats.org/officeDocument/2006/relationships" xmlns:p="http://schemas.openxmlformats.org/presentationml/2006/main">
  <p:tag name="MIO_EKGUID" val="74798e9d-c212-4eec-bfca-3772df1468dc"/>
  <p:tag name="MIO_GUID" val="562ecbee-2db9-4f61-bbdd-cc17e748ad9d"/>
  <p:tag name="MIO_UPDATE" val="True"/>
  <p:tag name="MIO_VERSION" val="17.04.2023 19:14:03"/>
  <p:tag name="MIO_DBID" val="FDE84254-54DB-49E3-9A0E-CDE72035D530"/>
  <p:tag name="MIO_LASTDOWNLOADED" val="21.02.2024 08:37:54.925"/>
  <p:tag name="MIO_OBJECTNAME" val="Windmills and solar panels"/>
  <p:tag name="MIO_LASTEDITORNAME" val="Miguel Madeyski"/>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MIO_GUID" val="589416b6-20c7-4edc-8e0b-4cafaddbabd5"/>
  <p:tag name="MIO_EKGUID" val="ea890a8b-b311-4aac-b27f-8ca9d0de9969"/>
  <p:tag name="MIO_UPDATE" val="True"/>
  <p:tag name="MIO_VERSION" val="09.03.2023 11:06:28"/>
  <p:tag name="MIO_DBID" val="FDE84254-54DB-49E3-9A0E-CDE72035D530"/>
  <p:tag name="MIO_LASTDOWNLOADED" val="13.03.2024 10:33:13.817"/>
  <p:tag name="MIO_OBJECTNAME" val="Icon / Text box"/>
  <p:tag name="MIO_CONTENTTAG" val="ehUaDt3LuUWNb579sHB/bpJ9R5RFF2FHi0YA2cR1mdM="/>
  <p:tag name="MIO_LASTEDITORNAME" val="Verena Kohl"/>
</p:tagLst>
</file>

<file path=ppt/tags/tag2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tgsAAAAAAAAAAAAAIAD///////////////8AAAD///////////////8DAAAAAgD///////8DAAAAAgD///////8DAAAAAgD///////8DAAAAAgD///////8DAAAABAD///////////////////////////////////////////////////////////////////////////////////////////////////////////////////////////////////////////////////////////////////////////////////////////////////////////////////////////////////////////////////////////////////////////////////////////////////////////////////////////////////////////////////////////////////////////////////////////////////////////////////////////////////////////////8BACAA////////////////AAAO////////AwAAAAQA////////////////////////////////////////////////////////////////////////////////////////////////////////////////////////////////////////////////////////////////////////////////////////////////////////////////////////////////////////////////////////////////////////////////////////////////////////////////////////////////////////////////////////////////////////////////////////////////////////////////////////////////////////////////////////////////////////////////////////////////////////////////////////AgAEAP///////wUAAAACABAAC59I61J9+SRKrztzgRWPdK4EAAAAAAADAAAAAAADAAAAAwADAAAAAAADAAAAAwADAAAAAAADAAAABAADAAAAAAADAAAABAADAAIA////////BQAAAAMAEAALcsKhXb84TEWlpbcdIvY9BQQAAAABAAMAAAACAAMAAAAEAAMAAAACAAMAAAAEAAQABQD///////8FAAAABAAQAAses8bYooAUT52BSLl3oxYFBAAAAAIAAwAAAAMAAwAAAAEAAwAAAAMA////////AwAAAAI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0jrUn35JEqvO3OBFY90rgREYXRhAAUAAAAAAk5hbWUADQAAAExpbmtEYXRhTGlzdAAQVmVyc2lvbgABAAAACUxhc3RXcml0ZQB7pIuOkQEAAAABAP////9hAGEAAAAFX2lkABAAAAAEcsKhXb84TEWlpbcdIvY9BQREYXRhAAUAAAAAAk5hbWUADQAAAExpbmtEYXRhTGlzdAAQVmVyc2lvbgAAAAAACUxhc3RXcml0ZQB5pIuOkQEAAAACAP////9wAHAAAAAFX2lkABAAAAAEHrPG2KKAFE+dgUi5d6MWBQNEYXRhABYAAAACUGVyc29uYWxJZAABAAAAAAACTmFtZQALAAAAUGVyc29uYWxJZAAQVmVyc2lvbgAAAAAACUxhc3RXcml0ZQCWpI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EAIAH///////////////8AAA7///////8FAAAABAD///////////////////////////////////////////////////////////////////////////////////////////////////////////////////////////////////////////////////////////////////////////////////////////////////////////////////////////////////////////////////////////////////////////////////////////////////////////////////////////////////////////////////////////////////////////////////////////////////////////////////////////////////////////////////////////////////////////////////////////////////////////////////////8CAAQBAwAAAAIA////////DgAGTGlua0RhdGFMaXN0XzEEAAAAAAAFAAAAAwAFAAAABAAFAAAAAwAFAAAABAAFAAAAAAD///////8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0306396"/>
  <p:tag name="EMPOWERCHARTSPROPERTIES_B_LENGTH" val="24576"/>
  <p:tag name="DOWN_MIGRATION_INITIAL_LAYOUT_REQUIRED" val="9.2.99"/>
  <p:tag name="RUNTIME_ID" val="7529016f-6803-49cd-824a-3b4d618c8459"/>
</p:tagLst>
</file>

<file path=ppt/tags/tag2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8T5KinPxGRIqQTcbj9ytTAEAAAAAAADAAAAAAADAAAAAwADAAAAAAD///////8DAAAAAAD///////8DAAEA////////BQAAAAMAEAALtT0yvKxkC0i7fWVBhTQUJgQAAAABAAMAAAACAAMAAAAEAAQAAQD///////8FAAAABAAQAAvhorv0d8nYQ67bdmfbjjQ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PkqKc/EZEipBNxuP3K1MAREYXRhAAUAAAAAAk5hbWUADQAAAExpbmtEYXRhTGlzdAAQVmVyc2lvbgABAAAACUxhc3RXcml0ZQA1I/uNkQEAAAABAP////9hAGEAAAAFX2lkABAAAAAEtT0yvKxkC0i7fWVBhTQUJgREYXRhAAUAAAAAAk5hbWUADQAAAExpbmtEYXRhTGlzdAAQVmVyc2lvbgAAAAAACUxhc3RXcml0ZQAxI/uNkQEAAAACAP////9wAHAAAAAFX2lkABAAAAAE4aK79HfJ2EOu23Zn2440CANEYXRhABYAAAACUGVyc29uYWxJZAABAAAAAAACTmFtZQALAAAAUGVyc29uYWxJZAAQVmVyc2lvbgAAAAAACUxhc3RXcml0ZQBUI/uN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07317599341"/>
  <p:tag name="EMPOWERCHARTSPROPERTIES_B_LENGTH" val="24576"/>
  <p:tag name="DOWN_MIGRATION_INITIAL_LAYOUT_REQUIRED" val="9.2.99"/>
  <p:tag name="RUNTIME_ID" val="3c8b7fac-b98f-4724-bb9a-451581b5893c"/>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tgsAAAAAAAAAAAAAIAD///////////////8AAAD///////////////8DAAAABAD///////8DAAAABAD///////8DAAAABAD///////8DAAAAAwD///////8DAAAAAwD///////8DAAAAAwD///////8DAAAAAwD///////////////////////////////////////////////////////////////////////////////////////////////////////////////////////////////////////////////////////////////////////////////////////////////////////////////////////////////////////////////////////////////////////////////////////////////////////////////////////////////////////////////////////////////////////////////////////////////////////////////8BACAA////////////////AAAO////////AwAAAAMA////////////////////////////////////////////////////////////////////////////////////////////////////////////////////////////////////////////////////////////////////////////////////////////////////////////////////////////////////////////////////////////////////////////////////////////////////////////////////////////////////////////////////////////////////////////////////////////////////////////////////////////////////////////////////////////////////////////////////////////////////////////////////////AgABAP///////wUAAAACABAAC8LqESnUrhBJqhxzHIQ+PZsEAAAAAAADAAAABAADAAAAAwADAAcA////////BQAAAAMAEAALazoy9ZnW+UWwd2Ckoqk84AQAAAABAAMAAAACAAMAAAABAAMAAAAEAP///////wMAAAAEAP///////wMAAAAAAP///////wMAAAAAAP///////wMAAAAAAP///////wMAAAAAAP///////wQAAwD///////8FAAAABAAQAAvHawokL4kfQpJ5FF98hk5TBAAAAAIAAwAAAAAAAwAAAAI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uoRKdSuEEmqHHMchD49mwREYXRhAAUAAAAAAk5hbWUADQAAAExpbmtEYXRhTGlzdAAQVmVyc2lvbgAAAAAACUxhc3RXcml0ZQDRpIuOkQEAAAABAP////9hAGEAAAAFX2lkABAAAAAEazoy9ZnW+UWwd2Ckoqk84AREYXRhAAUAAAAAAk5hbWUADQAAAExpbmtEYXRhTGlzdAAQVmVyc2lvbgABAAAACUxhc3RXcml0ZQDSpIuOkQEAAAACAP////9wAHAAAAAFX2lkABAAAAAEx2sKJC+JH0KSeRRffIZOUwNEYXRhABYAAAACUGVyc29uYWxJZAABAAAAAAACTmFtZQALAAAAUGVyc29uYWxJZAAQVmVyc2lvbgAAAAAACUxhc3RXcml0ZQDtpI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DAP///////wUAAAADAP///////wUAAAADAP///////wUAAAADAP///////wUAAAADAP///////wUAAAADAP///////////////////////////////////////////////////////////////////////////////////////////////////////////////////////////////////////////////////////////////////////////////////////////////////////////////////////////////////////////////////////////////////////////////////////////////////////////////////////////////////////////////////////////////////////////////////////////////////////////////wEAIAH///////////////8AAA7///////8FAAAABAD///////////////////////////////////////////////////////////////////////////////////////////////////////////////////////////////////////////////////////////////////////////////////////////////////////////////////////////////////////////////////////////////////////////////////////////////////////////////////////////////////////////////////////////////////////////////////////////////////////////////////////////////////////////////////////////////////////////////////////////////////////////////////////8CAAEBAwAAAAIA////////DgAGTGlua0RhdGFMaXN0XzAEAAAAAAAFAAAAAAAFAAAAAwADAAcBAwAAAAMA////////DgAGTGlua0RhdGFMaXN0XzEEAAAAAQAFAAAAAgAFAAAABAAFAAAAAAAFAAAABAAFAAAAAAAFAAAABAAFAAAAAAD///////8FAAAAAAD///////8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1184688"/>
  <p:tag name="EMPOWERCHARTSPROPERTIES_B_LENGTH" val="24576"/>
  <p:tag name="DOWN_MIGRATION_INITIAL_LAYOUT_REQUIRED" val="9.2.99"/>
  <p:tag name="RUNTIME_ID" val="84f6baf9-ecea-47db-80ae-2fe75a729ba0"/>
</p:tagLst>
</file>

<file path=ppt/tags/tag2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8gsAAAAAAAAAAAAAIAD///////////////8AAAD///////////////8DAAAAAgD///////8DAAAAAgD///////////////////////////////////////////////////////////////////////////////////////////////////////////////////////////////////////////////////////////////////////////////////////////////////////////////////////////////////////////////////////////////////////////////////////////////////////////////////////////////////////////////////////////////////////////////////////////////////////////////////////////////////////////////////////////////////////////////////////////////8BACAA////////////////AAAO////////AwAAAAMA////////////////////////////////////////////////////////////////////////////////////////////////////////////////////////////////////////////////////////////////////////////////////////////////////////////////////////////////////////////////////////////////////////////////////////////////////////////////////////////////////////////////////////////////////////////////////////////////////////////////////////////////////////////////////////////////////////////////////////////////////////////////////////AgACAP///////wUAAAACABAAC3K9LRke82hGrcWDjgjUVxEEAAAAAAADAAAAAAADAAAABAADAAAAAAADAAAABAADAAIA////////BQAAAAMAEAAL26ip9dKJ3Em6NmWyzNxKQQQAAAABAAMAAAAEAAMAAAABAAMAAAAEAP///////wQAAgD///////8FAAAABAAQAAuPUuZUp6aZRJz+R4JbmX25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r0tGR7zaEatxYOOCNRXEQREYXRhAAUAAAAAAk5hbWUADQAAAExpbmtEYXRhTGlzdAAQVmVyc2lvbgAAAAAACUxhc3RXcml0ZQDhKcKOkQEAAAABAP////9hAGEAAAAFX2lkABAAAAAE26ip9dKJ3Em6NmWyzNxKQQREYXRhAAUAAAAAAk5hbWUADQAAAExpbmtEYXRhTGlzdAAQVmVyc2lvbgABAAAACUxhc3RXcml0ZQDjKcKOkQEAAAACAP////9wAHAAAAAFX2lkABAAAAAEj1LmVKemmUSc/keCW5l9uQNEYXRhABYAAAACUGVyc29uYWxJZAABAAAAAAACTmFtZQALAAAAUGVyc29uYWxJZAAQVmVyc2lvbgAAAAAACUxhc3RXcml0ZQD/Kc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1270519"/>
  <p:tag name="EMPOWERCHARTSPROPERTIES_B_LENGTH" val="24576"/>
  <p:tag name="DOWN_MIGRATION_INITIAL_LAYOUT_REQUIRED" val="9.2.99"/>
  <p:tag name="RUNTIME_ID" val="93b037fd-1ff5-44f1-bc7e-64d1c983b489"/>
</p:tagLst>
</file>

<file path=ppt/tags/tag2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BAD///////////////////////////////////////////////////////////////////////////////////////////////////////////////////////////////////////////////////////////////////////////////////////////////////////////////////////////////////////////////////////////////////////////////////////////////////////////////////////////////////////////////////////////////////////////////////////////////////////////////////////////////////////////////////////////////////////////////////////////////8BACAA////////////////AAAO////////AwAAAAQA////////////////////////////////////////////////////////////////////////////////////////////////////////////////////////////////////////////////////////////////////////////////////////////////////////////////////////////////////////////////////////////////////////////////////////////////////////////////////////////////////////////////////////////////////////////////////////////////////////////////////////////////////////////////////////////////////////////////////////////////////////////////////////AgABAP///////wUAAAACABAACzEUk20AyvxLknNJ5cXQQ20EAAAAAAADAAAAAAADAAAAAwADAAEA////////BQAAAAMAEAALt2hEncs4AUqM9X83hP/K6gQAAAABAAMAAAACAAMAAAAEAAQAAgD///////8FAAAABAAQAAvUe4nTULSbQo2B2iMb/+Nn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RSTbQDK/EuSc0nlxdBDbQREYXRhAAUAAAAAAk5hbWUADQAAAExpbmtEYXRhTGlzdAAQVmVyc2lvbgABAAAACUxhc3RXcml0ZQBiHwqOkQEAAAABAP////9hAGEAAAAFX2lkABAAAAAEt2hEncs4AUqM9X83hP/K6gREYXRhAAUAAAAAAk5hbWUADQAAAExpbmtEYXRhTGlzdAAQVmVyc2lvbgAAAAAACUxhc3RXcml0ZQBiHwqOkQEAAAACAP////9wAHAAAAAFX2lkABAAAAAE1HuJ01C0m0KNgdojG//jZwNEYXRhABYAAAACUGVyc29uYWxJZAABAAAAAAACTmFtZQALAAAAUGVyc29uYWxJZAAQVmVyc2lvbgAAAAAACUxhc3RXcml0ZQCQHw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38376191"/>
  <p:tag name="EMPOWERCHARTSPROPERTIES_B_LENGTH" val="24576"/>
  <p:tag name="DOWN_MIGRATION_INITIAL_LAYOUT_REQUIRED" val="9.2.99"/>
  <p:tag name="RUNTIME_ID" val="bf1070b7-e59c-4c92-a459-2368546ecdd9"/>
</p:tagLst>
</file>

<file path=ppt/tags/tag2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wD///////8DAAAAAwD///////////////////////////////////////////////////////////////////////////////////////////////////////////////////////////////////////////////////////////////////////////////////////////////////////////////////////////////////////////////////////////////////////////////////////////////////////////////////////////////////////////////////////////////////////////////////////////////////////////////////////////////////////////////////////////////////////////////8BACAA////////////////AAAO////////AwAAAAMA////////////////////////////////////////////////////////////////////////////////////////////////////////////////////////////////////////////////////////////////////////////////////////////////////////////////////////////////////////////////////////////////////////////////////////////////////////////////////////////////////////////////////////////////////////////////////////////////////////////////////////////////////////////////////////////////////////////////////////////////////////////////////////AgABAP///////wUAAAACABAAC7PDWjxju/FFiv+r2cCS6PsEAAAAAAADAAAABAADAAAAAwADAAMA////////BQAAAAMAEAALumr4aY6c+0KiaJJ/6CpWQQQAAAABAAMAAAACAAMAAAABAAMAAAAAAP///////wMAAAAAAP///////wQAAQD///////8FAAAABAAQAAvJceglId69SYE4n9KBSNs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8NaPGO78UWK/6vZwJLo+wREYXRhAAUAAAAAAk5hbWUADQAAAExpbmtEYXRhTGlzdAAQVmVyc2lvbgABAAAACUxhc3RXcml0ZQAcpYuOkQEAAAABAP////9hAGEAAAAFX2lkABAAAAAEumr4aY6c+0KiaJJ/6CpWQQREYXRhAAUAAAAAAk5hbWUADQAAAExpbmtEYXRhTGlzdAAQVmVyc2lvbgAAAAAACUxhc3RXcml0ZQAWpYuOkQEAAAACAP////9wAHAAAAAFX2lkABAAAAAEyXHoJSHevUmBOJ/SgUjbMQNEYXRhABYAAAACUGVyc29uYWxJZAABAAAAAAACTmFtZQALAAAAUGVyc29uYWxJZAAQVmVyc2lvbgAAAAAACUxhc3RXcml0ZQA5p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1962651"/>
  <p:tag name="EMPOWERCHARTSPROPERTIES_B_LENGTH" val="24576"/>
  <p:tag name="DOWN_MIGRATION_INITIAL_LAYOUT_REQUIRED" val="9.2.99"/>
  <p:tag name="RUNTIME_ID" val="d1c7c17f-db7b-4f01-8067-76a1e0dbb185"/>
</p:tagLst>
</file>

<file path=ppt/tags/tag2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0xyqCBXioNNkI9K0cK3wdcEAAAAAAADAAAAAAADAAAAAwADAAEA////////BQAAAAMAEAAL83CvSF+8W0G4wrgy+R6SRgQAAAABAAMAAAACAAMAAAAEAAQAAQD///////8FAAAABAAQAAvlVqdOeez4T6XKLXuyrC/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HKoIFeKg02Qj0rRwrfB1wREYXRhAAUAAAAAAk5hbWUADQAAAExpbmtEYXRhTGlzdAAQVmVyc2lvbgABAAAACUxhc3RXcml0ZQA3KsKOkQEAAAABAP////9hAGEAAAAFX2lkABAAAAAE83CvSF+8W0G4wrgy+R6SRgREYXRhAAUAAAAAAk5hbWUADQAAAExpbmtEYXRhTGlzdAAQVmVyc2lvbgAAAAAACUxhc3RXcml0ZQA0KsKOkQEAAAACAP////9wAHAAAAAFX2lkABAAAAAE5VanTnns+E+lyi17sqwvzwNEYXRhABYAAAACUGVyc29uYWxJZAABAAAAAAACTmFtZQALAAAAUGVyc29uYWxJZAAQVmVyc2lvbgAAAAAACUxhc3RXcml0ZQBWKs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2142686"/>
  <p:tag name="EMPOWERCHARTSPROPERTIES_B_LENGTH" val="24576"/>
  <p:tag name="DOWN_MIGRATION_INITIAL_LAYOUT_REQUIRED" val="9.2.99"/>
  <p:tag name="RUNTIME_ID" val="62ca591b-3cd6-4076-bf1e-3c20f78c7685"/>
</p:tagLst>
</file>

<file path=ppt/tags/tag2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gD///////8DAAAAAgD///////////////////////////////////////////////////////////////////////////////////////////////////////////////////////////////////////////////////////////////////////////////////////////////////////////////////////////////////////////////////////////////////////////////////////////////////////////////////////////////////////////////////////////////////////////////////////////////////////////////////////////////////////////////////////////////8BACAA////////////////AAAO////////AwAAAAMA////////////////////////////////////////////////////////////////////////////////////////////////////////////////////////////////////////////////////////////////////////////////////////////////////////////////////////////////////////////////////////////////////////////////////////////////////////////////////////////////////////////////////////////////////////////////////////////////////////////////////////////////////////////////////////////////////////////////////////////////////////////////////////AgAEAP///////wUAAAACABAACzI9DEmd6klKs1sc1jZ3GpoEAAAAAAADAAAABAADAAAAAwADAAAAAAADAAAAAwADAAAAAAD///////8DAAAAAAD///////8DAAIA////////BQAAAAMAEAAL7kxRwsvqk0iAlfd341zn5QQAAAABAAMAAAACAAMAAAABAAMAAAACAP///////wQAAQD///////8FAAAABAAQAAvaLTUXeFP4R4L0S111ITc8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j0MSZ3qSUqzWxzWNncamgREYXRhAAUAAAAAAk5hbWUADQAAAExpbmtEYXRhTGlzdAAQVmVyc2lvbgABAAAACUxhc3RXcml0ZQDGHwqOkQEAAAABAP////9hAGEAAAAFX2lkABAAAAAE7kxRwsvqk0iAlfd341zn5QREYXRhAAUAAAAAAk5hbWUADQAAAExpbmtEYXRhTGlzdAAQVmVyc2lvbgAAAAAACUxhc3RXcml0ZQDAHwqOkQEAAAACAP////9wAHAAAAAFX2lkABAAAAAE2i01F3hT+EeC9EtddSE3PANEYXRhABYAAAACUGVyc29uYWxJZAABAAAAAAACTmFtZQALAAAAUGVyc29uYWxJZAAQVmVyc2lvbgAAAAAACUxhc3RXcml0ZQDlHw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39239856"/>
  <p:tag name="EMPOWERCHARTSPROPERTIES_B_LENGTH" val="24576"/>
  <p:tag name="DOWN_MIGRATION_INITIAL_LAYOUT_REQUIRED" val="9.2.99"/>
  <p:tag name="RUNTIME_ID" val="d8f379f5-90d2-49db-83ec-e14186a4766c"/>
</p:tagLst>
</file>

<file path=ppt/tags/tag2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IBAQEBAQEBAQEBAQEBAQMAAAAAAAAAAwAAAAMAAAAA/////wUAkgsAAAAAAAAAAAAAIAD///////////////8AAAD///////////////8DAAAAAgD///////8DAAAABAD///////8DAAAABAD///////8DAAAABAD///////8DAAAABAD///////8DAAAABAD///////8DAAAABAD///////8DAAAABAD///////8DAAAABAD///////8DAAAABAD///////8DAAAABAD///////8DAAAABAD///////////////////////////////////////////////////////////////////////////////////////////////////////////////////////////////////////////////////////////////////////////////////////////////////////////////////////////////////////////////////////////////////////////////////////////////////////////////////////////////8BACAA////////////////AAAO////////AwAAAAMA////////////////////////////////////////////////////////////////////////////////////////////////////////////////////////////////////////////////////////////////////////////////////////////////////////////////////////////////////////////////////////////////////////////////////////////////////////////////////////////////////////////////////////////////////////////////////////////////////////////////////////////////////////////////////////////////////////////////////////////////////////////////////////AgABAP///////wUAAAACABAAC7eFvwaGG21PuS5/M47K6D4EAAAAAAADAAAAAAADAAAABAADAAEA////////BQAAAAMAEAALCh3nXFe59EC3zoG6iMxOKwQAAAABAAMAAAAEAAMAAAABAAQADAD///////8FAAAABAAQAAs5x7Yl+SsySZBh6+SeisoyBAAAAAIAAwAAAAIAAwAAAAMAAwAAAAAA////////AwAAAAAA////////AwAAAAAA////////AwAAAAAA////////AwAAAAA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4W/BoYbbU+5Ln8zjsroPgREYXRhAAUAAAAAAk5hbWUADQAAAExpbmtEYXRhTGlzdAAQVmVyc2lvbgAAAAAACUxhc3RXcml0ZQBupYuOkQEAAAABAP////9hAGEAAAAFX2lkABAAAAAECh3nXFe59EC3zoG6iMxOKwREYXRhAAUAAAAAAk5hbWUADQAAAExpbmtEYXRhTGlzdAAQVmVyc2lvbgABAAAACUxhc3RXcml0ZQBvpYuOkQEAAAACAP////9wAHAAAAAFX2lkABAAAAAEOce2JfkrMkmQYevknorKMgNEYXRhABYAAAACUGVyc29uYWxJZAABAAAAAAACTmFtZQALAAAAUGVyc29uYWxJZAAQVmVyc2lvbgAAAAAACUxhc3RXcml0ZQCap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3958263"/>
  <p:tag name="EMPOWERCHARTSPROPERTIES_B_LENGTH" val="24576"/>
  <p:tag name="DOWN_MIGRATION_INITIAL_LAYOUT_REQUIRED" val="9.2.99"/>
  <p:tag name="RUNTIME_ID" val="cd7b82e8-46a0-4aac-b0d2-004e43385ac6"/>
</p:tagLst>
</file>

<file path=ppt/tags/tag2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cBAQEBAQEBAQEBAQEBAQMAAAAAAAAAAwAAAAMAAAAA/////wUA2gsAAAAAAAAAAAAAIAD///////////////8AAAD///////////////8DAAAAAgD///////8DAAAAAgD///////8DAAAAAgD///////8DAAAAAgD///////8DAAAAAgD///////8DAAAAAgD///////////////////////////////////////////////////////////////////////////////////////////////////////////////////////////////////////////////////////////////////////////////////////////////////////////////////////////////////////////////////////////////////////////////////////////////////////////////////////////////////////////////////////////////////////////////////////////////////////////////////////////////8BACAA////////////////AAAO////////AwAAAAQA////////////////////////////////////////////////////////////////////////////////////////////////////////////////////////////////////////////////////////////////////////////////////////////////////////////////////////////////////////////////////////////////////////////////////////////////////////////////////////////////////////////////////////////////////////////////////////////////////////////////////////////////////////////////////////////////////////////////////////////////////////////////////////AgAGAP///////wUAAAACABAACxEhkj4AGF5HmU+sC2iYrKYEAAAAAAADAAAAAAADAAAAAwADAAAAAAD///////8DAAAAAAD///////8DAAAAAAD///////8DAAAAAAD///////8DAAAAAAD///////8DAAEA////////BQAAAAMAEAALg2kBsBKSo0WE0/lic3fULwQAAAABAAMAAAACAAMAAAAEAAQAAQD///////8FAAAABAAQAAvJ8/m0EOE6S71wYFk4r6E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SGSPgAYXkeZT6wLaJispgREYXRhAAUAAAAAAk5hbWUADQAAAExpbmtEYXRhTGlzdAAQVmVyc2lvbgAAAAAACUxhc3RXcml0ZQCLKsKOkQEAAAABAP////9hAGEAAAAFX2lkABAAAAAEg2kBsBKSo0WE0/lic3fULwREYXRhAAUAAAAAAk5hbWUADQAAAExpbmtEYXRhTGlzdAAQVmVyc2lvbgABAAAACUxhc3RXcml0ZQCMKsKOkQEAAAACAP////9wAHAAAAAFX2lkABAAAAAEyfP5tBDhOku9cGBZOK+hAwNEYXRhABYAAAACUGVyc29uYWxJZAABAAAAAAACTmFtZQALAAAAUGVyc29uYWxJZAAQVmVyc2lvbgAAAAAACUxhc3RXcml0ZQCoKs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CAP///////wUAAAACAP///////wUAAAACAP///////wUAAAACAP///////wUAAAACAP///////wUAAAACAP///////wUAAAAEAP///////////////////////////////////////////////////////////////////////////////////////////////////////////////////////////////////////////////////////////////////////////////////////////////////////////////////////////////////////////////////////////////////////////////////////////////////////////////////////////////////////////////////////////////////////////////////////////////////////////////wEAIAH///////////////8AAA7///////8FAAAABAD///////////////////////////////////////////////////////////////////////////////////////////////////////////////////////////////////////////////////////////////////////////////////////////////////////////////////////////////////////////////////////////////////////////////////////////////////////////////////////////////////////////////////////////////////////////////////////////////////////////////////////////////////////////////////////////////////////////////////////////////////////////////////////8CAAYBAwAAAAIA////////DgAGTGlua0RhdGFMaXN0XzAEAAAAAAAFAAAAAAAFAAAAAwAFAAAAAAAFAAAABAAFAAAAAAAFAAAABAAFAAAAAAAFAAAABAAFAAAAAAAFAAAABAAFAAAAAAAFAAAABAADAAEBAwAAAAMA////////DgAGTGlua0RhdGFMaXN0XzEEAAAAAQAFAAAAAgAFAAAABAAEAAcBAwAAAAQA////////DAAGUGVyc29uYWxJZF8wBAAAAAIABQAAAAMABQAAAAEABQAAAAIA////////BQAAAAIA////////BQAAAAI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3046101"/>
  <p:tag name="EMPOWERCHARTSPROPERTIES_B_LENGTH" val="24576"/>
  <p:tag name="DOWN_MIGRATION_INITIAL_LAYOUT_REQUIRED" val="9.2.99"/>
  <p:tag name="RUNTIME_ID" val="88f3efd6-c31e-4ed2-877c-68e764987fca"/>
</p:tagLst>
</file>

<file path=ppt/tags/tag2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wUli38G2kBIvrMFCXpj36IEAAAAAAADAAAABAADAAAAAwADAAEA////////BQAAAAMAEAALaGw0/oPf8kGnvw2uQgLMeAQAAAABAAMAAAACAAMAAAABAAQAAgD///////8FAAAABAAQAAuDNStvLb59SYQR/GXoYX3+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SWLfwbaQEi+swUJemPfogREYXRhAAUAAAAAAk5hbWUADQAAAExpbmtEYXRhTGlzdAAQVmVyc2lvbgABAAAACUxhc3RXcml0ZQAZIAqOkQEAAAABAP////9hAGEAAAAFX2lkABAAAAAEaGw0/oPf8kGnvw2uQgLMeAREYXRhAAUAAAAAAk5hbWUADQAAAExpbmtEYXRhTGlzdAAQVmVyc2lvbgAAAAAACUxhc3RXcml0ZQAYIAqOkQEAAAACAP////9wAHAAAAAFX2lkABAAAAAEgzUrby2+fUmEEfxl6GF9/gNEYXRhABYAAAACUGVyc29uYWxJZAABAAAAAAACTmFtZQALAAAAUGVyc29uYWxJZAAQVmVyc2lvbgAAAAAACUxhc3RXcml0ZQA2IA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40010391"/>
  <p:tag name="EMPOWERCHARTSPROPERTIES_B_LENGTH" val="24576"/>
  <p:tag name="DOWN_MIGRATION_INITIAL_LAYOUT_REQUIRED" val="9.2.99"/>
  <p:tag name="RUNTIME_ID" val="5fe72b1e-bca4-45df-af09-109da6158694"/>
</p:tagLst>
</file>

<file path=ppt/tags/tag2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8gsAAAAAAAAAAAAAIAD///////////////8AAAD///////////////8DAAAAAgD///////8DAAAABAD///////8DAAAABAD///////8DAAAABAD///////////////////////////////////////////////////////////////////////////////////////////////////////////////////////////////////////////////////////////////////////////////////////////////////////////////////////////////////////////////////////////////////////////////////////////////////////////////////////////////////////////////////////////////////////////////////////////////////////////////////////////////////////////////////////////////8BACAA////////////////AAAO////////AwAAAAQA////////////////////////////////////////////////////////////////////////////////////////////////////////////////////////////////////////////////////////////////////////////////////////////////////////////////////////////////////////////////////////////////////////////////////////////////////////////////////////////////////////////////////////////////////////////////////////////////////////////////////////////////////////////////////////////////////////////////////////////////////////////////////////AgABAP///////wUAAAACABAACyCGzyLzdo9MqoitGqdKpYkEAAAAAAADAAAAAAADAAAAAwADAAEA////////BQAAAAMAEAALO/8Na0OKj0KSMauEoh2W0gQAAAABAAMAAAACAAMAAAAEAAQABAD///////8FAAAABAAQAAtNF1WonNoETZPCblD1YuUh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IbPIvN2j0yqiK0ap0qliQREYXRhAAUAAAAAAk5hbWUADQAAAExpbmtEYXRhTGlzdAAQVmVyc2lvbgABAAAACUxhc3RXcml0ZQA5pouOkQEAAAABAP////9hAGEAAAAFX2lkABAAAAAEO/8Na0OKj0KSMauEoh2W0gREYXRhAAUAAAAAAk5hbWUADQAAAExpbmtEYXRhTGlzdAAQVmVyc2lvbgAAAAAACUxhc3RXcml0ZQAzpouOkQEAAAACAP////9wAHAAAAAFX2lkABAAAAAETRdVqJzaBE2Twm5Q9WLlIQNEYXRhABYAAAACUGVyc29uYWxJZAABAAAAAAACTmFtZQALAAAAUGVyc29uYWxJZAAQVmVyc2lvbgAAAAAACUxhc3RXcml0ZQBU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EAIAH///////////////8AAA7///////8FAAAABAD///////////////////////////////////////////////////////////////////////////////////////////////////////////////////////////////////////////////////////////////////////////////////////////////////////////////////////////////////////////////////////////////////////////////////////////////////////////////////////////////////////////////////////////////////////////////////////////////////////////////////////////////////////////////////////////////////////////////////////////////////////////////////////8CAAMBAwAAAAIA////////DgAGTGlua0RhdGFMaXN0XzEEAAAAAAAFAAAAAwAFAAAABAAFAAAAAwAFAAAABAA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4767148"/>
  <p:tag name="EMPOWERCHARTSPROPERTIES_B_LENGTH" val="24576"/>
  <p:tag name="DOWN_MIGRATION_INITIAL_LAYOUT_REQUIRED" val="9.2.99"/>
  <p:tag name="RUNTIME_ID" val="aa5e0d49-1354-421f-a077-b11eae8ab0aa"/>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0G4T3r/BvVHueTrVyPHrbsEAAAAAAADAAAABAADAAAAAwADAAEA////////BQAAAAMAEAALKpRVgvLQRkisgCJCPvPFCwQAAAABAAMAAAACAAMAAAABAAQAAQD///////8FAAAABAAQAAs7JyB03nQJT5Ph3dBic0FB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bhPev8G9Ue55OtXI8etuwREYXRhAAUAAAAAAk5hbWUADQAAAExpbmtEYXRhTGlzdAAQVmVyc2lvbgAAAAAACUxhc3RXcml0ZQDiKsKOkQEAAAABAP////9hAGEAAAAFX2lkABAAAAAEKpRVgvLQRkisgCJCPvPFCwREYXRhAAUAAAAAAk5hbWUADQAAAExpbmtEYXRhTGlzdAAQVmVyc2lvbgABAAAACUxhc3RXcml0ZQDiKsKOkQEAAAACAP////9wAHAAAAAFX2lkABAAAAAEOycgdN50CU+T4d3QYnNBQQNEYXRhABYAAAACUGVyc29uYWxJZAABAAAAAAACTmFtZQALAAAAUGVyc29uYWxJZAAQVmVyc2lvbgAAAAAACUxhc3RXcml0ZQAOK8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5109739"/>
  <p:tag name="EMPOWERCHARTSPROPERTIES_B_LENGTH" val="24576"/>
  <p:tag name="DOWN_MIGRATION_INITIAL_LAYOUT_REQUIRED" val="9.2.99"/>
  <p:tag name="RUNTIME_ID" val="51266ca0-7905-4c05-9721-0e19206293f4"/>
</p:tagLst>
</file>

<file path=ppt/tags/tag2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6b5EntjMBhFhqyI2+wyZHQEAAAAAAADAAAABAADAAAAAwADAAEA////////BQAAAAMAEAALb/C40MmjHkaHJCiDJqAPDwQAAAABAAMAAAACAAMAAAABAAQAAQD///////8FAAAABAAQAAuyyIRZ3m95R5uC6Np1qDu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vkSe2MwGEWGrIjb7DJkdAREYXRhAAUAAAAAAk5hbWUADQAAAExpbmtEYXRhTGlzdAAQVmVyc2lvbgAAAAAACUxhc3RXcml0ZQDkIfuNkQEAAAABAP////9hAGEAAAAFX2lkABAAAAAEb/C40MmjHkaHJCiDJqAPDwREYXRhAAUAAAAAAk5hbWUADQAAAExpbmtEYXRhTGlzdAAQVmVyc2lvbgABAAAACUxhc3RXcml0ZQABIvuNkQEAAAACAP////9wAHAAAAAFX2lkABAAAAAEssiEWd5veUebgujadag7sQNEYXRhABYAAAACUGVyc29uYWxJZAABAAAAAAACTmFtZQALAAAAUGVyc29uYWxJZAAQVmVyc2lvbgAAAAAACUxhc3RXcml0ZQB1IvuN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07315389417"/>
  <p:tag name="EMPOWERCHARTSPROPERTIES_B_LENGTH" val="24576"/>
  <p:tag name="DOWN_MIGRATION_INITIAL_LAYOUT_REQUIRED" val="9.2.99"/>
  <p:tag name="RUNTIME_ID" val="82c3ec97-15f7-4b68-9937-38e2d316346a"/>
</p:tagLst>
</file>

<file path=ppt/tags/tag2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CF0Vih1gNHmkwAq6YScP4EAAAAAAADAAAAAAADAAAAAwADAAAAAAADAAAAAwADAAIA////////BQAAAAMAEAALL/x8euKHakW2JvZqa/mFJAQAAAABAAMAAAACAAMAAAAEAAMAAAACAP///////wQAAQD///////8FAAAABAAQAAtPKLaHEL2eQ6nCW9LpbtC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IXRWKHWA0eaTACrphJw/gREYXRhAAUAAAAAAk5hbWUADQAAAExpbmtEYXRhTGlzdAAQVmVyc2lvbgAAAAAACUxhc3RXcml0ZQB8pouOkQEAAAABAP////9hAGEAAAAFX2lkABAAAAAEL/x8euKHakW2JvZqa/mFJAREYXRhAAUAAAAAAk5hbWUADQAAAExpbmtEYXRhTGlzdAAQVmVyc2lvbgABAAAACUxhc3RXcml0ZQB+pouOkQEAAAACAP////9wAHAAAAAFX2lkABAAAAAETyi2hxC9nkOpwlvS6W7QgQNEYXRhABYAAAACUGVyc29uYWxJZAABAAAAAAACTmFtZQALAAAAUGVyc29uYWxJZAAQVmVyc2lvbgAAAAAACUxhc3RXcml0ZQCY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5442274"/>
  <p:tag name="EMPOWERCHARTSPROPERTIES_B_LENGTH" val="24576"/>
  <p:tag name="DOWN_MIGRATION_INITIAL_LAYOUT_REQUIRED" val="9.2.99"/>
  <p:tag name="RUNTIME_ID" val="b911e7de-0f15-48c8-b759-ce9beb390141"/>
</p:tagLst>
</file>

<file path=ppt/tags/tag2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73ARVLh99tLtitvrr5jv78EAAAAAAADAAAAAAADAAAAAwADAAAAAAD///////8DAAEA////////BQAAAAMAEAALGnLVZCjfzUGdvylua7+yIAQAAAABAAMAAAACAAMAAAAEAAQAAQD///////8FAAAABAAQAAt9xo30aZORTbq62kJ5Gd87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cBFUuH320u2K2+uvmO/vwREYXRhAAUAAAAAAk5hbWUADQAAAExpbmtEYXRhTGlzdAAQVmVyc2lvbgABAAAACUxhc3RXcml0ZQDAK8KOkQEAAAABAP////9hAGEAAAAFX2lkABAAAAAEGnLVZCjfzUGdvylua7+yIAREYXRhAAUAAAAAAk5hbWUADQAAAExpbmtEYXRhTGlzdAAQVmVyc2lvbgAAAAAACUxhc3RXcml0ZQC1K8KOkQEAAAACAP////9wAHAAAAAFX2lkABAAAAAEfcaN9GmTkU26utpCeRnfOwNEYXRhABYAAAACUGVyc29uYWxJZAABAAAAAAACTmFtZQALAAAAUGVyc29uYWxJZAAQVmVyc2lvbgAAAAAACUxhc3RXcml0ZQDbK8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6066536"/>
  <p:tag name="EMPOWERCHARTSPROPERTIES_B_LENGTH" val="24576"/>
  <p:tag name="DOWN_MIGRATION_INITIAL_LAYOUT_REQUIRED" val="9.2.99"/>
  <p:tag name="RUNTIME_ID" val="09485ac0-0974-42f5-b13d-444dae40911c"/>
</p:tagLst>
</file>

<file path=ppt/tags/tag2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5gsAAAAAAAAAAAAAIAD///////////////8AAAD///////////////8DAAAAAgD///////8DAAAAAgD///////8DAAAAAgD///////////////////////////////////////////////////////////////////////////////////////////////////////////////////////////////////////////////////////////////////////////////////////////////////////////////////////////////////////////////////////////////////////////////////////////////////////////////////////////////////////////////////////////////////////////////////////////////////////////////////////////////////////////////////////////////////////////////8BACAA////////////////AAAO////////AwAAAAMA////////////////////////////////////////////////////////////////////////////////////////////////////////////////////////////////////////////////////////////////////////////////////////////////////////////////////////////////////////////////////////////////////////////////////////////////////////////////////////////////////////////////////////////////////////////////////////////////////////////////////////////////////////////////////////////////////////////////////////////////////////////////////////AgADAP///////wUAAAACABAAC9wEhSbuMXFHjS/VVwxpdgEEAAAAAAADAAAAAAADAAAABAADAAAAAAADAAAABAADAAAAAAD///////8DAAIA////////BQAAAAMAEAALNGt+8nskfEOhtNd/YIFQvQQAAAABAAMAAAAEAAMAAAABAAMAAAAEAP///////wQAAgD///////8FAAAABAAQAAtbbtzq6VzhS5Kt/l+Fcapm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ASFJu4xcUeNL9VXDGl2AQREYXRhAAUAAAAAAk5hbWUADQAAAExpbmtEYXRhTGlzdAAQVmVyc2lvbgABAAAACUxhc3RXcml0ZQDEpouOkQEAAAABAP////9hAGEAAAAFX2lkABAAAAAENGt+8nskfEOhtNd/YIFQvQREYXRhAAUAAAAAAk5hbWUADQAAAExpbmtEYXRhTGlzdAAQVmVyc2lvbgAAAAAACUxhc3RXcml0ZQDDpouOkQEAAAACAP////9wAHAAAAAFX2lkABAAAAAEW27c6ulc4UuSrf5fhXGqZgNEYXRhABYAAAACUGVyc29uYWxJZAABAAAAAAACTmFtZQALAAAAUGVyc29uYWxJZAAQVmVyc2lvbgAAAAAACUxhc3RXcml0ZQDf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CAP///////wUAAAAEAP///////////////////////////////////////////////////////////////////////////////////////////////////////////////////////////////////////////////////////////////////////////////////////////////////////////////////////////////////////////////////////////////////////////////////////////////////////////////////////////////////////////////////////////////////////////////////////////////////////////////////////////////////////////////////////////////wEAIAH///////////////8AAA7///////8FAAAABAD///////////////////////////////////////////////////////////////////////////////////////////////////////////////////////////////////////////////////////////////////////////////////////////////////////////////////////////////////////////////////////////////////////////////////////////////////////////////////////////////////////////////////////////////////////////////////////////////////////////////////////////////////////////////////////////////////////////////////////////////////////////////////////8CAAMBAwAAAAIA////////DgAGTGlua0RhdGFMaXN0XzEEAAAAAAAFAAAAAwAFAAAABAAFAAAAAwAFAAAABAAFAAAAAAAFAAAABAADAAIBAwAAAAMA////////DgAGTGlua0RhdGFMaXN0XzAEAAAAAQAFAAAAAAAFAAAAAgAFAAAAAAAFAAAAAgAEAAQBAwAAAAQA////////DAAGUGVyc29uYWxJZF8wBAAAAAIABQAAAAIABQAAAAE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6198246"/>
  <p:tag name="EMPOWERCHARTSPROPERTIES_B_LENGTH" val="24576"/>
  <p:tag name="DOWN_MIGRATION_INITIAL_LAYOUT_REQUIRED" val="9.2.99"/>
  <p:tag name="RUNTIME_ID" val="39fbfa73-df96-4c19-9462-2b9f527c0a52"/>
</p:tagLst>
</file>

<file path=ppt/tags/tag2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kPZHRO0jxOotjaf1JM7RIEAAAAAAADAAAABAADAAAAAwADAAAAAAADAAAAAwADAAIA////////BQAAAAMAEAAL3Az0gUvIPUeixAonLxD4zAQAAAABAAMAAAACAAMAAAABAAMAAAACAP///////wQAAQD///////8FAAAABAAQAAv+TcQQyg/8RLEjnpoQxQq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9kdE7SPE6i2Np/UkztEgREYXRhAAUAAAAAAk5hbWUADQAAAExpbmtEYXRhTGlzdAAQVmVyc2lvbgABAAAACUxhc3RXcml0ZQCbuYuOkQEAAAABAP////9hAGEAAAAFX2lkABAAAAAE3Az0gUvIPUeixAonLxD4zAREYXRhAAUAAAAAAk5hbWUADQAAAExpbmtEYXRhTGlzdAAQVmVyc2lvbgAAAAAACUxhc3RXcml0ZQCauYuOkQEAAAACAP////9wAHAAAAAFX2lkABAAAAAE/k3EEMoP/ESxI56aEMUKsANEYXRhABYAAAACUGVyc29uYWxJZAABAAAAAAACTmFtZQALAAAAUGVyc29uYWxJZAAQVmVyc2lvbgAAAAAACUxhc3RXcml0ZQC4u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74413787"/>
  <p:tag name="EMPOWERCHARTSPROPERTIES_B_LENGTH" val="24576"/>
  <p:tag name="DOWN_MIGRATION_INITIAL_LAYOUT_REQUIRED" val="9.2.99"/>
  <p:tag name="RUNTIME_ID" val="f22223ec-87b4-48ac-bd14-f718e70ccc94"/>
</p:tagLst>
</file>

<file path=ppt/tags/tag2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AgD///////8DAAAABAD///////8DAAAABAD///////////////////////////////////////////////////////////////////////////////////////////////////////////////////////////////////////////////////////////////////////////////////////////////////////////////////////////////////////////////////////////////////////////////////////////////////////////////////////////////////////////////////////////////////////////////////////////////////////////////////////////////////////////////////////////////////////////////8BACAA////////////////AAAO////////AwAAAAQA////////////////////////////////////////////////////////////////////////////////////////////////////////////////////////////////////////////////////////////////////////////////////////////////////////////////////////////////////////////////////////////////////////////////////////////////////////////////////////////////////////////////////////////////////////////////////////////////////////////////////////////////////////////////////////////////////////////////////////////////////////////////////////AgABAP///////wUAAAACABAAC55HDCfasBBAkopmQTS0+9kEAAAAAAADAAAAAAADAAAAAwADAAEA////////BQAAAAMAEAAL2JKkXdKC3U2C7MlSP0w+fQQAAAABAAMAAAACAAMAAAAEAAQAAwD///////8FAAAABAAQAAu++ojLXHwxS4UvWO/7AtgF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kcMJ9qwEECSimZBNLT72QREYXRhAAUAAAAAAk5hbWUADQAAAExpbmtEYXRhTGlzdAAQVmVyc2lvbgABAAAACUxhc3RXcml0ZQCBRgqOkQEAAAABAP////9hAGEAAAAFX2lkABAAAAAE2JKkXdKC3U2C7MlSP0w+fQREYXRhAAUAAAAAAk5hbWUADQAAAExpbmtEYXRhTGlzdAAQVmVyc2lvbgAAAAAACUxhc3RXcml0ZQB7RgqOkQEAAAACAP////9wAHAAAAAFX2lkABAAAAAEvvqIy1x8MUuFL1jv+wLYBQNEYXRhABYAAAACUGVyc29uYWxJZAABAAAAAAACTmFtZQALAAAAUGVyc29uYWxJZAAQVmVyc2lvbgAAAAAACUxhc3RXcml0ZQCdRg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238314708"/>
  <p:tag name="EMPOWERCHARTSPROPERTIES_B_LENGTH" val="24576"/>
  <p:tag name="DOWN_MIGRATION_INITIAL_LAYOUT_REQUIRED" val="9.2.99"/>
  <p:tag name="RUNTIME_ID" val="342bdbbd-bb40-4a8d-8e5f-71a99f2871fa"/>
</p:tagLst>
</file>

<file path=ppt/tags/tag2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79jUh3IcF1Enu5N3qrDH2wEAAAAAAADAAAAAAADAAAAAwADAAQA////////BQAAAAMAEAALxdzhUOMx4EyfPkNE+3ZOpgQAAAABAAMAAAACAAMAAAAEAAMAAAAAAAMAAAAEAAMAAAAAAP///////wMAAAAAAP///////wQAAgD///////8FAAAABAAQAAud7ClsdXn7TLLr2vs3uNi1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2NSHchwXUSe7k3eqsMfbAREYXRhAAUAAAAAAk5hbWUADQAAAExpbmtEYXRhTGlzdAAQVmVyc2lvbgABAAAACUxhc3RXcml0ZQAQLMKOkQEAAAABAP////9hAGEAAAAFX2lkABAAAAAExdzhUOMx4EyfPkNE+3ZOpgREYXRhAAUAAAAAAk5hbWUADQAAAExpbmtEYXRhTGlzdAAQVmVyc2lvbgAAAAAACUxhc3RXcml0ZQAPLMKOkQEAAAACAP////9wAHAAAAAFX2lkABAAAAAEnewpbHV5+0yy69r7N7jYtQNEYXRhABYAAAACUGVyc29uYWxJZAABAAAAAAACTmFtZQALAAAAUGVyc29uYWxJZAAQVmVyc2lvbgAAAAAACUxhc3RXcml0ZQAuLM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6886176"/>
  <p:tag name="EMPOWERCHARTSPROPERTIES_B_LENGTH" val="24576"/>
  <p:tag name="DOWN_MIGRATION_INITIAL_LAYOUT_REQUIRED" val="9.2.99"/>
  <p:tag name="RUNTIME_ID" val="82f81d43-3860-4a81-9a0c-53e371bb768c"/>
</p:tagLst>
</file>

<file path=ppt/tags/tag2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cBAQEBAQEBAQEBAQEBAQMAAAAAAAAAAwAAAAMAAAAA/////wUACgwAAAAAAAAAAAAAIAD///////////////8AAAD///////////////8DAAAAAgD///////8DAAAABAD///////////////////////////////////////////////////////////////////////////////////////////////////////////////////////////////////////////////////////////////////////////////////////////////////////////////////////////////////////////////////////////////////////////////////////////////////////////////////////////////////////////////////////////////////////////////////////////////////////////////////////////////////////////////////////////////////////////////////////////////8BACAA////////////////AAAO////////AwAAAAMA////////////////////////////////////////////////////////////////////////////////////////////////////////////////////////////////////////////////////////////////////////////////////////////////////////////////////////////////////////////////////////////////////////////////////////////////////////////////////////////////////////////////////////////////////////////////////////////////////////////////////////////////////////////////////////////////////////////////////////////////////////////////////////AgABAP///////wUAAAACABAAC5C6/npALnJJoNAp58Gi5A8EAAAAAAADAAAAAAADAAAABAADAAEA////////BQAAAAMAEAAL49rC9H/FS0q0DkQeJLGZuwQAAAABAAMAAAAEAAMAAAABAAQAAgD///////8FAAAABAAQAAvbJrHDm/apSZxgn5uBN8zo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Lr+ekAuckmg0CnnwaLkDwREYXRhAAUAAAAAAk5hbWUADQAAAExpbmtEYXRhTGlzdAAQVmVyc2lvbgAAAAAACUxhc3RXcml0ZQBZLMKOkQEAAAABAP////9hAGEAAAAFX2lkABAAAAAE49rC9H/FS0q0DkQeJLGZuwREYXRhAAUAAAAAAk5hbWUADQAAAExpbmtEYXRhTGlzdAAQVmVyc2lvbgABAAAACUxhc3RXcml0ZQBZLMKOkQEAAAACAP////9wAHAAAAAFX2lkABAAAAAE2yaxw5v2qUmcYJ+bgTfM6ANEYXRhABYAAAACUGVyc29uYWxJZAABAAAAAAACTmFtZQALAAAAUGVyc29uYWxJZAAQVmVyc2lvbgAAAAAACUxhc3RXcml0ZQB6LM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EAP///////wUAAAAEAP///////wUAAAAEAP///////wUAAAAEAP///////wUAAAAEAP///////wUAAAAEAP///////////////////////////////////////////////////////////////////////////////////////////////////////////////////////////////////////////////////////////////////////////////////////////////////////////////////////////////////////////////////////////////////////////////////////////////////////////////////////////////////////////////////////////////////////////////////////////////////////////////wEAIAH///////////////8AAA7///////8FAAAABAD///////////////////////////////////////////////////////////////////////////////////////////////////////////////////////////////////////////////////////////////////////////////////////////////////////////////////////////////////////////////////////////////////////////////////////////////////////////////////////////////////////////////////////////////////////////////////////////////////////////////////////////////////////////////////////////////////////////////////////////////////////////////////////8CAAEBAwAAAAIA////////DgAGTGlua0RhdGFMaXN0XzAEAAAAAAAFAAAAAAAFAAAAAwADAAEBAwAAAAMA////////DgAGTGlua0RhdGFMaXN0XzEEAAAAAQAFAAAAAgAFAAAABAAEAAcBAwAAAAQA////////DAAGUGVyc29uYWxJZF8wBAAAAAIABQAAAAMABQAAAAE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7721710"/>
  <p:tag name="EMPOWERCHARTSPROPERTIES_B_LENGTH" val="24576"/>
  <p:tag name="DOWN_MIGRATION_INITIAL_LAYOUT_REQUIRED" val="9.2.99"/>
  <p:tag name="RUNTIME_ID" val="7b483fa1-3cf5-41d2-945a-cc8da69a6945"/>
</p:tagLst>
</file>

<file path=ppt/tags/tag2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5d0a258e-7a76-4fe0-b240-f08420533895"/>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5Exsxk7hBZNuY98wZSmMBIEAAAAAAADAAAAAAADAAAABAADAAAAAAADAAAABAADAAAAAAD///////8DAAEA////////BQAAAAMAEAALDZFH5QJcVEu9qDJQW05f7wQAAAABAAMAAAAEAAMAAAABAAQAAgD///////8FAAAABAAQAAs+5F5YBkZ3TbDIch96Euzo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TGzGTuEFk25j3zBlKYwEgREYXRhAAUAAAAAAk5hbWUADQAAAExpbmtEYXRhTGlzdAAQVmVyc2lvbgAAAAAACUxhc3RXcml0ZQCxbIeOkQEAAAABAP////9hAGEAAAAFX2lkABAAAAAEDZFH5QJcVEu9qDJQW05f7wREYXRhAAUAAAAAAk5hbWUADQAAAExpbmtEYXRhTGlzdAAQVmVyc2lvbgABAAAACUxhc3RXcml0ZQC1bIeOkQEAAAACAP////9wAHAAAAAFX2lkABAAAAAEPuReWAZGd02wyHIfehLs6ANEYXRhABYAAAACUGVyc29uYWxJZAABAAAAAAACTmFtZQALAAAAUGVyc29uYWxJZAAQVmVyc2lvbgAAAAAACUxhc3RXcml0ZQDP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BAAFAAAAAAAFAAAABAA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6094428"/>
  <p:tag name="EMPOWERCHARTSPROPERTIES_B_LENGTH" val="24576"/>
  <p:tag name="DOWN_MIGRATION_INITIAL_LAYOUT_REQUIRED" val="9.2.99"/>
  <p:tag name="RUNTIME_ID" val="fee7c828-1e14-4af7-a2d6-d75935737979"/>
</p:tagLst>
</file>

<file path=ppt/tags/tag2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8v2l1oAGeVPsf8WHJ04NloEAAAAAAADAAAAAAADAAAABAADAAEA////////BQAAAAMAEAALKFsd/bo5FEGMlCEDONWUWgQAAAABAAMAAAAEAAMAAAABAAQAAQD///////8FAAAABAAQAAs2/8hs3glGTrM9e38+bBzP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aXWgAZ5U+x/xYcnTg2WgREYXRhAAUAAAAAAk5hbWUADQAAAExpbmtEYXRhTGlzdAAQVmVyc2lvbgABAAAACUxhc3RXcml0ZQAFbYeOkQEAAAABAP////9hAGEAAAAFX2lkABAAAAAEKFsd/bo5FEGMlCEDONWUWgREYXRhAAUAAAAAAk5hbWUADQAAAExpbmtEYXRhTGlzdAAQVmVyc2lvbgAAAAAACUxhc3RXcml0ZQAAbYeOkQEAAAACAP////9wAHAAAAAFX2lkABAAAAAENv/IbN4JRk6zPXt/PmwczwNEYXRhABYAAAACUGVyc29uYWxJZAABAAAAAAACTmFtZQALAAAAUGVyc29uYWxJZAAQVmVyc2lvbgAAAAAACUxhc3RXcml0ZQAfbY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6944969"/>
  <p:tag name="EMPOWERCHARTSPROPERTIES_B_LENGTH" val="24576"/>
  <p:tag name="DOWN_MIGRATION_INITIAL_LAYOUT_REQUIRED" val="9.2.99"/>
  <p:tag name="RUNTIME_ID" val="e9268faf-b3fb-4aa8-aea6-e27ceb57a0c4"/>
</p:tagLst>
</file>

<file path=ppt/tags/tag2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PQGzszxK9BvBATmRRareMEAAAAAAADAAAAAAADAAAABAADAAAAAAD///////8DAAEA////////BQAAAAMAEAALvw37rhpKiECxTCztwlfL3gQAAAABAAMAAAAEAAMAAAABAAQAAQD///////8FAAAABAAQAAs/7L88vgjvTb3mjCsZbK83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9AbOzPEr0G8EBOZFFqt4wREYXRhAAUAAAAAAk5hbWUADQAAAExpbmtEYXRhTGlzdAAQVmVyc2lvbgAAAAAACUxhc3RXcml0ZQBWbYeOkQEAAAABAP////9hAGEAAAAFX2lkABAAAAAEvw37rhpKiECxTCztwlfL3gREYXRhAAUAAAAAAk5hbWUADQAAAExpbmtEYXRhTGlzdAAQVmVyc2lvbgABAAAACUxhc3RXcml0ZQBfbYeOkQEAAAACAP////9wAHAAAAAFX2lkABAAAAAEP+y/PL4I70295owrGWyvNwNEYXRhABYAAAACUGVyc29uYWxJZAABAAAAAAACTmFtZQALAAAAUGVyc29uYWxJZAAQVmVyc2lvbgAAAAAACUxhc3RXcml0ZQB4bY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7776670"/>
  <p:tag name="EMPOWERCHARTSPROPERTIES_B_LENGTH" val="24576"/>
  <p:tag name="DOWN_MIGRATION_INITIAL_LAYOUT_REQUIRED" val="9.2.99"/>
  <p:tag name="RUNTIME_ID" val="16d622ba-3527-4b6b-a322-3ec68803326e"/>
</p:tagLst>
</file>

<file path=ppt/tags/tag2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wD///////8DAAAAAwD///////////////////////////////////////////////////////////////////////////////////////////////////////////////////////////////////////////////////////////////////////////////////////////////////////////////////////////////////////////////////////////////////////////////////////////////////////////////////////////////////////////////////////////////////////////////////////////////////////////////////////////////////////////////////////////////////////////////8BACAA////////////////AAAO////////AwAAAAMA////////////////////////////////////////////////////////////////////////////////////////////////////////////////////////////////////////////////////////////////////////////////////////////////////////////////////////////////////////////////////////////////////////////////////////////////////////////////////////////////////////////////////////////////////////////////////////////////////////////////////////////////////////////////////////////////////////////////////////////////////////////////////////AgABAP///////wUAAAACABAAC7vuQldct5dBlgEO7WDuIvUEAAAAAAADAAAABAADAAAAAwADAAMA////////BQAAAAMAEAALHgA3eKUUPUSZ43w0aM8ufgQAAAABAAMAAAACAAMAAAABAAMAAAAAAP///////wMAAAAAAP///////wQAAQD///////8FAAAABAAQAAvvP8UgP//KS4a/G9xZDGm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5CV1y3l0GWAQ7tYO4i9QREYXRhAAUAAAAAAk5hbWUADQAAAExpbmtEYXRhTGlzdAAQVmVyc2lvbgAAAAAACUxhc3RXcml0ZQCjbYeOkQEAAAABAP////9hAGEAAAAFX2lkABAAAAAEHgA3eKUUPUSZ43w0aM8ufgREYXRhAAUAAAAAAk5hbWUADQAAAExpbmtEYXRhTGlzdAAQVmVyc2lvbgABAAAACUxhc3RXcml0ZQCxbYeOkQEAAAACAP////9wAHAAAAAFX2lkABAAAAAE7z/FID//ykuGvxvcWQxphANEYXRhABYAAAACUGVyc29uYWxJZAABAAAAAAACTmFtZQALAAAAUGVyc29uYWxJZAAQVmVyc2lvbgAAAAAACUxhc3RXcml0ZQDKbY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9966413"/>
  <p:tag name="EMPOWERCHARTSPROPERTIES_B_LENGTH" val="24576"/>
  <p:tag name="DOWN_MIGRATION_INITIAL_LAYOUT_REQUIRED" val="9.2.99"/>
  <p:tag name="RUNTIME_ID" val="d7cc78bd-3983-4ec1-8619-e0fa9a085c98"/>
</p:tagLst>
</file>

<file path=ppt/tags/tag2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MA////////////////////////////////////////////////////////////////////////////////////////////////////////////////////////////////////////////////////////////////////////////////////////////////////////////////////////////////////////////////////////////////////////////////////////////////////////////////////////////////////////////////////////////////////////////////////////////////////////////////////////////////////////////////////////////////////////////////////////////////////////////////////////AgAEAP///////wUAAAACABAAC15UHA2IvzBLsh1AbYit+OcEAAAAAAADAAAAAAADAAAABAADAAAAAAD///////8DAAAAAAD///////8DAAAAAAD///////8DAAEA////////BQAAAAMAEAALmJbs2bHI4ky6sKvJsqgU2gQAAAABAAMAAAAEAAMAAAABAAQAAQD///////8FAAAABAAQAAsvaIFtKDb+RJCOB5PAJwaE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lQcDYi/MEuyHUBtiK345wREYXRhAAUAAAAAAk5hbWUADQAAAExpbmtEYXRhTGlzdAAQVmVyc2lvbgABAAAACUxhc3RXcml0ZQCIboeOkQEAAAABAP////9hAGEAAAAFX2lkABAAAAAEmJbs2bHI4ky6sKvJsqgU2gREYXRhAAUAAAAAAk5hbWUADQAAAExpbmtEYXRhTGlzdAAQVmVyc2lvbgAAAAAACUxhc3RXcml0ZQCHboeOkQEAAAACAP////9wAHAAAAAFX2lkABAAAAAEL2iBbSg2/kSQjgeTwCcGhANEYXRhABYAAAACUGVyc29uYWxJZAABAAAAAAACTmFtZQALAAAAUGVyc29uYWxJZAAQVmVyc2lvbgAAAAAACUxhc3RXcml0ZQCpbo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60788617"/>
  <p:tag name="EMPOWERCHARTSPROPERTIES_B_LENGTH" val="24576"/>
  <p:tag name="DOWN_MIGRATION_INITIAL_LAYOUT_REQUIRED" val="9.2.99"/>
  <p:tag name="RUNTIME_ID" val="3d30dfab-c7cd-4418-9256-155f3ef092e0"/>
</p:tagLst>
</file>

<file path=ppt/tags/tag2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oKJJjyaahDlgu7Qe4lcCcEAAAAAAADAAAABAADAAAAAwADAAIA////////BQAAAAMAEAAL5SEe2CMnQEmTeaBRlXbEHAQAAAABAAMAAAACAAMAAAABAAMAAAAEAP///////wQAAgD///////8FAAAABAAQAAsj4ec1UWlcQIYiIPEMNRf6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okmPJpqEOWC7tB7iVwJwREYXRhAAUAAAAAAk5hbWUADQAAAExpbmtEYXRhTGlzdAAQVmVyc2lvbgABAAAACUxhc3RXcml0ZQDTboeOkQEAAAABAP////9hAGEAAAAFX2lkABAAAAAE5SEe2CMnQEmTeaBRlXbEHAREYXRhAAUAAAAAAk5hbWUADQAAAExpbmtEYXRhTGlzdAAQVmVyc2lvbgAAAAAACUxhc3RXcml0ZQDTboeOkQEAAAACAP////9wAHAAAAAFX2lkABAAAAAEI+HnNVFpXECGIiDxDDUX+gNEYXRhABYAAAACUGVyc29uYWxJZAABAAAAAAACTmFtZQALAAAAUGVyc29uYWxJZAAQVmVyc2lvbgAAAAAACUxhc3RXcml0ZQDrbo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61466240"/>
  <p:tag name="EMPOWERCHARTSPROPERTIES_B_LENGTH" val="24576"/>
  <p:tag name="DOWN_MIGRATION_INITIAL_LAYOUT_REQUIRED" val="9.2.99"/>
  <p:tag name="RUNTIME_ID" val="ae8712a3-80d9-41b0-a6a8-391435443fb1"/>
</p:tagLst>
</file>

<file path=ppt/tags/tag2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6qY/Q4rimlIgIA1CBqQn5oEAAAAAAADAAAAAAADAAAABAADAAIA////////BQAAAAMAEAALB1MGz8FMEUuK4c6uCBidawQAAAABAAMAAAAEAAMAAAABAAMAAAAAAP///////wQAAQD///////8FAAAABAAQAAsIyzI7Iak+SJtLP2fggQ9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pj9DiuKaUiAgDUIGpCfmgREYXRhAAUAAAAAAk5hbWUADQAAAExpbmtEYXRhTGlzdAAQVmVyc2lvbgAAAAAACUxhc3RXcml0ZQAWb4eOkQEAAAABAP////9hAGEAAAAFX2lkABAAAAAEB1MGz8FMEUuK4c6uCBidawREYXRhAAUAAAAAAk5hbWUADQAAAExpbmtEYXRhTGlzdAAQVmVyc2lvbgABAAAACUxhc3RXcml0ZQAWb4eOkQEAAAACAP////9wAHAAAAAFX2lkABAAAAAECMsyOyGpPkibSz9n4IEPcgNEYXRhABYAAAACUGVyc29uYWxJZAABAAAAAAACTmFtZQALAAAAUGVyc29uYWxJZAAQVmVyc2lvbgAAAAAACUxhc3RXcml0ZQAwb4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62948258"/>
  <p:tag name="EMPOWERCHARTSPROPERTIES_B_LENGTH" val="24576"/>
  <p:tag name="DOWN_MIGRATION_INITIAL_LAYOUT_REQUIRED" val="9.2.99"/>
  <p:tag name="RUNTIME_ID" val="36ec267f-3c28-4f63-95a0-6fa10b2d282c"/>
</p:tagLst>
</file>

<file path=ppt/tags/tag2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0886a5dc-3e9a-4f59-a383-b3f0e9d01d2b"/>
</p:tagLst>
</file>

<file path=ppt/tags/tag2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pZdBeaaatEqmab9sgOCLAEAAAAAAADAAAAAAADAAAAAwADAAEA////////BQAAAAMAEAALdxvf2N5l/0GhdvYUE9KnwgQAAAABAAMAAAACAAMAAAAEAAQAAQD///////8FAAAABAAQAAusK5HrpBtkSY2dvjMnsyB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l0F5ppq0SqZpv2yA4IsAREYXRhAAUAAAAAAk5hbWUADQAAAExpbmtEYXRhTGlzdAAQVmVyc2lvbgAAAAAACUxhc3RXcml0ZQDpNQ+SkQEAAAABAP////9hAGEAAAAFX2lkABAAAAAEdxvf2N5l/0GhdvYUE9KnwgREYXRhAAUAAAAAAk5hbWUADQAAAExpbmtEYXRhTGlzdAAQVmVyc2lvbgABAAAACUxhc3RXcml0ZQDvNQ+SkQEAAAACAP////9wAHAAAAAFX2lkABAAAAAErCuR66QbZEmNnb4zJ7MgQQNEYXRhABYAAAACUGVyc29uYWxJZAABAAAAAAACTmFtZQALAAAAUGVyc29uYWxJZAAQVmVyc2lvbgAAAAAACUxhc3RXcml0ZQAUNg+S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3291561372162"/>
  <p:tag name="EMPOWERCHARTSPROPERTIES_B_LENGTH" val="24576"/>
  <p:tag name="DOWN_MIGRATION_INITIAL_LAYOUT_REQUIRED" val="9.2.99"/>
  <p:tag name="RUNTIME_ID" val="2fb51806-0b47-40ab-825d-5b141d3dc136"/>
</p:tagLst>
</file>

<file path=ppt/tags/tag2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wD///////8DAAAAAwD///////////////////////////////////////////////////////////////////////////////////////////////////////////////////////////////////////////////////////////////////////////////////////////////////////////////////////////////////////////////////////////////////////////////////////////////////////////////////////////////////////////////////////////////////////////////////////////////////////////////////////////////////////////////////////////////////////////////8BACAA////////////////AAAO////////AwAAAAMA////////////////////////////////////////////////////////////////////////////////////////////////////////////////////////////////////////////////////////////////////////////////////////////////////////////////////////////////////////////////////////////////////////////////////////////////////////////////////////////////////////////////////////////////////////////////////////////////////////////////////////////////////////////////////////////////////////////////////////////////////////////////////////AgABAP///////wUAAAACABAAC038NGGoLzZBnNHe6JLtVhgEAAAAAAADAAAABAADAAAAAwADAAMA////////BQAAAAMAEAALWQkdY6A3DEm6UoZjGTGVGAQAAAABAAMAAAACAAMAAAABAAMAAAAAAP///////wMAAAAAAP///////wQAAQD///////8FAAAABAAQAAtI2QgBFJHQSYwA5K6hmVl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fw0YagvNkGc0d7oku1WGAREYXRhAAUAAAAAAk5hbWUADQAAAExpbmtEYXRhTGlzdAAQVmVyc2lvbgABAAAACUxhc3RXcml0ZQDVO3OVkgEAAAABAP////9hAGEAAAAFX2lkABAAAAAEWQkdY6A3DEm6UoZjGTGVGAREYXRhAAUAAAAAAk5hbWUADQAAAExpbmtEYXRhTGlzdAAQVmVyc2lvbgAAAAAACUxhc3RXcml0ZQDPO3OVkgEAAAACAP////9wAHAAAAAFX2lkABAAAAAESNkIARSR0EmMAOSuoZlZRgNEYXRhABYAAAACUGVyc29uYWxJZAABAAAAAAACTmFtZQALAAAAUGVyc29uYWxJZAAQVmVyc2lvbgAAAAAACUxhc3RXcml0ZQD6O3OV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46810102028910"/>
  <p:tag name="EMPOWERCHARTSPROPERTIES_B_LENGTH" val="24576"/>
  <p:tag name="DOWN_MIGRATION_INITIAL_LAYOUT_REQUIRED" val="9.2.99"/>
  <p:tag name="RUNTIME_ID" val="ee4a7eb9-dcfb-4a18-ae9f-1a37de99a619"/>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0886a5dc-3e9a-4f59-a383-b3f0e9d01d2b"/>
</p:tagLst>
</file>

<file path=ppt/tags/tag2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wD///////8DAAAAAwD///////8DAAAAAwD///////////////////////////////////////////////////////////////////////////////////////////////////////////////////////////////////////////////////////////////////////////////////////////////////////////////////////////////////////////////////////////////////////////////////////////////////////////////////////////////////////////////////////////////////////////////////////////////////////////////////////////////////////////////////////////////8BACAA////////////////AAAO////////AwAAAAQA////////////////////////////////////////////////////////////////////////////////////////////////////////////////////////////////////////////////////////////////////////////////////////////////////////////////////////////////////////////////////////////////////////////////////////////////////////////////////////////////////////////////////////////////////////////////////////////////////////////////////////////////////////////////////////////////////////////////////////////////////////////////////////AgABAP///////wUAAAACABAAC1q33EC75+NPiTjO73Czu0EEAAAAAAADAAAAAAADAAAAAwADAAQA////////BQAAAAMAEAALjbXPbeXYZ0Cbbt0F4AmkmwQAAAABAAMAAAACAAMAAAAEAAMAAAAAAAMAAAAEAAMAAAAAAAMAAAAEAAMAAAAAAAMAAAAEAAQABAD///////8FAAAABAAQAAu4UeHBqkcESa7ISJ0FI4Z+BAAAAAIAAwAAAAMAAwAAAAE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rfcQLvn40+JOM7vcLO7QQREYXRhAAUAAAAAAk5hbWUADQAAAExpbmtEYXRhTGlzdAAQVmVyc2lvbgAAAAAACUxhc3RXcml0ZQCerGBDkgEAAAABAP////9hAGEAAAAFX2lkABAAAAAEjbXPbeXYZ0Cbbt0F4AmkmwREYXRhAAUAAAAAAk5hbWUADQAAAExpbmtEYXRhTGlzdAAQVmVyc2lvbgABAAAACUxhc3RXcml0ZQC+rGBDkgEAAAACAP////9wAHAAAAAFX2lkABAAAAAEuFHhwapHBEmuyEidBSOGfgNEYXRhABYAAAACUGVyc29uYWxJZAABAAAAAAACTmFtZQALAAAAUGVyc29uYWxJZAAQVmVyc2lvbgAAAAAACUxhc3RXcml0ZQAfrWB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DAP///////wUAAAADAP///////////////////////////////////////////////////////////////////////////////////////////////////////////////////////////////////////////////////////////////////////////////////////////////////////////////////////////////////////////////////////////////////////////////////////////////////////////////////////////////////////////////////////////////////////////////////////////////////////////////////////////////////////////////////////////////wEAIAH///////////////8AAA7///////8FAAAABAD///////////////////////////////////////////////////////////////////////////////////////////////////////////////////////////////////////////////////////////////////////////////////////////////////////////////////////////////////////////////////////////////////////////////////////////////////////////////////////////////////////////////////////////////////////////////////////////////////////////////////////////////////////////////////////////////////////////////////////////////////////////////////////8CAAEBAwAAAAIA////////DgAGTGlua0RhdGFMaXN0XzAEAAAAAAAFAAAAAAAFAAAAAwADAAQBAwAAAAMA////////DgAGTGlua0RhdGFMaXN0XzEEAAAAAQAFAAAAAgAFAAAABAAFAAAAAAAFAAAABAA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40622623655"/>
  <p:tag name="EMPOWERCHARTSPROPERTIES_B_LENGTH" val="24576"/>
  <p:tag name="DOWN_MIGRATION_INITIAL_LAYOUT_REQUIRED" val="9.2.99"/>
  <p:tag name="RUNTIME_ID" val="5ae49662-d668-46bd-93dc-959c08467a74"/>
</p:tagLst>
</file>

<file path=ppt/tags/tag2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7do815ixr9BiLuW9gyUOE4EAAAAAAADAAAAAAADAAAAAwADAAEA////////BQAAAAMAEAALwBUfd0QUJk+zo15cp2KQfwQAAAABAAMAAAACAAMAAAAEAAQAAQD///////8FAAAABAAQAAsOy0DBOnx6SIlG8H80Kaj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2jzXmLGv0GIu5b2DJQ4TgREYXRhAAUAAAAAAk5hbWUADQAAAExpbmtEYXRhTGlzdAAQVmVyc2lvbgABAAAACUxhc3RXcml0ZQBnoDpCkgEAAAABAP////9hAGEAAAAFX2lkABAAAAAEwBUfd0QUJk+zo15cp2KQfwREYXRhAAUAAAAAAk5hbWUADQAAAExpbmtEYXRhTGlzdAAQVmVyc2lvbgAAAAAACUxhc3RXcml0ZQBmoDpCkgEAAAACAP////9wAHAAAAAFX2lkABAAAAAEDstAwTp8ekiJRvB/NCmo3gNEYXRhABYAAAACUGVyc29uYWxJZAABAAAAAAACTmFtZQALAAAAUGVyc29uYWxJZAAQVmVyc2lvbgAAAAAACUxhc3RXcml0ZQCGoD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14702928"/>
  <p:tag name="EMPOWERCHARTSPROPERTIES_B_LENGTH" val="24576"/>
  <p:tag name="DOWN_MIGRATION_INITIAL_LAYOUT_REQUIRED" val="9.2.99"/>
  <p:tag name="RUNTIME_ID" val="fc50d74f-caca-405f-8a75-3898ecd18135"/>
</p:tagLst>
</file>

<file path=ppt/tags/tag2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gsAAAAAAAAAAAAAIAD///////////////8AAAD///////////////8DAAAAAgD///////8DAAAAAgD///////8DAAAAAgD///////////////////////////////////////////////////////////////////////////////////////////////////////////////////////////////////////////////////////////////////////////////////////////////////////////////////////////////////////////////////////////////////////////////////////////////////////////////////////////////////////////////////////////////////////////////////////////////////////////////////////////////////////////////////////////////////////////////8BACAA////////////////AAAO////////AwAAAAQA////////////////////////////////////////////////////////////////////////////////////////////////////////////////////////////////////////////////////////////////////////////////////////////////////////////////////////////////////////////////////////////////////////////////////////////////////////////////////////////////////////////////////////////////////////////////////////////////////////////////////////////////////////////////////////////////////////////////////////////////////////////////////////AgADAP///////wUAAAACABAAC2vdwp0m7vZPtTGcRE4GaYQEAAAAAAADAAAAAAADAAAAAwADAAAAAAD///////8DAAAAAAD///////8DAAEA////////BQAAAAMAEAAL5cY6w2F3sUKpLPg+qjx/KQQAAAABAAMAAAACAAMAAAAEAAQAAQD///////8FAAAABAAQAAtuVSne1NzrTYlyglojeAP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93CnSbu9k+1MZxETgZphAREYXRhAAUAAAAAAk5hbWUADQAAAExpbmtEYXRhTGlzdAAQVmVyc2lvbgAAAAAACUxhc3RXcml0ZQDBoDpCkgEAAAABAP////9hAGEAAAAFX2lkABAAAAAE5cY6w2F3sUKpLPg+qjx/KQREYXRhAAUAAAAAAk5hbWUADQAAAExpbmtEYXRhTGlzdAAQVmVyc2lvbgABAAAACUxhc3RXcml0ZQDIoDpCkgEAAAACAP////9wAHAAAAAFX2lkABAAAAAEblUp3tTc602JcoJaI3gDygNEYXRhABYAAAACUGVyc29uYWxJZAABAAAAAAACTmFtZQALAAAAUGVyc29uYWxJZAAQVmVyc2lvbgAAAAAACUxhc3RXcml0ZQDtoD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EAP///////wUAAAAEAP///////////////////////////////////////////////////////////////////////////////////////////////////////////////////////////////////////////////////////////////////////////////////////////////////////////////////////////////////////////////////////////////////////////////////////////////////////////////////////////////////////////////////////////////////////////////////////////////////////////////////////////////////////////////wEAIAH///////////////8AAA7///////8FAAAABAD///////////////////////////////////////////////////////////////////////////////////////////////////////////////////////////////////////////////////////////////////////////////////////////////////////////////////////////////////////////////////////////////////////////////////////////////////////////////////////////////////////////////////////////////////////////////////////////////////////////////////////////////////////////////////////////////////////////////////////////////////////////////////////8CAAMBAwAAAAIA////////DgAGTGlua0RhdGFMaXN0XzAEAAAAAAAFAAAAAAAFAAAAAwAFAAAAAAAFAAAABAAFAAAAAAAFAAAABAADAAEBAwAAAAMA////////DgAGTGlua0RhdGFMaXN0XzEEAAAAAQAFAAAAAgAFAAAABAAEAAUBAwAAAAQA////////DAAGUGVyc29uYWxJZF8wBAAAAAIABQAAAAMABQAAAAEABQAAAAI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16291445"/>
  <p:tag name="EMPOWERCHARTSPROPERTIES_B_LENGTH" val="24576"/>
  <p:tag name="DOWN_MIGRATION_INITIAL_LAYOUT_REQUIRED" val="9.2.99"/>
  <p:tag name="RUNTIME_ID" val="5a5d23b0-5fbb-40c0-a0c3-a9b8aa0ef21c"/>
</p:tagLst>
</file>

<file path=ppt/tags/tag2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BAD///////8DAAAABAD///////////////////////////////////////////////////////////////////////////////////////////////////////////////////////////////////////////////////////////////////////////////////////////////////////////////////////////////////////////////////////////////////////////////////////////////////////////////////////////////////////////////////////////////////////////////////////////////////////////////////////////////////////////////////////////////////////////////////////////////8BACAA////////////////AAAO////////AwAAAAMA////////////////////////////////////////////////////////////////////////////////////////////////////////////////////////////////////////////////////////////////////////////////////////////////////////////////////////////////////////////////////////////////////////////////////////////////////////////////////////////////////////////////////////////////////////////////////////////////////////////////////////////////////////////////////////////////////////////////////////////////////////////////////////AgACAP///////wUAAAACABAAC28kj2lFFc9PlUhOQGyXqlIEAAAAAAADAAAABAADAAAAAwADAAAABAADAAAAAwADAAIA////////BQAAAAMAEAALJkm5pgoF6EW4kGhUq5dg8gQAAAABAAMAAAACAAMAAAABAAMAAAACAP///////wQAAgD///////8FAAAABAAQAAvxXt5NUrUnQq0rc42I/OQd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ySPaUUVz0+VSE5AbJeqUgREYXRhAAUAAAAAAk5hbWUADQAAAExpbmtEYXRhTGlzdAAQVmVyc2lvbgABAAAACUxhc3RXcml0ZQBmoTpCkgEAAAABAP////9hAGEAAAAFX2lkABAAAAAEJkm5pgoF6EW4kGhUq5dg8gREYXRhAAUAAAAAAk5hbWUADQAAAExpbmtEYXRhTGlzdAAQVmVyc2lvbgAAAAAACUxhc3RXcml0ZQBjoTpCkgEAAAACAP////9wAHAAAAAFX2lkABAAAAAE8V7eTVK1J0KtK3ONiPzkHQNEYXRhABYAAAACUGVyc29uYWxJZAABAAAAAAACTmFtZQALAAAAUGVyc29uYWxJZAAQVmVyc2lvbgAAAAAACUxhc3RXcml0ZQCJoT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17500587"/>
  <p:tag name="EMPOWERCHARTSPROPERTIES_B_LENGTH" val="24576"/>
  <p:tag name="DOWN_MIGRATION_INITIAL_LAYOUT_REQUIRED" val="9.2.99"/>
  <p:tag name="RUNTIME_ID" val="262aa9d9-3da1-476c-9465-48ff62a985a9"/>
</p:tagLst>
</file>

<file path=ppt/tags/tag2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4bfMbOMGKZCt9FFy7KeFwoEAAAAAAADAAAABAADAAAAAwADAAAAAAADAAAAAwADAAIA////////BQAAAAMAEAALvN1i8a1dN02rsqBzpmDrswQAAAABAAMAAAACAAMAAAABAAMAAAACAP///////wQAAQD///////8FAAAABAAQAAvHszhGVSorRrWnds9Tkz/P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t8xs4wYpkK30UXLsp4XCgREYXRhAAUAAAAAAk5hbWUADQAAAExpbmtEYXRhTGlzdAAQVmVyc2lvbgABAAAACUxhc3RXcml0ZQDjoTpCkgEAAAABAP////9hAGEAAAAFX2lkABAAAAAEvN1i8a1dN02rsqBzpmDrswREYXRhAAUAAAAAAk5hbWUADQAAAExpbmtEYXRhTGlzdAAQVmVyc2lvbgAAAAAACUxhc3RXcml0ZQDZoTpCkgEAAAACAP////9wAHAAAAAFX2lkABAAAAAEx7M4RlUqK0a1p3bPU5M/zwNEYXRhABYAAAACUGVyc29uYWxJZAABAAAAAAACTmFtZQALAAAAUGVyc29uYWxJZAAQVmVyc2lvbgAAAAAACUxhc3RXcml0ZQD+oT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18369004"/>
  <p:tag name="EMPOWERCHARTSPROPERTIES_B_LENGTH" val="24576"/>
  <p:tag name="DOWN_MIGRATION_INITIAL_LAYOUT_REQUIRED" val="9.2.99"/>
  <p:tag name="RUNTIME_ID" val="3c016747-e9fe-4125-a008-80426aa41314"/>
</p:tagLst>
</file>

<file path=ppt/tags/tag256.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wD///////8DAAAAAwD///////8DAAAAAwD///////////////////////////////////////////////////////////////////////////////////////////////////////////////////////////////////////////////////////////////////////////////////////////////////////////////////////////////////////////////////////////////////////////////////////////////////////////////////////////////////////////////////////////////////////////////////////////////////////////////////////////////////////////////////////////////8BACAA////////////////AAAO////////AwAAAAQA////////////////////////////////////////////////////////////////////////////////////////////////////////////////////////////////////////////////////////////////////////////////////////////////////////////////////////////////////////////////////////////////////////////////////////////////////////////////////////////////////////////////////////////////////////////////////////////////////////////////////////////////////////////////////////////////////////////////////////////////////////////////////////AgABAP///////wUAAAACABAAC8z250kKb9ZGncY7Lfx5KxQEAAAAAAADAAAAAAADAAAAAwADAAQA////////BQAAAAMAEAAL8YBwmTXZEkK+LrsiPG3OgwQAAAABAAMAAAACAAMAAAAEAAMAAAAAAAMAAAAEAAMAAAAAAAMAAAAEAAMAAAAAAAMAAAAEAAQABAD///////8FAAAABAAQAAtisvGflbw9S6H6jn2Qh2WYBAAAAAIAAwAAAAMAAwAAAAE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PbnSQpv1kadxjst/HkrFAREYXRhAAUAAAAAAk5hbWUADQAAAExpbmtEYXRhTGlzdAAQVmVyc2lvbgAAAAAACUxhc3RXcml0ZQA3ojpCkgEAAAABAP////9hAGEAAAAFX2lkABAAAAAE8YBwmTXZEkK+LrsiPG3OgwREYXRhAAUAAAAAAk5hbWUADQAAAExpbmtEYXRhTGlzdAAQVmVyc2lvbgABAAAACUxhc3RXcml0ZQA3ojpCkgEAAAACAP////9wAHAAAAAFX2lkABAAAAAEYrLxn5W8PUuh+o59kIdlmANEYXRhABYAAAACUGVyc29uYWxJZAABAAAAAAACTmFtZQALAAAAUGVyc29uYWxJZAAQVmVyc2lvbgAAAAAACUxhc3RXcml0ZQBgoj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19887332"/>
  <p:tag name="EMPOWERCHARTSPROPERTIES_B_LENGTH" val="24576"/>
  <p:tag name="DOWN_MIGRATION_INITIAL_LAYOUT_REQUIRED" val="9.2.99"/>
  <p:tag name="RUNTIME_ID" val="a89d358c-95c5-4ba5-a22a-7beec7e121b2"/>
</p:tagLst>
</file>

<file path=ppt/tags/tag257.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xH7ROthQ5BvLt1Bb4ypDwEAAAAAAADAAAAAAADAAAAAwADAAAAAAADAAAABAADAAEA////////BQAAAAMAEAALTSMcgMmPf0KsEf2y5zotNwQAAAABAAMAAAACAAMAAAAEAAQAAgD///////8FAAAABAAQAAsTkynhcnqGTJQ+3mUedwZb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ftE62FDkG8u3UFvjKkPAREYXRhAAUAAAAAAk5hbWUADQAAAExpbmtEYXRhTGlzdAAQVmVyc2lvbgABAAAACUxhc3RXcml0ZQDQojpCkgEAAAABAP////9hAGEAAAAFX2lkABAAAAAETSMcgMmPf0KsEf2y5zotNwREYXRhAAUAAAAAAk5hbWUADQAAAExpbmtEYXRhTGlzdAAQVmVyc2lvbgAAAAAACUxhc3RXcml0ZQDPojpCkgEAAAACAP////9wAHAAAAAFX2lkABAAAAAEE5Mp4XJ6hkyUPt5lHncGWwNEYXRhABYAAAACUGVyc29uYWxJZAABAAAAAAACTmFtZQALAAAAUGVyc29uYWxJZAAQVmVyc2lvbgAAAAAACUxhc3RXcml0ZQDooj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20938678"/>
  <p:tag name="EMPOWERCHARTSPROPERTIES_B_LENGTH" val="24576"/>
  <p:tag name="DOWN_MIGRATION_INITIAL_LAYOUT_REQUIRED" val="9.2.99"/>
  <p:tag name="RUNTIME_ID" val="96502f14-aad8-4e09-9a69-38aa224dd98c"/>
</p:tagLst>
</file>

<file path=ppt/tags/tag2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6BSCgIWQ1pLkJQgR9QP8bIEAAAAAAADAAAAAAADAAAABAADAAIA////////BQAAAAMAEAALB0arXhpx3Ea2DC/+X1YblQQAAAABAAMAAAAEAAMAAAABAAMAAAAEAP///////wQAAgD///////8FAAAABAAQAAsnStg7QhCzT4nltMbCWAD/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FIKAhZDWkuQlCBH1A/xsgREYXRhAAUAAAAAAk5hbWUADQAAAExpbmtEYXRhTGlzdAAQVmVyc2lvbgAAAAAACUxhc3RXcml0ZQAuozpCkgEAAAABAP////9hAGEAAAAFX2lkABAAAAAEB0arXhpx3Ea2DC/+X1YblQREYXRhAAUAAAAAAk5hbWUADQAAAExpbmtEYXRhTGlzdAAQVmVyc2lvbgABAAAACUxhc3RXcml0ZQAuozpCkgEAAAACAP////9wAHAAAAAFX2lkABAAAAAEJ0rYO0IQs0+J5bTGwlgA/wNEYXRhABYAAAACUGVyc29uYWxJZAABAAAAAAACTmFtZQALAAAAUGVyc29uYWxJZAAQVmVyc2lvbgAAAAAACUxhc3RXcml0ZQBIoz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21902533"/>
  <p:tag name="EMPOWERCHARTSPROPERTIES_B_LENGTH" val="24576"/>
  <p:tag name="DOWN_MIGRATION_INITIAL_LAYOUT_REQUIRED" val="9.2.99"/>
  <p:tag name="RUNTIME_ID" val="893f9795-fff7-408b-a4f7-da6ada755a4f"/>
</p:tagLst>
</file>

<file path=ppt/tags/tag259.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BAD///////8DAAAAAwD///////8DAAAAAwD///////8DAAAAAwD///////8DAAAAAwD///////////////////////////////////////////////////////////////////////////////////////////////////////////////////////////////////////////////////////////////////////////////////////////////////////////////////////////////////////////////////////////////////////////////////////////////////////////////////////////////////////////////////////////////////////////////////////////////////////////////////////////////8BACAA////////////////AAAO////////AwAAAAMA////////////////////////////////////////////////////////////////////////////////////////////////////////////////////////////////////////////////////////////////////////////////////////////////////////////////////////////////////////////////////////////////////////////////////////////////////////////////////////////////////////////////////////////////////////////////////////////////////////////////////////////////////////////////////////////////////////////////////////////////////////////////////////AgABAP///////wUAAAACABAAC4p4KZltj7pAsDQgYr+aGgUEAAAAAAADAAAAAAADAAAABAADAAYA////////BQAAAAMAEAAL7/rb8lMY7kOITCjvzvzFRgQAAAABAAMAAAAEAAMAAAABAAMAAAAEAP///////wMAAAAAAP///////wMAAAAAAP///////wMAAAAAAP///////wMAAAAAAP///////wQAAgD///////8FAAAABAAQAAtEhrOZfVqLSI7LCeVwX0TW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ngpmW2PukCwNCBiv5oaBQREYXRhAAUAAAAAAk5hbWUADQAAAExpbmtEYXRhTGlzdAAQVmVyc2lvbgAAAAAACUxhc3RXcml0ZQCOozpCkgEAAAABAP////9hAGEAAAAFX2lkABAAAAAE7/rb8lMY7kOITCjvzvzFRgREYXRhAAUAAAAAAk5hbWUADQAAAExpbmtEYXRhTGlzdAAQVmVyc2lvbgABAAAACUxhc3RXcml0ZQCPozpCkgEAAAACAP////9wAHAAAAAFX2lkABAAAAAERIazmX1ai0iOywnlcF9E1gNEYXRhABYAAAACUGVyc29uYWxJZAABAAAAAAACTmFtZQALAAAAUGVyc29uYWxJZAAQVmVyc2lvbgAAAAAACUxhc3RXcml0ZQBspD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BAD///////////////////////////////////////////////////////////////////////////////////////////////////////////////////////////////////////////////////////////////////////////////////////////////////////////////////////////////////////////////////////////////////////////////////////////////////////////////////////////////////////////////////////////////////////////////////////////////////////////////////////////////////////////////////////////////////////////////////////////////////////////////////////8CAAEBAwAAAAIA////////DgAGTGlua0RhdGFMaXN0XzAEAAAAAAAFAAAAAAAFAAAAAwADAAYBAwAAAAMA////////DgAGTGlua0RhdGFMaXN0XzEEAAAAAQAFAAAAAgAFAAAABAA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24824891"/>
  <p:tag name="EMPOWERCHARTSPROPERTIES_B_LENGTH" val="24576"/>
  <p:tag name="DOWN_MIGRATION_INITIAL_LAYOUT_REQUIRED" val="9.2.99"/>
  <p:tag name="RUNTIME_ID" val="477ecd74-ae2c-41aa-8cf2-2c4e5cd5e336"/>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0.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BAD///////8DAAAABAD///////8DAAAABAD///////////////////////////////////////////////////////////////////////////////////////////////////////////////////////////////////////////////////////////////////////////////////////////////////////////////////////////////////////////////////////////////////////////////////////////////////////////////////////////////////////////////////////////////////////////////////////////////////////////////////////////////////////////////////////////////////////////////8BACAA////////////////AAAO////////AwAAAAMA////////////////////////////////////////////////////////////////////////////////////////////////////////////////////////////////////////////////////////////////////////////////////////////////////////////////////////////////////////////////////////////////////////////////////////////////////////////////////////////////////////////////////////////////////////////////////////////////////////////////////////////////////////////////////////////////////////////////////////////////////////////////////////AgABAP///////wUAAAACABAAC6yJzhi+QoJPq0k67pcDtroEAAAAAAADAAAABAADAAAAAwADAAIA////////BQAAAAMAEAALGY8ARQx+nEuZxknH+V9DkwQAAAABAAMAAAACAAMAAAABAAMAAAAEAP///////wQAAwD///////8FAAAABAAQAAuhHqAJQD8PTqhckLZdUSHZBAAAAAIAAwAAAAAAAwAAAAI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InOGL5Cgk+rSTrulwO2ugREYXRhAAUAAAAAAk5hbWUADQAAAExpbmtEYXRhTGlzdAAQVmVyc2lvbgABAAAACUxhc3RXcml0ZQCzpDpCkgEAAAABAP////9hAGEAAAAFX2lkABAAAAAEGY8ARQx+nEuZxknH+V9DkwREYXRhAAUAAAAAAk5hbWUADQAAAExpbmtEYXRhTGlzdAAQVmVyc2lvbgAAAAAACUxhc3RXcml0ZQCypDpCkgEAAAACAP////9wAHAAAAAFX2lkABAAAAAEoR6gCUA/D06oXJC2XVEh2QNEYXRhABYAAAACUGVyc29uYWxJZAABAAAAAAACTmFtZQALAAAAUGVyc29uYWxJZAAQVmVyc2lvbgAAAAAACUxhc3RXcml0ZQDQpDp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925843383"/>
  <p:tag name="EMPOWERCHARTSPROPERTIES_B_LENGTH" val="24576"/>
  <p:tag name="DOWN_MIGRATION_INITIAL_LAYOUT_REQUIRED" val="9.2.99"/>
  <p:tag name="RUNTIME_ID" val="d0bd31e0-b9e3-402b-bfb0-506062da9983"/>
</p:tagLst>
</file>

<file path=ppt/tags/tag2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13P2AcDpUhEjkCIETU1eHcEAAAAAAADAAAAAAADAAAAAwADAAAAAAADAAAABAADAAEA////////BQAAAAMAEAALMMmIbpFZMkKh67dc1kUqSQQAAAABAAMAAAACAAMAAAAEAAQAAgD///////8FAAAABAAQAAtahCvMYogJTpYoohL9d1NO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c/YBwOlSESOQIgRNTV4dwREYXRhAAUAAAAAAk5hbWUADQAAAExpbmtEYXRhTGlzdAAQVmVyc2lvbgAAAAAACUxhc3RXcml0ZQCh3DlCkgEAAAABAP////9hAGEAAAAFX2lkABAAAAAEMMmIbpFZMkKh67dc1kUqSQREYXRhAAUAAAAAAk5hbWUADQAAAExpbmtEYXRhTGlzdAAQVmVyc2lvbgABAAAACUxhc3RXcml0ZQDE3DlCkgEAAAACAP////9wAHAAAAAFX2lkABAAAAAEWoQrzGKICU6WKKIS/XdTTgNEYXRhABYAAAACUGVyc29uYWxJZAABAAAAAAACTmFtZQALAAAAUGVyc29uYWxJZAAQVmVyc2lvbgAAAAAACUxhc3RXcml0ZQAz3T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14569734"/>
  <p:tag name="EMPOWERCHARTSPROPERTIES_B_LENGTH" val="24576"/>
  <p:tag name="DOWN_MIGRATION_INITIAL_LAYOUT_REQUIRED" val="9.2.99"/>
  <p:tag name="RUNTIME_ID" val="6a246a87-c1e4-473b-9218-b97841687db1"/>
</p:tagLst>
</file>

<file path=ppt/tags/tag2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MA////////////////////////////////////////////////////////////////////////////////////////////////////////////////////////////////////////////////////////////////////////////////////////////////////////////////////////////////////////////////////////////////////////////////////////////////////////////////////////////////////////////////////////////////////////////////////////////////////////////////////////////////////////////////////////////////////////////////////////////////////////////////////////AgACAP///////wUAAAACABAAC1/9bgCzc+VIjGgFEztfN1sEAAAAAAADAAAAAAADAAAABAADAAAAAAADAAAABAADAAEA////////BQAAAAMAEAAL23KJeZHMl0yE7E+loIMJoQQAAAABAAMAAAAEAAMAAAABAAQAAwD///////8FAAAABAAQAAvzP9ANOff6Tq9jZMv+RWCBBAAAAAIAAwAAAAIAAwAAAAM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1uALNz5UiMaAUTO183WwREYXRhAAUAAAAAAk5hbWUADQAAAExpbmtEYXRhTGlzdAAQVmVyc2lvbgAAAAAACUxhc3RXcml0ZQDF3TlCkgEAAAABAP////9hAGEAAAAFX2lkABAAAAAE23KJeZHMl0yE7E+loIMJoQREYXRhAAUAAAAAAk5hbWUADQAAAExpbmtEYXRhTGlzdAAQVmVyc2lvbgABAAAACUxhc3RXcml0ZQDI3TlCkgEAAAACAP////9wAHAAAAAFX2lkABAAAAAE8z/QDTn3+k6vY2TL/kVggQNEYXRhABYAAAACUGVyc29uYWxJZAABAAAAAAACTmFtZQALAAAAUGVyc29uYWxJZAAQVmVyc2lvbgAAAAAACUxhc3RXcml0ZQDr3T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16391499"/>
  <p:tag name="EMPOWERCHARTSPROPERTIES_B_LENGTH" val="24576"/>
  <p:tag name="DOWN_MIGRATION_INITIAL_LAYOUT_REQUIRED" val="9.2.99"/>
  <p:tag name="RUNTIME_ID" val="8b69a77e-e784-4a14-8d7a-5c0dfdb8ad7d"/>
</p:tagLst>
</file>

<file path=ppt/tags/tag2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1VtOnE4lOxHko5lh/VE9AMEAAAAAAADAAAABAADAAAAAwADAAAAAAADAAAAAwADAAIA////////BQAAAAMAEAAL5Q++7wzYpEqxXT7OZipgwwQAAAABAAMAAAACAAMAAAABAAMAAAACAP///////wQAAQD///////8FAAAABAAQAAvupIgrCg0tTrD/OW9fdOt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W06cTiU7EeSjmWH9UT0AwREYXRhAAUAAAAAAk5hbWUADQAAAExpbmtEYXRhTGlzdAAQVmVyc2lvbgABAAAACUxhc3RXcml0ZQA93jlCkgEAAAABAP////9hAGEAAAAFX2lkABAAAAAE5Q++7wzYpEqxXT7OZipgwwREYXRhAAUAAAAAAk5hbWUADQAAAExpbmtEYXRhTGlzdAAQVmVyc2lvbgAAAAAACUxhc3RXcml0ZQA73jlCkgEAAAACAP////9wAHAAAAAFX2lkABAAAAAE7qSIKwoNLU6w/zlvX3TrTQNEYXRhABYAAAACUGVyc29uYWxJZAABAAAAAAACTmFtZQALAAAAUGVyc29uYWxJZAAQVmVyc2lvbgAAAAAACUxhc3RXcml0ZQBY3j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17460889"/>
  <p:tag name="EMPOWERCHARTSPROPERTIES_B_LENGTH" val="24576"/>
  <p:tag name="DOWN_MIGRATION_INITIAL_LAYOUT_REQUIRED" val="9.2.99"/>
  <p:tag name="RUNTIME_ID" val="430697a2-c3ea-4953-a208-cf1fb6941325"/>
</p:tagLst>
</file>

<file path=ppt/tags/tag264.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8XyIkTX2C9CqRopuPK641UEAAAAAAADAAAAAAADAAAABAADAAEA////////BQAAAAMAEAALtDIi1nP0KEq+YCjnK8yfFAQAAAABAAMAAAAEAAMAAAABAAQAAQD///////8FAAAABAAQAAuN2byzGNdvS7of4loVOqG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fIiRNfYL0KpGim48rrjVQREYXRhAAUAAAAAAk5hbWUADQAAAExpbmtEYXRhTGlzdAAQVmVyc2lvbgABAAAACUxhc3RXcml0ZQCc3jlCkgEAAAABAP////9hAGEAAAAFX2lkABAAAAAEtDIi1nP0KEq+YCjnK8yfFAREYXRhAAUAAAAAAk5hbWUADQAAAExpbmtEYXRhTGlzdAAQVmVyc2lvbgAAAAAACUxhc3RXcml0ZQCN3jlCkgEAAAACAP////9wAHAAAAAFX2lkABAAAAAEjdm8sxjXb0u6H+JaFTqhowNEYXRhABYAAAACUGVyc29uYWxJZAABAAAAAAACTmFtZQALAAAAUGVyc29uYWxJZAAQVmVyc2lvbgAAAAAACUxhc3RXcml0ZQC63j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18420705"/>
  <p:tag name="EMPOWERCHARTSPROPERTIES_B_LENGTH" val="24576"/>
  <p:tag name="DOWN_MIGRATION_INITIAL_LAYOUT_REQUIRED" val="9.2.99"/>
  <p:tag name="RUNTIME_ID" val="356643ac-e2f7-4731-b7f0-ed99fbcde761"/>
</p:tagLst>
</file>

<file path=ppt/tags/tag265.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wgsAAAAAAAAAAAAAIAD///////////////8AAAD///////////////8DAAAAAgD///////8DAAAAAgD///////8DAAAAAgD///////8DAAAABAD///////////////////////////////////////////////////////////////////////////////////////////////////////////////////////////////////////////////////////////////////////////////////////////////////////////////////////////////////////////////////////////////////////////////////////////////////////////////////////////////////////////////////////////////////////////////////////////////////////////////////////////////////////////////////////////////8BACAA////////////////AAAO////////AwAAAAMA////////////////////////////////////////////////////////////////////////////////////////////////////////////////////////////////////////////////////////////////////////////////////////////////////////////////////////////////////////////////////////////////////////////////////////////////////////////////////////////////////////////////////////////////////////////////////////////////////////////////////////////////////////////////////////////////////////////////////////////////////////////////////////AgADAP///////wUAAAACABAAC3lsoQ/zsjVJrVOU723w2p4EAAAAAAADAAAAAAADAAAABAADAAAAAAADAAAABAADAAAAAAADAAAABAADAAMA////////BQAAAAMAEAALt9Yk8RhMgUyk2nNnAEvjvwQAAAABAAMAAAAEAAMAAAABAAMAAAAEAP///////wMAAAAEAP///////wQABAD///////8FAAAABAAQAAtOBO8vWYWARLf/uFE9Uq2gBAAAAAIAAwAAAAIAAwAAAAMAAwAAAAIAAwAAAAM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WyhD/OyNUmtU5TvbfDangREYXRhAAUAAAAAAk5hbWUADQAAAExpbmtEYXRhTGlzdAAQVmVyc2lvbgAAAAAACUxhc3RXcml0ZQDk3jlCkgEAAAABAP////9hAGEAAAAFX2lkABAAAAAEt9Yk8RhMgUyk2nNnAEvjvwREYXRhAAUAAAAAAk5hbWUADQAAAExpbmtEYXRhTGlzdAAQVmVyc2lvbgABAAAACUxhc3RXcml0ZQDk3jlCkgEAAAACAP////9wAHAAAAAFX2lkABAAAAAETgTvL1mFgES3/7hRPVKtoANEYXRhABYAAAACUGVyc29uYWxJZAABAAAAAAACTmFtZQALAAAAUGVyc29uYWxJZAAQVmVyc2lvbgAAAAAACUxhc3RXcml0ZQAA3z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EAIAH///////////////8AAA7///////8FAAAABAD///////////////////////////////////////////////////////////////////////////////////////////////////////////////////////////////////////////////////////////////////////////////////////////////////////////////////////////////////////////////////////////////////////////////////////////////////////////////////////////////////////////////////////////////////////////////////////////////////////////////////////////////////////////////////////////////////////////////////////////////////////////////////////8CAAMBAwAAAAIA////////DgAGTGlua0RhdGFMaXN0XzAEAAAAAAAFAAAAAAAFAAAAAwAFAAAAAAAFAAAAAwAFAAAAAAAFAAAAAwA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19124057"/>
  <p:tag name="EMPOWERCHARTSPROPERTIES_B_LENGTH" val="24576"/>
  <p:tag name="DOWN_MIGRATION_INITIAL_LAYOUT_REQUIRED" val="9.2.99"/>
  <p:tag name="RUNTIME_ID" val="130aa137-f0e2-44b7-a14a-d245a0a9510c"/>
</p:tagLst>
</file>

<file path=ppt/tags/tag266.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MA////////////////////////////////////////////////////////////////////////////////////////////////////////////////////////////////////////////////////////////////////////////////////////////////////////////////////////////////////////////////////////////////////////////////////////////////////////////////////////////////////////////////////////////////////////////////////////////////////////////////////////////////////////////////////////////////////////////////////////////////////////////////////////AgACAP///////wUAAAACABAACy/fIxK+RlRHockXcB7kgDcEAAAAAAADAAAAAAADAAAABAADAAAAAAADAAAABAADAAEA////////BQAAAAMAEAAL7/Hya+G7cEOxT2ssKEE3LwQAAAABAAMAAAAEAAMAAAABAAQABQD///////8FAAAABAAQAAsdAdFFzwwtQqakDSwtnHeKBAAAAAIAAwAAAAIAAwAAAAM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98jEr5GVEehyRdwHuSANwREYXRhAAUAAAAAAk5hbWUADQAAAExpbmtEYXRhTGlzdAAQVmVyc2lvbgABAAAACUxhc3RXcml0ZQAq3zlCkgEAAAABAP////9hAGEAAAAFX2lkABAAAAAE7/Hya+G7cEOxT2ssKEE3LwREYXRhAAUAAAAAAk5hbWUADQAAAExpbmtEYXRhTGlzdAAQVmVyc2lvbgAAAAAACUxhc3RXcml0ZQAo3zlCkgEAAAACAP////9wAHAAAAAFX2lkABAAAAAEHQHRRc8MLUKmpA0sLZx3igNEYXRhABYAAAACUGVyc29uYWxJZAABAAAAAAACTmFtZQALAAAAUGVyc29uYWxJZAAQVmVyc2lvbgAAAAAACUxhc3RXcml0ZQBY3z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0038607"/>
  <p:tag name="EMPOWERCHARTSPROPERTIES_B_LENGTH" val="24576"/>
  <p:tag name="DOWN_MIGRATION_INITIAL_LAYOUT_REQUIRED" val="9.2.99"/>
  <p:tag name="RUNTIME_ID" val="e6788122-d0f1-43a6-baed-619968d0c54f"/>
</p:tagLst>
</file>

<file path=ppt/tags/tag267.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fRFoHEL6hNpRAoMENhFVcEAAAAAAADAAAAAAADAAAAAwADAAIA////////BQAAAAMAEAALG6eegRXdhkeRLv6CMwrOEAQAAAABAAMAAAACAAMAAAAEAAMAAAAAAP///////wQAAQD///////8FAAAABAAQAAtHKT29TqAqQ4yuU4H0vR2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9EWgcQvqE2lECgwQ2EVVwREYXRhAAUAAAAAAk5hbWUADQAAAExpbmtEYXRhTGlzdAAQVmVyc2lvbgABAAAACUxhc3RXcml0ZQCJ3zlCkgEAAAABAP////9hAGEAAAAFX2lkABAAAAAEG6eegRXdhkeRLv6CMwrOEAREYXRhAAUAAAAAAk5hbWUADQAAAExpbmtEYXRhTGlzdAAQVmVyc2lvbgAAAAAACUxhc3RXcml0ZQCI3zlCkgEAAAACAP////9wAHAAAAAFX2lkABAAAAAERyk9vU6gKkOMrlOB9L0dngNEYXRhABYAAAACUGVyc29uYWxJZAABAAAAAAACTmFtZQALAAAAUGVyc29uYWxJZAAQVmVyc2lvbgAAAAAACUxhc3RXcml0ZQCo3z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0839552"/>
  <p:tag name="EMPOWERCHARTSPROPERTIES_B_LENGTH" val="24576"/>
  <p:tag name="DOWN_MIGRATION_INITIAL_LAYOUT_REQUIRED" val="9.2.99"/>
  <p:tag name="RUNTIME_ID" val="fa2bf0d7-7eab-4f4b-9a81-82f548e69bdf"/>
</p:tagLst>
</file>

<file path=ppt/tags/tag268.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wV0+AYfRJdFivvuUnjhvOIEAAAAAAADAAAAAAADAAAAAwADAAAAAAADAAAABAADAAAAAAADAAAABAADAAEA////////BQAAAAMAEAALkWe9GGTxg0KnsWb3ibgc6wQAAAABAAMAAAACAAMAAAAEAAQAAwD///////8FAAAABAAQAAtSST9/IF15Q7OiQc+2fNVkBAAAAAIAAwAAAAMAAwAAAAE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XT4Bh9El0WK++5SeOG84gREYXRhAAUAAAAAAk5hbWUADQAAAExpbmtEYXRhTGlzdAAQVmVyc2lvbgABAAAACUxhc3RXcml0ZQDZ3zlCkgEAAAABAP////9hAGEAAAAFX2lkABAAAAAEkWe9GGTxg0KnsWb3ibgc6wREYXRhAAUAAAAAAk5hbWUADQAAAExpbmtEYXRhTGlzdAAQVmVyc2lvbgAAAAAACUxhc3RXcml0ZQDX3zlCkgEAAAACAP////9wAHAAAAAFX2lkABAAAAAEUkk/fyBdeUOzokHPtnzVZANEYXRhABYAAAACUGVyc29uYWxJZAABAAAAAAACTmFtZQALAAAAUGVyc29uYWxJZAAQVmVyc2lvbgAAAAAACUxhc3RXcml0ZQD03z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1572588"/>
  <p:tag name="EMPOWERCHARTSPROPERTIES_B_LENGTH" val="24576"/>
  <p:tag name="DOWN_MIGRATION_INITIAL_LAYOUT_REQUIRED" val="9.2.99"/>
  <p:tag name="RUNTIME_ID" val="b108525f-9779-4f36-b869-22cf5f62cde9"/>
</p:tagLst>
</file>

<file path=ppt/tags/tag269.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MAAAAAAAAAAwAAAAMAAAAA/////wUACgwAAAAAAAAAAAAAIAD///////////////8AAAD///////////////8DAAAABAD///////8DAAAAAgD///////////////////////////////////////////////////////////////////////////////////////////////////////////////////////////////////////////////////////////////////////////////////////////////////////////////////////////////////////////////////////////////////////////////////////////////////////////////////////////////////////////////////////////////////////////////////////////////////////////////////////////////////////////////////////////////////////////////////////////////8BACAA////////////////AAAO////////AwAAAAMA////////////////////////////////////////////////////////////////////////////////////////////////////////////////////////////////////////////////////////////////////////////////////////////////////////////////////////////////////////////////////////////////////////////////////////////////////////////////////////////////////////////////////////////////////////////////////////////////////////////////////////////////////////////////////////////////////////////////////////////////////////////////////////AgACAP///////wUAAAACABAAC+ywNEsJwQBFtXwMqiD8ALcEAAAAAAADAAAABAADAAAAAwADAAAAAAD///////8DAAEA////////BQAAAAMAEAALt5w40jxU0Ua+6MFLKnRevQQAAAABAAMAAAACAAMAAAABAAQAAQD///////8FAAAABAAQAAvvFiEV8R8zTKIblEM7sE5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LA0SwnBAEW1fAyqIPwAtwREYXRhAAUAAAAAAk5hbWUADQAAAExpbmtEYXRhTGlzdAAQVmVyc2lvbgAAAAAACUxhc3RXcml0ZQAi4DlCkgEAAAABAP////9hAGEAAAAFX2lkABAAAAAEt5w40jxU0Ua+6MFLKnRevQREYXRhAAUAAAAAAk5hbWUADQAAAExpbmtEYXRhTGlzdAAQVmVyc2lvbgABAAAACUxhc3RXcml0ZQAi4DlCkgEAAAACAP////9wAHAAAAAFX2lkABAAAAAE7xYhFfEfM0yiG5RDO7BOXQNEYXRhABYAAAACUGVyc29uYWxJZAABAAAAAAACTmFtZQALAAAAUGVyc29uYWxJZAAQVmVyc2lvbgAAAAAACUxhc3RXcml0ZQA94D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EAP///////wUAAAAEAP///////wUAAAAEAP///////wUAAAAEAP///////////////////////////////////////////////////////////////////////////////////////////////////////////////////////////////////////////////////////////////////////////////////////////////////////////////////////////////////////////////////////////////////////////////////////////////////////////////////////////////////////////////////////////////////////////////////////////////////////////////////////////////wEAIAH///////////////8AAA7///////8FAAAABAD///////////////////////////////////////////////////////////////////////////////////////////////////////////////////////////////////////////////////////////////////////////////////////////////////////////////////////////////////////////////////////////////////////////////////////////////////////////////////////////////////////////////////////////////////////////////////////////////////////////////////////////////////////////////////////////////////////////////////////////////////////////////////////8CAAIBAwAAAAIA////////DgAGTGlua0RhdGFMaXN0XzAEAAAAAAAFAAAAAAAFAAAAAwAFAAAAAAAFAAAABAADAAEBAwAAAAMA////////DgAGTGlua0RhdGFMaXN0XzEEAAAAAQAFAAAAAgAFAAAABAAEAAYBAwAAAAQA////////DAAGUGVyc29uYWxJZF8wBAAAAAIABQAAAAMABQAAAAEABQAAAAI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2315165"/>
  <p:tag name="EMPOWERCHARTSPROPERTIES_B_LENGTH" val="24576"/>
  <p:tag name="DOWN_MIGRATION_INITIAL_LAYOUT_REQUIRED" val="9.2.99"/>
  <p:tag name="RUNTIME_ID" val="aa355cee-6a71-4f4e-91c0-c8ce1a0d3eba"/>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0.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BAD///////8DAAAAAwD///////////////////////////////////////////////////////////////////////////////////////////////////////////////////////////////////////////////////////////////////////////////////////////////////////////////////////////////////////////////////////////////////////////////////////////////////////////////////////////////////////////////////////////////////////////////////////////////////////////////////////////////////////////////////////////////////////////////8BACAA////////////////AAAO////////AwAAAAMA////////////////////////////////////////////////////////////////////////////////////////////////////////////////////////////////////////////////////////////////////////////////////////////////////////////////////////////////////////////////////////////////////////////////////////////////////////////////////////////////////////////////////////////////////////////////////////////////////////////////////////////////////////////////////////////////////////////////////////////////////////////////////////AgABAP///////wUAAAACABAAC+Z5eH3t5EFKpjAzkvvW5KQEAAAAAAADAAAAAAADAAAABAADAAMA////////BQAAAAMAEAALgd0sxNSiTE2eibQ4GWl7DAQAAAABAAMAAAAEAAMAAAABAAMAAAAEAP///////wMAAAAAAP///////wQAAgD///////8FAAAABAAQAAtjowN+bo/VSrsDCcpnvQxl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nl4fe3kQUqmMDOS+9bkpAREYXRhAAUAAAAAAk5hbWUADQAAAExpbmtEYXRhTGlzdAAQVmVyc2lvbgAAAAAACUxhc3RXcml0ZQBs4DlCkgEAAAABAP////9hAGEAAAAFX2lkABAAAAAEgd0sxNSiTE2eibQ4GWl7DAREYXRhAAUAAAAAAk5hbWUADQAAAExpbmtEYXRhTGlzdAAQVmVyc2lvbgABAAAACUxhc3RXcml0ZQBt4DlCkgEAAAACAP////9wAHAAAAAFX2lkABAAAAAEY6MDfm6P1Uq7AwnKZ70MZQNEYXRhABYAAAACUGVyc29uYWxJZAABAAAAAAACTmFtZQALAAAAUGVyc29uYWxJZAAQVmVyc2lvbgAAAAAACUxhc3RXcml0ZQCK4D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EAIAH///////////////8AAA7///////8FAAAABAD///////////////////////////////////////////////////////////////////////////////////////////////////////////////////////////////////////////////////////////////////////////////////////////////////////////////////////////////////////////////////////////////////////////////////////////////////////////////////////////////////////////////////////////////////////////////////////////////////////////////////////////////////////////////////////////////////////////////////////////////////////////////////////8CAAEBAwAAAAIA////////DgAGTGlua0RhdGFMaXN0XzAEAAAAAAAFAAAAAAAFAAAAAwADAAMBAwAAAAMA////////DgAGTGlua0RhdGFMaXN0XzEEAAAAAQAFAAAAAgAFAAAABAAFAAAAAAAFAAAABAA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3080449"/>
  <p:tag name="EMPOWERCHARTSPROPERTIES_B_LENGTH" val="24576"/>
  <p:tag name="DOWN_MIGRATION_INITIAL_LAYOUT_REQUIRED" val="9.2.99"/>
  <p:tag name="RUNTIME_ID" val="1ac53790-e427-4cbb-84c7-cf054ea288eb"/>
</p:tagLst>
</file>

<file path=ppt/tags/tag2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QA////////////////////////////////////////////////////////////////////////////////////////////////////////////////////////////////////////////////////////////////////////////////////////////////////////////////////////////////////////////////////////////////////////////////////////////////////////////////////////////////////////////////////////////////////////////////////////////////////////////////////////////////////////////////////////////////////////////////////////////////////////////////////////AgAEAP///////wUAAAACABAACxHr8iPIVZVKhL6VaR3UMAsEAAAAAAADAAAAAAADAAAAAwADAAAAAAADAAAABAADAAAAAAD///////8DAAAAAAD///////8DAAEA////////BQAAAAMAEAAL4JLtRF2yDkmmDwHkVCBocQQAAAABAAMAAAACAAMAAAAEAAQAAgD///////8FAAAABAAQAAtnfQ2IGMf0T6jl5NMqWJdo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evyI8hVlUqEvpVpHdQwCwREYXRhAAUAAAAAAk5hbWUADQAAAExpbmtEYXRhTGlzdAAQVmVyc2lvbgAAAAAACUxhc3RXcml0ZQC44DlCkgEAAAABAP////9hAGEAAAAFX2lkABAAAAAE4JLtRF2yDkmmDwHkVCBocQREYXRhAAUAAAAAAk5hbWUADQAAAExpbmtEYXRhTGlzdAAQVmVyc2lvbgABAAAACUxhc3RXcml0ZQDD4DlCkgEAAAACAP////9wAHAAAAAFX2lkABAAAAAEZ30NiBjH9E+o5eTTKliXaANEYXRhABYAAAACUGVyc29uYWxJZAABAAAAAAACTmFtZQALAAAAUGVyc29uYWxJZAAQVmVyc2lvbgAAAAAACUxhc3RXcml0ZQDe4D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3907560"/>
  <p:tag name="EMPOWERCHARTSPROPERTIES_B_LENGTH" val="24576"/>
  <p:tag name="DOWN_MIGRATION_INITIAL_LAYOUT_REQUIRED" val="9.2.99"/>
  <p:tag name="RUNTIME_ID" val="d9645784-20a2-41d6-ad61-d8dca2947fa0"/>
</p:tagLst>
</file>

<file path=ppt/tags/tag2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AgD///////8DAAAAAgD///////////////////////////////////////////////////////////////////////////////////////////////////////////////////////////////////////////////////////////////////////////////////////////////////////////////////////////////////////////////////////////////////////////////////////////////////////////////////////////////////////////////////////////////////////////////////////////////////////////////////////////////////////////////////////////////////////////////////////////////8BACAA////////////////AAAO////////AwAAAAQA////////////////////////////////////////////////////////////////////////////////////////////////////////////////////////////////////////////////////////////////////////////////////////////////////////////////////////////////////////////////////////////////////////////////////////////////////////////////////////////////////////////////////////////////////////////////////////////////////////////////////////////////////////////////////////////////////////////////////////////////////////////////////////AgACAP///////wUAAAACABAAC7xhJmpmNVhEhEWBvLb43MwEAAAAAAADAAAAAAADAAAAAwADAAAAAAD///////8DAAEA////////BQAAAAMAEAALY4PUoYr+/Eud4lrHGkjboAQAAAABAAMAAAACAAMAAAAEAAQAAQD///////8FAAAABAAQAAtH+9vDV+qmQp2h6AKzJYDM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GEmamY1WESERYG8tvjczAREYXRhAAUAAAAAAk5hbWUADQAAAExpbmtEYXRhTGlzdAAQVmVyc2lvbgABAAAACUxhc3RXcml0ZQAJ4TlCkgEAAAABAP////9hAGEAAAAFX2lkABAAAAAEY4PUoYr+/Eud4lrHGkjboAREYXRhAAUAAAAAAk5hbWUADQAAAExpbmtEYXRhTGlzdAAQVmVyc2lvbgAAAAAACUxhc3RXcml0ZQAI4TlCkgEAAAACAP////9wAHAAAAAFX2lkABAAAAAER/vbw1fqpkKdoegCsyWAzANEYXRhABYAAAACUGVyc29uYWxJZAABAAAAAAACTmFtZQALAAAAUGVyc29uYWxJZAAQVmVyc2lvbgAAAAAACUxhc3RXcml0ZQAj4T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EAP///////wUAAAAEAP///////wUAAAAEAP///////////////////////////////////////////////////////////////////////////////////////////////////////////////////////////////////////////////////////////////////////////////////////////////////////////////////////////////////////////////////////////////////////////////////////////////////////////////////////////////////////////////////////////////////////////////////////////////////////////////////////////////////////////////wEAIAH///////////////8AAA7///////8FAAAABAD///////////////////////////////////////////////////////////////////////////////////////////////////////////////////////////////////////////////////////////////////////////////////////////////////////////////////////////////////////////////////////////////////////////////////////////////////////////////////////////////////////////////////////////////////////////////////////////////////////////////////////////////////////////////////////////////////////////////////////////////////////////////////////8CAAIBAwAAAAIA////////DgAGTGlua0RhdGFMaXN0XzEEAAAAAAAFAAAAAwAFAAAABAAFAAAAAAAFAAAABAADAAEBAwAAAAMA////////DgAGTGlua0RhdGFMaXN0XzAEAAAAAQAFAAAAAAAFAAAAAgAEAAUBAwAAAAQA////////DAAGUGVyc29uYWxJZF8wBAAAAAIABQAAAAIABQAAAAEABQAAAAI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4610964"/>
  <p:tag name="EMPOWERCHARTSPROPERTIES_B_LENGTH" val="24576"/>
  <p:tag name="DOWN_MIGRATION_INITIAL_LAYOUT_REQUIRED" val="9.2.99"/>
  <p:tag name="RUNTIME_ID" val="37900a55-e364-476c-80c6-782dd1dcd720"/>
</p:tagLst>
</file>

<file path=ppt/tags/tag2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MA////////////////////////////////////////////////////////////////////////////////////////////////////////////////////////////////////////////////////////////////////////////////////////////////////////////////////////////////////////////////////////////////////////////////////////////////////////////////////////////////////////////////////////////////////////////////////////////////////////////////////////////////////////////////////////////////////////////////////////////////////////////////////////AgACAP///////wUAAAACABAAC1NnEQg/T2JFubZ9X7J3MqoEAAAAAAADAAAAAAADAAAABAADAAAAAAD///////8DAAEA////////BQAAAAMAEAALyNKd2lb6fEGQpq1dmpg2TAQAAAABAAMAAAAEAAMAAAABAAQAAQD///////8FAAAABAAQAAv3tOJHo6s0Q4cQjI6jRUvs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2cRCD9PYkW5tn1fsncyqgREYXRhAAUAAAAAAk5hbWUADQAAAExpbmtEYXRhTGlzdAAQVmVyc2lvbgABAAAACUxhc3RXcml0ZQDO4jlCkgEAAAABAP////9hAGEAAAAFX2lkABAAAAAEyNKd2lb6fEGQpq1dmpg2TAREYXRhAAUAAAAAAk5hbWUADQAAAExpbmtEYXRhTGlzdAAQVmVyc2lvbgAAAAAACUxhc3RXcml0ZQDI4jlCkgEAAAACAP////9wAHAAAAAFX2lkABAAAAAE97TiR6OrNEOHEIyOo0VL7ANEYXRhABYAAAACUGVyc29uYWxJZAABAAAAAAACTmFtZQALAAAAUGVyc29uYWxJZAAQVmVyc2lvbgAAAAAACUxhc3RXcml0ZQDu4j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29179144"/>
  <p:tag name="EMPOWERCHARTSPROPERTIES_B_LENGTH" val="24576"/>
  <p:tag name="DOWN_MIGRATION_INITIAL_LAYOUT_REQUIRED" val="9.2.99"/>
  <p:tag name="RUNTIME_ID" val="fd2d217a-e91e-48d4-a8fc-19517f27f3b4"/>
</p:tagLst>
</file>

<file path=ppt/tags/tag2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xl30lUFOe1KvF5UQGQjnBsEAAAAAAADAAAAAAADAAAABAADAAEA////////BQAAAAMAEAAL16dWr80VNkG7eZFNdQEcwQQAAAABAAMAAAAEAAMAAAABAAQAAQD///////8FAAAABAAQAAumLw9tbV8/SLmTdCT8F97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XfSVQU57Uq8XlRAZCOcGwREYXRhAAUAAAAAAk5hbWUADQAAAExpbmtEYXRhTGlzdAAQVmVyc2lvbgAAAAAACUxhc3RXcml0ZQDD4zlCkgEAAAABAP////9hAGEAAAAFX2lkABAAAAAE16dWr80VNkG7eZFNdQEcwQREYXRhAAUAAAAAAk5hbWUADQAAAExpbmtEYXRhTGlzdAAQVmVyc2lvbgABAAAACUxhc3RXcml0ZQDD4zlCkgEAAAACAP////9wAHAAAAAFX2lkABAAAAAEpi8PbW1fP0i5k3Qk/Bfe8gNEYXRhABYAAAACUGVyc29uYWxJZAABAAAAAAACTmFtZQALAAAAUGVyc29uYWxJZAAQVmVyc2lvbgAAAAAACUxhc3RXcml0ZQDg4z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31676356"/>
  <p:tag name="EMPOWERCHARTSPROPERTIES_B_LENGTH" val="24576"/>
  <p:tag name="DOWN_MIGRATION_INITIAL_LAYOUT_REQUIRED" val="9.2.99"/>
  <p:tag name="RUNTIME_ID" val="5486762a-5e59-4bf5-bbb1-4be171898d89"/>
</p:tagLst>
</file>

<file path=ppt/tags/tag2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9lTx8uZ0P9LkQab3eCe5XwEAAAAAAADAAAAAAADAAAABAADAAAAAAADAAAAAwADAAIA////////BQAAAAMAEAALSPZm9/JEAUetTojuDzU7lAQAAAABAAMAAAAEAAMAAAABAAMAAAACAP///////wQAAQD///////8FAAAABAAQAAt1M9bmbhVdRoi1nkancSBa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VPHy5nQ/0uRBpvd4J7lfAREYXRhAAUAAAAAAk5hbWUADQAAAExpbmtEYXRhTGlzdAAQVmVyc2lvbgAAAAAACUxhc3RXcml0ZQAQ5DlCkgEAAAABAP////9hAGEAAAAFX2lkABAAAAAESPZm9/JEAUetTojuDzU7lAREYXRhAAUAAAAAAk5hbWUADQAAAExpbmtEYXRhTGlzdAAQVmVyc2lvbgABAAAACUxhc3RXcml0ZQAe5DlCkgEAAAACAP////9wAHAAAAAFX2lkABAAAAAEdTPW5m4VXUaItZ5Gp3EgWgNEYXRhABYAAAACUGVyc29uYWxJZAABAAAAAAACTmFtZQALAAAAUGVyc29uYWxJZAAQVmVyc2lvbgAAAAAACUxhc3RXcml0ZQA+5D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32920271"/>
  <p:tag name="EMPOWERCHARTSPROPERTIES_B_LENGTH" val="24576"/>
  <p:tag name="DOWN_MIGRATION_INITIAL_LAYOUT_REQUIRED" val="9.2.99"/>
  <p:tag name="RUNTIME_ID" val="090c279b-4cb3-4bca-a3be-3ff3ca0a5b1b"/>
</p:tagLst>
</file>

<file path=ppt/tags/tag2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CAP///////wUAAAACABAAC2qkqIX/otpCsuM0naAV6cUEAAAAAAADAAAABAADAAAAAwADAAAABAD///////8DAAEA////////BQAAAAMAEAALdFfPo06sTUSZFcx1H+HvlwQAAAABAAMAAAACAAMAAAABAAQAAgD///////8FAAAABAAQAAvENq1JyuygQ6EpTRtx+Umz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qSohf+i2kKy4zSdoBXpxQREYXRhAAUAAAAAAk5hbWUADQAAAExpbmtEYXRhTGlzdAAQVmVyc2lvbgAAAAAACUxhc3RXcml0ZQCN5DlCkgEAAAABAP////9hAGEAAAAFX2lkABAAAAAEdFfPo06sTUSZFcx1H+HvlwREYXRhAAUAAAAAAk5hbWUADQAAAExpbmtEYXRhTGlzdAAQVmVyc2lvbgABAAAACUxhc3RXcml0ZQCO5DlCkgEAAAACAP////9wAHAAAAAFX2lkABAAAAAExDatScrsoEOhKU0bcflJswNEYXRhABYAAAACUGVyc29uYWxJZAABAAAAAAACTmFtZQALAAAAUGVyc29uYWxJZAAQVmVyc2lvbgAAAAAACUxhc3RXcml0ZQCp5D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33634634"/>
  <p:tag name="EMPOWERCHARTSPROPERTIES_B_LENGTH" val="24576"/>
  <p:tag name="DOWN_MIGRATION_INITIAL_LAYOUT_REQUIRED" val="9.2.99"/>
  <p:tag name="RUNTIME_ID" val="592e2f96-a20b-4c0a-940a-2427b8f7460b"/>
</p:tagLst>
</file>

<file path=ppt/tags/tag2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Lv1XfVY5JKqzVGKOtxAo4EAAAAAAADAAAABAADAAAAAwADAAEA////////BQAAAAMAEAALDTmqp3oGCEmDooXtUCgzXgQAAAABAAMAAAACAAMAAAABAAQAAgD///////8FAAAABAAQAAsytl533km2Rb/GC30Fr9aU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4u/Vd9VjkkqrNUYo63ECjgREYXRhAAUAAAAAAk5hbWUADQAAAExpbmtEYXRhTGlzdAAQVmVyc2lvbgABAAAACUxhc3RXcml0ZQDm5DlCkgEAAAABAP////9hAGEAAAAFX2lkABAAAAAEDTmqp3oGCEmDooXtUCgzXgREYXRhAAUAAAAAAk5hbWUADQAAAExpbmtEYXRhTGlzdAAQVmVyc2lvbgAAAAAACUxhc3RXcml0ZQDh5DlCkgEAAAACAP////9wAHAAAAAFX2lkABAAAAAEMrZed95JtkW/xgt9Ba/WlANEYXRhABYAAAACUGVyc29uYWxJZAABAAAAAAACTmFtZQALAAAAUGVyc29uYWxJZAAQVmVyc2lvbgAAAAAACUxhc3RXcml0ZQAL5T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34591442"/>
  <p:tag name="EMPOWERCHARTSPROPERTIES_B_LENGTH" val="24576"/>
  <p:tag name="DOWN_MIGRATION_INITIAL_LAYOUT_REQUIRED" val="9.2.99"/>
  <p:tag name="RUNTIME_ID" val="c718b31c-7952-41d0-8f7e-4b155c1424ea"/>
</p:tagLst>
</file>

<file path=ppt/tags/tag2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gsAAAAAAAAAAAAAIAD///////////////8AAAD///////////////8DAAAAAgD///////8DAAAAAwD///////8DAAAAAwD///////////////////////////////////////////////////////////////////////////////////////////////////////////////////////////////////////////////////////////////////////////////////////////////////////////////////////////////////////////////////////////////////////////////////////////////////////////////////////////////////////////////////////////////////////////////////////////////////////////////////////////////////////////////////////////////////////////////8BACAA////////////////AAAO////////AwAAAAMA////////////////////////////////////////////////////////////////////////////////////////////////////////////////////////////////////////////////////////////////////////////////////////////////////////////////////////////////////////////////////////////////////////////////////////////////////////////////////////////////////////////////////////////////////////////////////////////////////////////////////////////////////////////////////////////////////////////////////////////////////////////////////////AgABAP///////wUAAAACABAAC1dev1bOInlHnkinIETUpa8EAAAAAAADAAAAAAADAAAABAADAAMA////////BQAAAAMAEAALo60rl2DAVU2KUAdxCmiWXQQAAAABAAMAAAAEAAMAAAABAAMAAAAAAP///////wMAAAAAAP///////wQAAQD///////8FAAAABAAQAAtJqz5kqCMNTarnYEPtknw1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16/Vs4ieUeeSKcgRNSlrwREYXRhAAUAAAAAAk5hbWUADQAAAExpbmtEYXRhTGlzdAAQVmVyc2lvbgABAAAACUxhc3RXcml0ZQA65TlCkgEAAAABAP////9hAGEAAAAFX2lkABAAAAAEo60rl2DAVU2KUAdxCmiWXQREYXRhAAUAAAAAAk5hbWUADQAAAExpbmtEYXRhTGlzdAAQVmVyc2lvbgAAAAAACUxhc3RXcml0ZQA05TlCkgEAAAACAP////9wAHAAAAAFX2lkABAAAAAESas+ZKgjDU2q52BD7ZJ8NQNEYXRhABYAAAACUGVyc29uYWxJZAABAAAAAAACTmFtZQALAAAAUGVyc29uYWxJZAAQVmVyc2lvbgAAAAAACUxhc3RXcml0ZQBa5T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EAP///////////////////////////////////////////////////////////////////////////////////////////////////////////////////////////////////////////////////////////////////////////////////////////////////////////////////////////////////////////////////////////////////////////////////////////////////////////////////////////////////////////////////////////////////////////////////////////////////////////////////////////////////////////////////////////////wEAIAH///////////////8AAA7///////8FAAAABAD///////////////////////////////////////////////////////////////////////////////////////////////////////////////////////////////////////////////////////////////////////////////////////////////////////////////////////////////////////////////////////////////////////////////////////////////////////////////////////////////////////////////////////////////////////////////////////////////////////////////////////////////////////////////////////////////////////////////////////////////////////////////////////8CAAEBAwAAAAIA////////DgAGTGlua0RhdGFMaXN0XzEEAAAAAAAFAAAAAwAFAAAABAADAAMBAwAAAAMA////////DgAGTGlua0RhdGFMaXN0XzAEAAAAAQAFAAAAAAAFAAAAAgAFAAAAAAAFAAAABAAFAAAAAAAFAAAABAAEAAQBAwAAAAQA////////DAAGUGVyc29uYWxJZF8wBAAAAAIABQAAAAIABQAAAAEABQAAAAM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35375872"/>
  <p:tag name="EMPOWERCHARTSPROPERTIES_B_LENGTH" val="24576"/>
  <p:tag name="DOWN_MIGRATION_INITIAL_LAYOUT_REQUIRED" val="9.2.99"/>
  <p:tag name="RUNTIME_ID" val="05133f0c-c6c1-4c49-aa6a-abe8a9baa5db"/>
</p:tagLst>
</file>

<file path=ppt/tags/tag2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BAD///////8DAAAABAD///////8DAAAABAD///////////////////////////////////////////////////////////////////////////////////////////////////////////////////////////////////////////////////////////////////////////////////////////////////////////////////////////////////////////////////////////////////////////////////////////////////////////////////////////////////////////////////////////////////////////////////////////////////////////////////////////////////////////////////////////////////////////////8BACAA////////////////AAAO////////AwAAAAMA////////////////////////////////////////////////////////////////////////////////////////////////////////////////////////////////////////////////////////////////////////////////////////////////////////////////////////////////////////////////////////////////////////////////////////////////////////////////////////////////////////////////////////////////////////////////////////////////////////////////////////////////////////////////////////////////////////////////////////////////////////////////////////AgABAP///////wUAAAACABAAC1fuEHsxji1IkPOCx7QATxUEAAAAAAADAAAABAADAAAAAwADAAEA////////BQAAAAMAEAALq76wk+vdl0GaZ34TJB/ZKwQAAAABAAMAAAACAAMAAAABAAQAAwD///////8FAAAABAAQAAuVepohlcWgTJRwZK7KT4bc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4QezGOLUiQ84LHtABPFQREYXRhAAUAAAAAAk5hbWUADQAAAExpbmtEYXRhTGlzdAAQVmVyc2lvbgABAAAACUxhc3RXcml0ZQCC5TlCkgEAAAABAP////9hAGEAAAAFX2lkABAAAAAEq76wk+vdl0GaZ34TJB/ZKwREYXRhAAUAAAAAAk5hbWUADQAAAExpbmtEYXRhTGlzdAAQVmVyc2lvbgAAAAAACUxhc3RXcml0ZQCC5TlCkgEAAAACAP////9wAHAAAAAFX2lkABAAAAAElXqaIZXFoEyUcGSuyk+G3ANEYXRhABYAAAACUGVyc29uYWxJZAABAAAAAAACTmFtZQALAAAAUGVyc29uYWxJZAAQVmVyc2lvbgAAAAAACUxhc3RXcml0ZQCn5T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36256421"/>
  <p:tag name="EMPOWERCHARTSPROPERTIES_B_LENGTH" val="24576"/>
  <p:tag name="DOWN_MIGRATION_INITIAL_LAYOUT_REQUIRED" val="9.2.99"/>
  <p:tag name="RUNTIME_ID" val="829f33ae-2c00-40f6-abc4-5318a2781e54"/>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6I9wfCSugJNgTpq6gmgc8EEAAAAAAADAAAABAADAAAAAwADAAQA////////BQAAAAMAEAAL2AwR+dbpcEWmOVd/a7QjOAQAAAABAAMAAAACAAMAAAABAAMAAAAAAP///////wMAAAAAAP///////wMAAAAAAP///////wQAAQD///////8FAAAABAAQAAuXF63MmZiwQ42IGUsrSmz6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j3B8JK6Ak2BOmrqCaBzwQREYXRhAAUAAAAAAk5hbWUADQAAAExpbmtEYXRhTGlzdAAQVmVyc2lvbgAAAAAACUxhc3RXcml0ZQBZLD9CkgEAAAABAP////9hAGEAAAAFX2lkABAAAAAE2AwR+dbpcEWmOVd/a7QjOAREYXRhAAUAAAAAAk5hbWUADQAAAExpbmtEYXRhTGlzdAAQVmVyc2lvbgABAAAACUxhc3RXcml0ZQBbLD9CkgEAAAACAP////9wAHAAAAAFX2lkABAAAAAElxetzJmYsEONiBlLK0ps+gNEYXRhABYAAAACUGVyc29uYWxJZAABAAAAAAACTmFtZQALAAAAUGVyc29uYWxJZAAQVmVyc2lvbgAAAAAACUxhc3RXcml0ZQB3LD9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50894324579"/>
  <p:tag name="EMPOWERCHARTSPROPERTIES_B_LENGTH" val="24576"/>
  <p:tag name="DOWN_MIGRATION_INITIAL_LAYOUT_REQUIRED" val="9.2.99"/>
  <p:tag name="RUNTIME_ID" val="37b32f20-41d2-4c16-858b-4faff413e4ae"/>
</p:tagLst>
</file>

<file path=ppt/tags/tag281.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11ed0b9b-2daa-4693-9ab3-6c9be2831559"/>
  <p:tag name="MIO_UPDATE" val="True"/>
  <p:tag name="MIO_VERSION" val="09.03.2023 10:30:13"/>
  <p:tag name="MIO_DBID" val="FDE84254-54DB-49E3-9A0E-CDE72035D530"/>
  <p:tag name="MIO_LASTDOWNLOADED" val="06.05.2023 17:12:17.802"/>
  <p:tag name="MIO_OBJECTNAME" val="12 Legend"/>
  <p:tag name="MIO_LASTEDITORNAME" val="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cBAQEBAQEBAQEBAQEBAQMAAAAAAAAAAwAAAAMAAAAA/////wUACgwAAAAAAAAAAAAAIAD///////////////8AAAD///////////////8DAAAABAD///////8DAAAAAwD///////////////////////////////////////////////////////////////////////////////////////////////////////////////////////////////////////////////////////////////////////////////////////////////////////////////////////////////////////////////////////////////////////////////////////////////////////////////////////////////////////////////////////////////////////////////////////////////////////////////////////////////////////////////////////////////////////////////////////////////8BACAA////////////////AAAO////////AwAAAAMA////////////////////////////////////////////////////////////////////////////////////////////////////////////////////////////////////////////////////////////////////////////////////////////////////////////////////////////////////////////////////////////////////////////////////////////////////////////////////////////////////////////////////////////////////////////////////////////////////////////////////////////////////////////////////////////////////////////////////////////////////////////////////////AgABAP///////wUAAAACABAACyAMSYSF/K5BgBMnGICpgqgEAAAAAAADAAAABAADAAAAAwADAAIA////////BQAAAAMAEAALVQ0kyn3kpE25kDcHd427GAQAAAABAAMAAAACAAMAAAABAAMAAAAAAP///////wQAAQD///////8FAAAABAAQAAva4M52g3R/TKzfuc+Kjyqt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AxJhIX8rkGAEycYgKmCqAREYXRhAAUAAAAAAk5hbWUADQAAAExpbmtEYXRhTGlzdAAQVmVyc2lvbgAAAAAACUxhc3RXcml0ZQDb5TlCkgEAAAABAP////9hAGEAAAAFX2lkABAAAAAEVQ0kyn3kpE25kDcHd427GAREYXRhAAUAAAAAAk5hbWUADQAAAExpbmtEYXRhTGlzdAAQVmVyc2lvbgABAAAACUxhc3RXcml0ZQDc5TlCkgEAAAACAP////9wAHAAAAAFX2lkABAAAAAE2uDOdoN0f0ys37nPio8qrQNEYXRhABYAAAACUGVyc29uYWxJZAABAAAAAAACTmFtZQALAAAAUGVyc29uYWxJZAAQVmVyc2lvbgAAAAAACUxhc3RXcml0ZQAN5jl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DAP///////wUAAAAEAP///////wUAAAAEAP///////wUAAAAEAP///////wUAAAAEAP///////wUAAAAEAP///////////////////////////////////////////////////////////////////////////////////////////////////////////////////////////////////////////////////////////////////////////////////////////////////////////////////////////////////////////////////////////////////////////////////////////////////////////////////////////////////////////////////////////////////////////////////////////////////////////////wEAIAH///////////////8AAA7///////8FAAAABAD///////////////////////////////////////////////////////////////////////////////////////////////////////////////////////////////////////////////////////////////////////////////////////////////////////////////////////////////////////////////////////////////////////////////////////////////////////////////////////////////////////////////////////////////////////////////////////////////////////////////////////////////////////////////////////////////////////////////////////////////////////////////////////8CAAEBAwAAAAIA////////DgAGTGlua0RhdGFMaXN0XzAEAAAAAAAFAAAAAAAFAAAAAwADAAIBAwAAAAMA////////DgAGTGlua0RhdGFMaXN0XzEEAAAAAQAFAAAAAgAFAAAABAAFAAAAAAAFAAAABAAEAAcBAwAAAAQA////////DAAGUGVyc29uYWxJZF8wBAAAAAIABQAAAAMABQAAAAEABQAAAAM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47437280913"/>
  <p:tag name="EMPOWERCHARTSPROPERTIES_B_LENGTH" val="24576"/>
  <p:tag name="DOWN_MIGRATION_INITIAL_LAYOUT_REQUIRED" val="9.2.99"/>
  <p:tag name="RUNTIME_ID" val="c05ca036-2564-4332-85eb-bc13ae634df9"/>
</p:tagLst>
</file>

<file path=ppt/tags/tag2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6pIES295VFOmvveTS5QvfUEAAAAAAADAAAABAADAAAAAwADAAEA////////BQAAAAMAEAAL+nxItGP0a0SMQI9sokCoRwQAAAABAAMAAAACAAMAAAABAAQAAgD///////8FAAAABAAQAAtRmfwrtEJFRYKG9COu6sHt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kgRLb3lUU6a+95NLlC99QREYXRhAAUAAAAAAk5hbWUADQAAAExpbmtEYXRhTGlzdAAQVmVyc2lvbgAAAAAACUxhc3RXcml0ZQCuLD9CkgEAAAABAP////9hAGEAAAAFX2lkABAAAAAE+nxItGP0a0SMQI9sokCoRwREYXRhAAUAAAAAAk5hbWUADQAAAExpbmtEYXRhTGlzdAAQVmVyc2lvbgABAAAACUxhc3RXcml0ZQCvLD9CkgEAAAACAP////9wAHAAAAAFX2lkABAAAAAEUZn8K7RCRUWChvQjrurB7QNEYXRhABYAAAACUGVyc29uYWxJZAABAAAAAAACTmFtZQALAAAAUGVyc29uYWxJZAAQVmVyc2lvbgAAAAAACUxhc3RXcml0ZQDJLD9C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2850895065507"/>
  <p:tag name="EMPOWERCHARTSPROPERTIES_B_LENGTH" val="24576"/>
  <p:tag name="DOWN_MIGRATION_INITIAL_LAYOUT_REQUIRED" val="9.2.99"/>
  <p:tag name="RUNTIME_ID" val="34b11dd2-1f99-413c-8e9f-56b615be01d3"/>
</p:tagLst>
</file>

<file path=ppt/tags/tag2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zgsAAAAAAAAAAAAAIAD///////////////8AAAD///////////////8DAAAABAD///////8DAAAABAD///////8DAAAABAD///////////////////////////////////////////////////////////////////////////////////////////////////////////////////////////////////////////////////////////////////////////////////////////////////////////////////////////////////////////////////////////////////////////////////////////////////////////////////////////////////////////////////////////////////////////////////////////////////////////////////////////////////////////////////////////////////////////////8BACAA////////////////AAAO////////AwAAAAMA////////////////////////////////////////////////////////////////////////////////////////////////////////////////////////////////////////////////////////////////////////////////////////////////////////////////////////////////////////////////////////////////////////////////////////////////////////////////////////////////////////////////////////////////////////////////////////////////////////////////////////////////////////////////////////////////////////////////////////////////////////////////////////AgADAP///////wUAAAACABAAC9gmN3SyJs5KtNfYWHJ7fVkEAAAAAAADAAAABAADAAAAAwADAAAABAADAAAAAwADAAAABAADAAAAAwADAAMA////////BQAAAAMAEAALfxrSt1DgV0ytgBjVBhlghQQAAAABAAMAAAACAAMAAAABAAMAAAACAP///////wMAAAACAP///////wQAAwD///////8FAAAABAAQAAsQtqBmJgaSSIeJBho0Jt8q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CY3dLImzkq019hYcnt9WQREYXRhAAUAAAAAAk5hbWUADQAAAExpbmtEYXRhTGlzdAAQVmVyc2lvbgABAAAACUxhc3RXcml0ZQC/JmFDkgEAAAABAP////9hAGEAAAAFX2lkABAAAAAEfxrSt1DgV0ytgBjVBhlghQREYXRhAAUAAAAAAk5hbWUADQAAAExpbmtEYXRhTGlzdAAQVmVyc2lvbgAAAAAACUxhc3RXcml0ZQC+JmFDkgEAAAACAP////9wAHAAAAAFX2lkABAAAAAEELagZiYGkkiHiQYaNCbfKgNEYXRhABYAAAACUGVyc29uYWxJZAABAAAAAAACTmFtZQALAAAAUGVyc29uYWxJZAAQVmVyc2lvbgAAAAAACUxhc3RXcml0ZQDmJmF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EAIAH///////////////8AAA7///////8FAAAABAD///////////////////////////////////////////////////////////////////////////////////////////////////////////////////////////////////////////////////////////////////////////////////////////////////////////////////////////////////////////////////////////////////////////////////////////////////////////////////////////////////////////////////////////////////////////////////////////////////////////////////////////////////////////////////////////////////////////////////////////////////////////////////////8CAAMBAwAAAAIA////////DgAGTGlua0RhdGFMaXN0XzEEAAAAAAAFAAAAAwAFAAAABAAFAAAAAwAFAAAABAAFAAAAAwD///////8DAAMBAwAAAAMA////////DgAGTGlua0RhdGFMaXN0XzAEAAAAAQAFAAAAAAAFAAAAAg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40934444972"/>
  <p:tag name="EMPOWERCHARTSPROPERTIES_B_LENGTH" val="24576"/>
  <p:tag name="DOWN_MIGRATION_INITIAL_LAYOUT_REQUIRED" val="9.2.99"/>
  <p:tag name="RUNTIME_ID" val="225018c9-ba50-4f55-98ec-8adc0ca7981b"/>
</p:tagLst>
</file>

<file path=ppt/tags/tag2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gD///////////////////////////////////////////////////////////////////////////////////////////////////////////////////////////////////////////////////////////////////////////////////////////////////////////////////////////////////////////////////////////////////////////////////////////////////////////////////////////////////////////////////////////////////////////////////////////////////////////////////////////////////////////////////////////////////////////////////////////////8BACAA////////////////AAAO////////AwAAAAMA////////////////////////////////////////////////////////////////////////////////////////////////////////////////////////////////////////////////////////////////////////////////////////////////////////////////////////////////////////////////////////////////////////////////////////////////////////////////////////////////////////////////////////////////////////////////////////////////////////////////////////////////////////////////////////////////////////////////////////////////////////////////////////AgACAP///////wUAAAACABAACyY3xbcdsrVAg16mymm1eNIEAAAAAAADAAAABAADAAAAAwADAAAAAAD///////8DAAEA////////BQAAAAMAEAALsDa5vOPd4ESfT9/uL/NCyAQAAAABAAMAAAACAAMAAAABAAQAAQD///////8FAAAABAAQAAuGxBMEOm9ORb2wQEOML4t4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jfFtx2ytUCDXqbKabV40gREYXRhAAUAAAAAAk5hbWUADQAAAExpbmtEYXRhTGlzdAAQVmVyc2lvbgAAAAAACUxhc3RXcml0ZQBeDkhDkgEAAAABAP////9hAGEAAAAFX2lkABAAAAAEsDa5vOPd4ESfT9/uL/NCyAREYXRhAAUAAAAAAk5hbWUADQAAAExpbmtEYXRhTGlzdAAQVmVyc2lvbgABAAAACUxhc3RXcml0ZQBfDkhDkgEAAAACAP////9wAHAAAAAFX2lkABAAAAAEhsQTBDpvTkW9sEBDjC+LeANEYXRhABYAAAACUGVyc29uYWxJZAABAAAAAAACTmFtZQALAAAAUGVyc29uYWxJZAAQVmVyc2lvbgAAAAAACUxhc3RXcml0ZQCDD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88030431"/>
  <p:tag name="EMPOWERCHARTSPROPERTIES_B_LENGTH" val="24576"/>
  <p:tag name="DOWN_MIGRATION_INITIAL_LAYOUT_REQUIRED" val="9.2.99"/>
  <p:tag name="RUNTIME_ID" val="23ae9bf9-8814-4678-aec8-49cbd98cd275"/>
</p:tagLst>
</file>

<file path=ppt/tags/tag2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9Jg7yoW2P1AruRZ0suTL+0EAAAAAAADAAAAAAADAAAABAADAAAAAAADAAAAAwADAAIA////////BQAAAAMAEAALd3XAxf5E4UGHU8mOjv6L2AQAAAABAAMAAAAEAAMAAAABAAMAAAACAP///////wQAAQD///////8FAAAABAAQAAv+VoOi3tWtTY6FDHwi50X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mDvKhbY/UCu5FnSy5Mv7QREYXRhAAUAAAAAAk5hbWUADQAAAExpbmtEYXRhTGlzdAAQVmVyc2lvbgABAAAACUxhc3RXcml0ZQC4DkhDkgEAAAABAP////9hAGEAAAAFX2lkABAAAAAEd3XAxf5E4UGHU8mOjv6L2AREYXRhAAUAAAAAAk5hbWUADQAAAExpbmtEYXRhTGlzdAAQVmVyc2lvbgAAAAAACUxhc3RXcml0ZQC3DkhDkgEAAAACAP////9wAHAAAAAFX2lkABAAAAAE/laDot7VrU2OhQx8IudF4gNEYXRhABYAAAACUGVyc29uYWxJZAABAAAAAAACTmFtZQALAAAAUGVyc29uYWxJZAAQVmVyc2lvbgAAAAAACUxhc3RXcml0ZQDhD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88900067"/>
  <p:tag name="EMPOWERCHARTSPROPERTIES_B_LENGTH" val="24576"/>
  <p:tag name="DOWN_MIGRATION_INITIAL_LAYOUT_REQUIRED" val="9.2.99"/>
  <p:tag name="RUNTIME_ID" val="379abe46-8733-415d-955e-ccdbd1275780"/>
</p:tagLst>
</file>

<file path=ppt/tags/tag2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6Xzn3z+fthMr72UdJeI9yYEAAAAAAADAAAAAAADAAAAAwADAAAAAAD///////8DAAEA////////BQAAAAMAEAALqywAtH6YUkmhdWvesp66RQQAAAABAAMAAAACAAMAAAAEAAQAAQD///////8FAAAABAAQAAvqJALluS7aQYq3F5sqKYb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fOffP5+2EyvvZR0l4j3JgREYXRhAAUAAAAAAk5hbWUADQAAAExpbmtEYXRhTGlzdAAQVmVyc2lvbgABAAAACUxhc3RXcml0ZQArD0hDkgEAAAABAP////9hAGEAAAAFX2lkABAAAAAEqywAtH6YUkmhdWvesp66RQREYXRhAAUAAAAAAk5hbWUADQAAAExpbmtEYXRhTGlzdAAQVmVyc2lvbgAAAAAACUxhc3RXcml0ZQAqD0hDkgEAAAACAP////9wAHAAAAAFX2lkABAAAAAE6iQC5bku2kGKtxebKimG5wNEYXRhABYAAAACUGVyc29uYWxJZAABAAAAAAACTmFtZQALAAAAUGVyc29uYWxJZAAQVmVyc2lvbgAAAAAACUxhc3RXcml0ZQBRD0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0009594"/>
  <p:tag name="EMPOWERCHARTSPROPERTIES_B_LENGTH" val="24576"/>
  <p:tag name="DOWN_MIGRATION_INITIAL_LAYOUT_REQUIRED" val="9.2.99"/>
  <p:tag name="RUNTIME_ID" val="543171e0-4628-4786-b696-d557539d2274"/>
</p:tagLst>
</file>

<file path=ppt/tags/tag2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yqAGBQBI7dIqFoqEK7ccY8EAAAAAAADAAAAAAADAAAAAwADAAAAAAD///////8DAAAAAAD///////8DAAAAAAD///////8DAAAAAAD///////8DAAEA////////BQAAAAMAEAALEDiCjLK6rUuEohTN375Z4gQAAAABAAMAAAACAAMAAAAEAAQAAQD///////8FAAAABAAQAAv+fMmS6wjTQKcJnf2bd8Y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oAYFAEjt0ioWioQrtxxjwREYXRhAAUAAAAAAk5hbWUADQAAAExpbmtEYXRhTGlzdAAQVmVyc2lvbgAAAAAACUxhc3RXcml0ZQCFD0hDkgEAAAABAP////9hAGEAAAAFX2lkABAAAAAEEDiCjLK6rUuEohTN375Z4gREYXRhAAUAAAAAAk5hbWUADQAAAExpbmtEYXRhTGlzdAAQVmVyc2lvbgABAAAACUxhc3RXcml0ZQCFD0hDkgEAAAACAP////9wAHAAAAAFX2lkABAAAAAE/nzJkusI00CnCZ39m3fGBgNEYXRhABYAAAACUGVyc29uYWxJZAABAAAAAAACTmFtZQALAAAAUGVyc29uYWxJZAAQVmVyc2lvbgAAAAAACUxhc3RXcml0ZQChD0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0919046"/>
  <p:tag name="EMPOWERCHARTSPROPERTIES_B_LENGTH" val="24576"/>
  <p:tag name="DOWN_MIGRATION_INITIAL_LAYOUT_REQUIRED" val="9.2.99"/>
  <p:tag name="RUNTIME_ID" val="32fd5f2a-01de-42ce-82a2-44fa068cde62"/>
</p:tagLst>
</file>

<file path=ppt/tags/tag2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kgsAAAAAAAAAAAAAIAD///////////////8AAAD///////////////8DAAAAAgD///////8DAAAAAgD///////8DAAAAAgD///////8DAAAAAgD///////8DAAAAAgD///////8DAAAAAgD///////8DAAAAAwD///////////////////////////////////////////////////////////////////////////////////////////////////////////////////////////////////////////////////////////////////////////////////////////////////////////////////////////////////////////////////////////////////////////////////////////////////////////////////////////////////////////////////////////////////////////////////////////////////////////////8BACAA////////////////AAAO////////AwAAAAMA////////////////////////////////////////////////////////////////////////////////////////////////////////////////////////////////////////////////////////////////////////////////////////////////////////////////////////////////////////////////////////////////////////////////////////////////////////////////////////////////////////////////////////////////////////////////////////////////////////////////////////////////////////////////////////////////////////////////////////////////////////////////////////AgAGAP///////wUAAAACABAAC+jtoyj1vMZOiAeFujFWV7EEAAAAAAADAAAAAAADAAAABAADAAAAAAADAAAAAwADAAAAAAADAAAAAwADAAAAAAADAAAAAwADAAAAAAADAAAAAwADAAAAAAADAAAAAwADAAcA////////BQAAAAMAEAALJMLO9MsqlkWw+hRWkbHbLQQAAAABAAMAAAAEAAMAAAABAAMAAAACAP///////wMAAAACAP///////wMAAAACAP///////wMAAAACAP///////wMAAAACAP///////wMAAAAAAP///////wQAAQD///////8FAAAABAAQAAvq9vhkeVuVT7q8STXMptJ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O2jKPW8xk6IB4W6MVZXsQREYXRhAAUAAAAAAk5hbWUADQAAAExpbmtEYXRhTGlzdAAQVmVyc2lvbgAAAAAACUxhc3RXcml0ZQDlD0hDkgEAAAABAP////9hAGEAAAAFX2lkABAAAAAEJMLO9MsqlkWw+hRWkbHbLQREYXRhAAUAAAAAAk5hbWUADQAAAExpbmtEYXRhTGlzdAAQVmVyc2lvbgABAAAACUxhc3RXcml0ZQDpD0hDkgEAAAACAP////9wAHAAAAAFX2lkABAAAAAE6vb4ZHlblU+6vEk1zKbSZwNEYXRhABYAAAACUGVyc29uYWxJZAABAAAAAAACTmFtZQALAAAAUGVyc29uYWxJZAAQVmVyc2lvbgAAAAAACUxhc3RXcml0ZQAME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OCwAAAAAAAAAAAAAgAf///////////////wAAAP///////////////wUAAAACAP///////wUAAAACAP///////wUAAAACAP///////wUAAAACAP///////wUAAAACAP///////wUAAAACAP///////wUAAAADAP///////////////////////////////////////////////////////////////////////////////////////////////////////////////////////////////////////////////////////////////////////////////////////////////////////////////////////////////////////////////////////////////////////////////////////////////////////////////////////////////////////////////////////////////////////////////////////////////////////////////wEAIAH///////////////8AAA7///////8FAAAABAD///////////////////////////////////////////////////////////////////////////////////////////////////////////////////////////////////////////////////////////////////////////////////////////////////////////////////////////////////////////////////////////////////////////////////////////////////////////////////////////////////////////////////////////////////////////////////////////////////////////////////////////////////////////////////////////////////////////////////////////////////////////////////////8CAAYBAwAAAAIA////////DgAGTGlua0RhdGFMaXN0XzAEAAAAAAAFAAAAAAAFAAAAAwAFAAAAAAAFAAAAAwAFAAAAAAAFAAAAAwAFAAAAAAAFAAAAAwAFAAAAAAAFAAAAAwAFAAAAAAAFAAAAAwADAAcBAwAAAAMA////////DgAGTGlua0RhdGFMaXN0XzEEAAAAAQAFAAAAAgAFAAAABAAFAAAAAgAFAAAABAAFAAAAAgD///////8FAAAAAgD///////8FAAAAAgD///////8FAAAAAg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1933514"/>
  <p:tag name="EMPOWERCHARTSPROPERTIES_B_LENGTH" val="24576"/>
  <p:tag name="DOWN_MIGRATION_INITIAL_LAYOUT_REQUIRED" val="9.2.99"/>
  <p:tag name="RUNTIME_ID" val="53af6c4f-5469-494c-a4ad-1610d7bb8ab3"/>
</p:tagLst>
</file>

<file path=ppt/tags/tag289.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BAD///////8DAAAABAD///////8DAAAABAD///////8DAAAABAD///////8DAAAABAD///////8DAAAABAD///////////////////////////////////////////////////////////////////////////////////////////////////////////////////////////////////////////////////////////////////////////////////////////////////////////////////////////////////////////////////////////////////////////////////////////////////////////////////////////////////////////////////////////////////////////////////////////////////////////////8BACAA////////////////AAAO////////AwAAAAMA////////////////////////////////////////////////////////////////////////////////////////////////////////////////////////////////////////////////////////////////////////////////////////////////////////////////////////////////////////////////////////////////////////////////////////////////////////////////////////////////////////////////////////////////////////////////////////////////////////////////////////////////////////////////////////////////////////////////////////////////////////////////////////AgABAP///////wUAAAACABAAC/OTnQnwZzlPnTWzxo/vvucEAAAAAAADAAAAAAADAAAABAADAAIA////////BQAAAAMAEAALxpNngf0T4k+yl48DTfG1AQQAAAABAAMAAAAEAAMAAAABAAMAAAAEAP///////wQABwD///////8FAAAABAAQAAsF4To+ee6XRbagoGuHQt+iBAAAAAIAAwAAAAIAAwAAAAMAAwAAAAAAAwAAAAM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5OdCfBnOU+dNbPGj+++5wREYXRhAAUAAAAAAk5hbWUADQAAAExpbmtEYXRhTGlzdAAQVmVyc2lvbgABAAAACUxhc3RXcml0ZQBOEEhDkgEAAAABAP////9hAGEAAAAFX2lkABAAAAAExpNngf0T4k+yl48DTfG1AQREYXRhAAUAAAAAAk5hbWUADQAAAExpbmtEYXRhTGlzdAAQVmVyc2lvbgAAAAAACUxhc3RXcml0ZQBNEEhDkgEAAAACAP////9wAHAAAAAFX2lkABAAAAAEBeE6Pnnul0W2oKBrh0LfogNEYXRhABYAAAACUGVyc29uYWxJZAABAAAAAAACTmFtZQALAAAAUGVyc29uYWxJZAAQVmVyc2lvbgAAAAAACUxhc3RXcml0ZQBsE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4745780"/>
  <p:tag name="EMPOWERCHARTSPROPERTIES_B_LENGTH" val="24576"/>
  <p:tag name="DOWN_MIGRATION_INITIAL_LAYOUT_REQUIRED" val="9.2.99"/>
  <p:tag name="RUNTIME_ID" val="33cb989a-c87b-47dc-99e0-b774a2765507"/>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0.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MAAAAAAAAAAwAAAAMAAAAA/////wUA5gsAAAAAAAAAAAAAIAD///////////////8AAAD///////////////8DAAAABAD///////8DAAAABAD///////8DAAAABAD///////8DAAAABAD///////8DAAAABAD///////////////////////////////////////////////////////////////////////////////////////////////////////////////////////////////////////////////////////////////////////////////////////////////////////////////////////////////////////////////////////////////////////////////////////////////////////////////////////////////////////////////////////////////////////////////////////////////////////////////////////////////////////////////8BACAA////////////////AAAO////////AwAAAAMA////////////////////////////////////////////////////////////////////////////////////////////////////////////////////////////////////////////////////////////////////////////////////////////////////////////////////////////////////////////////////////////////////////////////////////////////////////////////////////////////////////////////////////////////////////////////////////////////////////////////////////////////////////////////////////////////////////////////////////////////////////////////////////AgABAP///////wUAAAACABAACwGJ93gJe21FqC0ah3qi7OUEAAAAAAADAAAABAADAAAAAwADAAEA////////BQAAAAMAEAALCpCokJ50ZkKGoxpEe/YwlAQAAAABAAMAAAACAAMAAAABAAQABQD///////8FAAAABAAQAAsqOIsrNIIaTLCg2nUM/Bc1BAAAAAIAAwAAAAA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Yn3eAl7bUWoLRqHeqLs5QREYXRhAAUAAAAAAk5hbWUADQAAAExpbmtEYXRhTGlzdAAQVmVyc2lvbgAAAAAACUxhc3RXcml0ZQBUEUhDkgEAAAABAP////9hAGEAAAAFX2lkABAAAAAECpCokJ50ZkKGoxpEe/YwlAREYXRhAAUAAAAAAk5hbWUADQAAAExpbmtEYXRhTGlzdAAQVmVyc2lvbgABAAAACUxhc3RXcml0ZQBUEUhDkgEAAAACAP////9wAHAAAAAFX2lkABAAAAAEKjiLKzSCGkywoNp1DPwXNQNEYXRhABYAAAACUGVyc29uYWxJZAABAAAAAAACTmFtZQALAAAAUGVyc29uYWxJZAAQVmVyc2lvbgAAAAAACUxhc3RXcml0ZQBvE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5445631"/>
  <p:tag name="EMPOWERCHARTSPROPERTIES_B_LENGTH" val="24576"/>
  <p:tag name="DOWN_MIGRATION_INITIAL_LAYOUT_REQUIRED" val="9.2.99"/>
  <p:tag name="RUNTIME_ID" val="9a18a221-7a7a-4949-8782-79ed1fe90b8e"/>
</p:tagLst>
</file>

<file path=ppt/tags/tag2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2U/c3BI8ihMj7Ztj7PpbScEAAAAAAADAAAAAAADAAAAAwADAAIA////////BQAAAAMAEAAL2PGSgD5IIE+blX16VpBhcwQAAAABAAMAAAACAAMAAAAEAAMAAAAAAP///////wQAAQD///////8FAAAABAAQAAu4wjjTpZ6LSZPCF/Q3wf2z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T9zcEjyKEyPtm2Ps+ltJwREYXRhAAUAAAAAAk5hbWUADQAAAExpbmtEYXRhTGlzdAAQVmVyc2lvbgABAAAACUxhc3RXcml0ZQCfEUhDkgEAAAABAP////9hAGEAAAAFX2lkABAAAAAE2PGSgD5IIE+blX16VpBhcwREYXRhAAUAAAAAAk5hbWUADQAAAExpbmtEYXRhTGlzdAAQVmVyc2lvbgAAAAAACUxhc3RXcml0ZQCeEUhDkgEAAAACAP////9wAHAAAAAFX2lkABAAAAAEuMI406Wei0mTwhf0N8H9swNEYXRhABYAAAACUGVyc29uYWxJZAABAAAAAAACTmFtZQALAAAAUGVyc29uYWxJZAAQVmVyc2lvbgAAAAAACUxhc3RXcml0ZQC8E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6242767"/>
  <p:tag name="EMPOWERCHARTSPROPERTIES_B_LENGTH" val="24576"/>
  <p:tag name="DOWN_MIGRATION_INITIAL_LAYOUT_REQUIRED" val="9.2.99"/>
  <p:tag name="RUNTIME_ID" val="c7f33522-fd97-4548-9723-e918f58fa42a"/>
</p:tagLst>
</file>

<file path=ppt/tags/tag2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5E/LilIu7xCmOa7jvecjOAEAAAAAAADAAAAAAADAAAAAwADAAAAAAADAAAABAADAAEA////////BQAAAAMAEAALuo1Wq2W1BEeCVLOq+s7MPwQAAAABAAMAAAACAAMAAAAEAAQAAgD///////8FAAAABAAQAAsTiVrJqlHRRYv/vD606rLx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T8uKUi7vEKY5ruO95yM4AREYXRhAAUAAAAAAk5hbWUADQAAAExpbmtEYXRhTGlzdAAQVmVyc2lvbgAAAAAACUxhc3RXcml0ZQDsEUhDkgEAAAABAP////9hAGEAAAAFX2lkABAAAAAEuo1Wq2W1BEeCVLOq+s7MPwREYXRhAAUAAAAAAk5hbWUADQAAAExpbmtEYXRhTGlzdAAQVmVyc2lvbgABAAAACUxhc3RXcml0ZQDtEUhDkgEAAAACAP////9wAHAAAAAFX2lkABAAAAAEE4layapR0UWL/7w+tOqy8QNEYXRhABYAAAACUGVyc29uYWxJZAABAAAAAAACTmFtZQALAAAAUGVyc29uYWxJZAAQVmVyc2lvbgAAAAAACUxhc3RXcml0ZQAKE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EAP///////////////////////////////////////////////////////////////////////////////////////////////////////////////////////////////////////////////////////////////////////////////////////////////////////////////////////////////////////////////////////////////////////////////////////////////////////////////////////////////////////////////////////////////////////////////////////////////////////////////////////////////////////////////////////////////////////////////wEAIAH///////////////8AAA7///////8FAAAABAD///////////////////////////////////////////////////////////////////////////////////////////////////////////////////////////////////////////////////////////////////////////////////////////////////////////////////////////////////////////////////////////////////////////////////////////////////////////////////////////////////////////////////////////////////////////////////////////////////////////////////////////////////////////////////////////////////////////////////////////////////////////////////////8CAAIBAwAAAAIA////////DgAGTGlua0RhdGFMaXN0XzAEAAAAAAAFAAAAAAAFAAAAAwAFAAAAAAAFAAAABAADAAEBAwAAAAMA////////DgAGTGlua0RhdGFMaXN0XzEEAAAAAQAFAAAAAgAFAAAABAAEAAMBAwAAAAQA////////DAAGUGVyc29uYWxJZF8wBAAAAAIABQAAAAM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6992905"/>
  <p:tag name="EMPOWERCHARTSPROPERTIES_B_LENGTH" val="24576"/>
  <p:tag name="DOWN_MIGRATION_INITIAL_LAYOUT_REQUIRED" val="9.2.99"/>
  <p:tag name="RUNTIME_ID" val="45fb0077-5fbf-459c-bdd3-6078306ede1e"/>
</p:tagLst>
</file>

<file path=ppt/tags/tag2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2BymUtdValCrZWfER4s8moEAAAAAAADAAAABAADAAAAAwADAAEA////////BQAAAAMAEAAL6NZebuguREeDCtxV5stBawQAAAABAAMAAAACAAMAAAABAAQAAgD///////8FAAAABAAQAAtlqUYN3vprTKxlN0KtVPZ5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HKZS11VqUKtlZ8RHizyagREYXRhAAUAAAAAAk5hbWUADQAAAExpbmtEYXRhTGlzdAAQVmVyc2lvbgABAAAACUxhc3RXcml0ZQBEEkhDkgEAAAABAP////9hAGEAAAAFX2lkABAAAAAE6NZebuguREeDCtxV5stBawREYXRhAAUAAAAAAk5hbWUADQAAAExpbmtEYXRhTGlzdAAQVmVyc2lvbgAAAAAACUxhc3RXcml0ZQBEEkhDkgEAAAACAP////9wAHAAAAAFX2lkABAAAAAEZalGDd76a0ysZTdCrVT2eQNEYXRhABYAAAACUGVyc29uYWxJZAABAAAAAAACTmFtZQALAAAAUGVyc29uYWxJZAAQVmVyc2lvbgAAAAAACUxhc3RXcml0ZQBfE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7912003"/>
  <p:tag name="EMPOWERCHARTSPROPERTIES_B_LENGTH" val="24576"/>
  <p:tag name="DOWN_MIGRATION_INITIAL_LAYOUT_REQUIRED" val="9.2.99"/>
  <p:tag name="RUNTIME_ID" val="afc053b1-68e5-4817-a664-e7bf2d7116f1"/>
</p:tagLst>
</file>

<file path=ppt/tags/tag2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2Td7U/pxtpCujOdGYZ2068EAAAAAAADAAAAAAADAAAABAADAAIA////////BQAAAAMAEAALYvL7n5mdW0aZftdgrLF74QQAAAABAAMAAAAEAAMAAAABAAMAAAAEAP///////wQAAgD///////8FAAAABAAQAAsqq65k9QqERIMGn2QFUeuw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N3tT+nG2kK6M50ZhnbTrwREYXRhAAUAAAAAAk5hbWUADQAAAExpbmtEYXRhTGlzdAAQVmVyc2lvbgABAAAACUxhc3RXcml0ZQCTEkhDkgEAAAABAP////9hAGEAAAAFX2lkABAAAAAEYvL7n5mdW0aZftdgrLF74QREYXRhAAUAAAAAAk5hbWUADQAAAExpbmtEYXRhTGlzdAAQVmVyc2lvbgAAAAAACUxhc3RXcml0ZQCREkhDkgEAAAACAP////9wAHAAAAAFX2lkABAAAAAEKquuZPUKhESDBp9kBVHrsANEYXRhABYAAAACUGVyc29uYWxJZAABAAAAAAACTmFtZQALAAAAUGVyc29uYWxJZAAQVmVyc2lvbgAAAAAACUxhc3RXcml0ZQCvE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8657302"/>
  <p:tag name="EMPOWERCHARTSPROPERTIES_B_LENGTH" val="24576"/>
  <p:tag name="DOWN_MIGRATION_INITIAL_LAYOUT_REQUIRED" val="9.2.99"/>
  <p:tag name="RUNTIME_ID" val="0a4ccc5c-60fb-4fe0-8560-a38b85619e47"/>
</p:tagLst>
</file>

<file path=ppt/tags/tag2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2r7bg83JgdDthaB3ovdnYwEAAAAAAADAAAAAAADAAAAAwADAAAAAAADAAAAAwADAAIA////////BQAAAAMAEAALGGRSOYR+jEGbMGUHvmJ0swQAAAABAAMAAAACAAMAAAAEAAMAAAACAP///////wQAAQD///////8FAAAABAAQAAuRhyPxAs3YSaRpFhM+v9Fr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vtuDzcmB0O2FoHei92djAREYXRhAAUAAAAAAk5hbWUADQAAAExpbmtEYXRhTGlzdAAQVmVyc2lvbgAAAAAACUxhc3RXcml0ZQDbEkhDkgEAAAABAP////9hAGEAAAAFX2lkABAAAAAEGGRSOYR+jEGbMGUHvmJ0swREYXRhAAUAAAAAAk5hbWUADQAAAExpbmtEYXRhTGlzdAAQVmVyc2lvbgABAAAACUxhc3RXcml0ZQDbEkhDkgEAAAACAP////9wAHAAAAAFX2lkABAAAAAEkYcj8QLN2EmkaRYTPr/RawNEYXRhABYAAAACUGVyc29uYWxJZAABAAAAAAACTmFtZQALAAAAUGVyc29uYWxJZAAQVmVyc2lvbgAAAAAACUxhc3RXcml0ZQADE0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499512500"/>
  <p:tag name="EMPOWERCHARTSPROPERTIES_B_LENGTH" val="24576"/>
  <p:tag name="DOWN_MIGRATION_INITIAL_LAYOUT_REQUIRED" val="9.2.99"/>
  <p:tag name="RUNTIME_ID" val="f3c54f06-dc29-4b68-9512-8969966cad6f"/>
</p:tagLst>
</file>

<file path=ppt/tags/tag2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ox1a9qnTNPuzevZYJ23lAEAAAAAAADAAAABAADAAAAAwADAAEA////////BQAAAAMAEAALkT+UvDwssUi1pcyzaB/QxQQAAAABAAMAAAACAAMAAAABAAQAAQD///////8FAAAABAAQAAssT4kMkd77QaKUcJZ8YSm2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jHVr2qdM0+7N69lgnbeUAREYXRhAAUAAAAAAk5hbWUADQAAAExpbmtEYXRhTGlzdAAQVmVyc2lvbgAAAAAACUxhc3RXcml0ZQAwE0hDkgEAAAABAP////9hAGEAAAAFX2lkABAAAAAEkT+UvDwssUi1pcyzaB/QxQREYXRhAAUAAAAAAk5hbWUADQAAAExpbmtEYXRhTGlzdAAQVmVyc2lvbgABAAAACUxhc3RXcml0ZQAxE0hDkgEAAAACAP////9wAHAAAAAFX2lkABAAAAAELE+JDJHe+0GilHCWfGEptgNEYXRhABYAAAACUGVyc29uYWxJZAABAAAAAAACTmFtZQALAAAAUGVyc29uYWxJZAAQVmVyc2lvbgAAAAAACUxhc3RXcml0ZQBRE0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502233981"/>
  <p:tag name="EMPOWERCHARTSPROPERTIES_B_LENGTH" val="24576"/>
  <p:tag name="DOWN_MIGRATION_INITIAL_LAYOUT_REQUIRED" val="9.2.99"/>
  <p:tag name="RUNTIME_ID" val="931b51a5-87b3-42cf-9aea-47d085c586f0"/>
</p:tagLst>
</file>

<file path=ppt/tags/tag2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BAD///////8DAAAAAwD///////////////////////////////////////////////////////////////////////////////////////////////////////////////////////////////////////////////////////////////////////////////////////////////////////////////////////////////////////////////////////////////////////////////////////////////////////////////////////////////////////////////////////////////////////////////////////////////////////////////////////////////////////////////////////////////////////////////////////////////8BACAA////////////////AAAO////////AwAAAAMA////////////////////////////////////////////////////////////////////////////////////////////////////////////////////////////////////////////////////////////////////////////////////////////////////////////////////////////////////////////////////////////////////////////////////////////////////////////////////////////////////////////////////////////////////////////////////////////////////////////////////////////////////////////////////////////////////////////////////////////////////////////////////////AgABAP///////wUAAAACABAAC+kqgrzC4LdEs3Uzj3oSKSEEAAAAAAADAAAABAADAAAAAwADAAIA////////BQAAAAMAEAALVNF3/Q+/pkaGyVYlPxLHgAQAAAABAAMAAAACAAMAAAABAAMAAAAAAP///////wQAAQD///////8FAAAABAAQAAuBlAgMUE7TTawVSgp0oTi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SqCvMLgt0SzdTOPehIpIQREYXRhAAUAAAAAAk5hbWUADQAAAExpbmtEYXRhTGlzdAAQVmVyc2lvbgAAAAAACUxhc3RXcml0ZQBrFEhDkgEAAAABAP////9hAGEAAAAFX2lkABAAAAAEVNF3/Q+/pkaGyVYlPxLHgAREYXRhAAUAAAAAAk5hbWUADQAAAExpbmtEYXRhTGlzdAAQVmVyc2lvbgABAAAACUxhc3RXcml0ZQBrFEhDkgEAAAACAP////9wAHAAAAAFX2lkABAAAAAEgZQIDFBO002sFUoKdKE4hwNEYXRhABYAAAACUGVyc29uYWxJZAABAAAAAAACTmFtZQALAAAAUGVyc29uYWxJZAAQVmVyc2lvbgAAAAAACUxhc3RXcml0ZQCKF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503391422"/>
  <p:tag name="EMPOWERCHARTSPROPERTIES_B_LENGTH" val="24576"/>
  <p:tag name="DOWN_MIGRATION_INITIAL_LAYOUT_REQUIRED" val="9.2.99"/>
  <p:tag name="RUNTIME_ID" val="e9225ce9-17f1-4080-9927-0d8b89c36ace"/>
</p:tagLst>
</file>

<file path=ppt/tags/tag2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xKSTAaxuJdMnv77ixCPTFUEAAAAAAADAAAAAAADAAAAAwADAAMA////////BQAAAAMAEAAL6ZUQXYhXYEOuNDGksKbYWwQAAAABAAMAAAACAAMAAAAEAAMAAAAAAP///////wMAAAAAAP///////wQAAQD///////8FAAAABAAQAAvhkzHDv0nhS7oYVydqie+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pJMBrG4l0ye/vuLEI9MVQREYXRhAAUAAAAAAk5hbWUADQAAAExpbmtEYXRhTGlzdAAQVmVyc2lvbgAAAAAACUxhc3RXcml0ZQDJFEhDkgEAAAABAP////9hAGEAAAAFX2lkABAAAAAE6ZUQXYhXYEOuNDGksKbYWwREYXRhAAUAAAAAAk5hbWUADQAAAExpbmtEYXRhTGlzdAAQVmVyc2lvbgABAAAACUxhc3RXcml0ZQDJFEhDkgEAAAACAP////9wAHAAAAAFX2lkABAAAAAE4ZMxw79J4Uu6GFcnaonvhwNEYXRhABYAAAACUGVyc29uYWxJZAABAAAAAAACTmFtZQALAAAAUGVyc29uYWxJZAAQVmVyc2lvbgAAAAAACUxhc3RXcml0ZQDlF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504344131"/>
  <p:tag name="EMPOWERCHARTSPROPERTIES_B_LENGTH" val="24576"/>
  <p:tag name="DOWN_MIGRATION_INITIAL_LAYOUT_REQUIRED" val="9.2.99"/>
  <p:tag name="RUNTIME_ID" val="8bd28891-9713-4d90-a78c-7fb3c9aadca1"/>
</p:tagLst>
</file>

<file path=ppt/tags/tag299.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MA////////////////////////////////////////////////////////////////////////////////////////////////////////////////////////////////////////////////////////////////////////////////////////////////////////////////////////////////////////////////////////////////////////////////////////////////////////////////////////////////////////////////////////////////////////////////////////////////////////////////////////////////////////////////////////////////////////////////////////////////////////////////////////AgACAP///////wUAAAACABAACxbZnTsqSKNHvf6GG5yHJZEEAAAAAAADAAAAAAADAAAABAADAAAAAAADAAAAAwADAAIA////////BQAAAAMAEAAL7dcezU+22kCcahAh0jPNVwQAAAABAAMAAAAEAAMAAAABAAMAAAACAP///////wQAAQD///////8FAAAABAAQAAtPG6rLML03Tr95GRSBBmA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tmdOypIo0e9/oYbnIclkQREYXRhAAUAAAAAAk5hbWUADQAAAExpbmtEYXRhTGlzdAAQVmVyc2lvbgABAAAACUxhc3RXcml0ZQAqFUhDkgEAAAABAP////9hAGEAAAAFX2lkABAAAAAE7dcezU+22kCcahAh0jPNVwREYXRhAAUAAAAAAk5hbWUADQAAAExpbmtEYXRhTGlzdAAQVmVyc2lvbgAAAAAACUxhc3RXcml0ZQAoFUhDkgEAAAACAP////9wAHAAAAAFX2lkABAAAAAETxuqyzC9N06/eRkUgQZgOwNEYXRhABYAAAACUGVyc29uYWxJZAABAAAAAAACTmFtZQALAAAAUGVyc29uYWxJZAAQVmVyc2lvbgAAAAAACUxhc3RXcml0ZQBFF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505243983"/>
  <p:tag name="EMPOWERCHARTSPROPERTIES_B_LENGTH" val="24576"/>
  <p:tag name="DOWN_MIGRATION_INITIAL_LAYOUT_REQUIRED" val="9.2.99"/>
  <p:tag name="RUNTIME_ID" val="702dd742-c456-4b42-b741-d9cb77a6aa00"/>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0.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24R67LxDOJDgzNkFUlMb40EAAAAAAADAAAABAADAAAAAwADAAEA////////BQAAAAMAEAALKGfHtvQXwkem3V/JwRtGVAQAAAABAAMAAAACAAMAAAABAAQAAQD///////8FAAAABAAQAAuEVkCJ5Q75Roig9BGMjDI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hHrsvEM4kODM2QVSUxvjQREYXRhAAUAAAAAAk5hbWUADQAAAExpbmtEYXRhTGlzdAAQVmVyc2lvbgABAAAACUxhc3RXcml0ZQB5FUhDkgEAAAABAP////9hAGEAAAAFX2lkABAAAAAEKGfHtvQXwkem3V/JwRtGVAREYXRhAAUAAAAAAk5hbWUADQAAAExpbmtEYXRhTGlzdAAQVmVyc2lvbgAAAAAACUxhc3RXcml0ZQB3FUhDkgEAAAACAP////9wAHAAAAAFX2lkABAAAAAEhFZAieUO+UaIoPQRjIwyIANEYXRhABYAAAACUGVyc29uYWxJZAABAAAAAAACTmFtZQALAAAAUGVyc29uYWxJZAAQVmVyc2lvbgAAAAAACUxhc3RXcml0ZQCUF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506055727"/>
  <p:tag name="EMPOWERCHARTSPROPERTIES_B_LENGTH" val="24576"/>
  <p:tag name="DOWN_MIGRATION_INITIAL_LAYOUT_REQUIRED" val="9.2.99"/>
  <p:tag name="RUNTIME_ID" val="923fe68b-eac0-4789-9801-b6610928d7f4"/>
</p:tagLst>
</file>

<file path=ppt/tags/tag3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BAD///////8DAAAABAD///////8DAAAABAD///////////////////////////////////////////////////////////////////////////////////////////////////////////////////////////////////////////////////////////////////////////////////////////////////////////////////////////////////////////////////////////////////////////////////////////////////////////////////////////////////////////////////////////////////////////////////////////////////////////////////////////////////////////////////////////////////////////////8BACAA////////////////AAAO////////AwAAAAMA////////////////////////////////////////////////////////////////////////////////////////////////////////////////////////////////////////////////////////////////////////////////////////////////////////////////////////////////////////////////////////////////////////////////////////////////////////////////////////////////////////////////////////////////////////////////////////////////////////////////////////////////////////////////////////////////////////////////////////////////////////////////////////AgABAP///////wUAAAACABAAC+2IPtaWrihFogT4HDDybO4EAAAAAAADAAAABAADAAAAAwADAAEA////////BQAAAAMAEAALz9yl/4N9r0y+kO4ctI+y8gQAAAABAAMAAAACAAMAAAABAAQAAwD///////8FAAAABAAQAAvbrGaQldyFR6qnrfJvpsdD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Yg+1pauKEWiBPgcMPJs7gREYXRhAAUAAAAAAk5hbWUADQAAAExpbmtEYXRhTGlzdAAQVmVyc2lvbgAAAAAACUxhc3RXcml0ZQDHdTu3kQEAAAABAP////9hAGEAAAAFX2lkABAAAAAEz9yl/4N9r0y+kO4ctI+y8gREYXRhAAUAAAAAAk5hbWUADQAAAExpbmtEYXRhTGlzdAAQVmVyc2lvbgABAAAACUxhc3RXcml0ZQDNdTu3kQEAAAACAP////9wAHAAAAAFX2lkABAAAAAE26xmkJXchUeqp63yb6bHQwNEYXRhABYAAAACUGVyc29uYWxJZAABAAAAAAACTmFtZQALAAAAUGVyc29uYWxJZAAQVmVyc2lvbgAAAAAACUxhc3RXcml0ZQAKdju3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9528130926648"/>
  <p:tag name="EMPOWERCHARTSPROPERTIES_B_LENGTH" val="24576"/>
  <p:tag name="DOWN_MIGRATION_INITIAL_LAYOUT_REQUIRED" val="9.2.99"/>
  <p:tag name="RUNTIME_ID" val="4b34e7c4-00d1-4ae9-8ee7-e3de43d0efc7"/>
</p:tagLst>
</file>

<file path=ppt/tags/tag302.xml><?xml version="1.0" encoding="utf-8"?>
<p:tagLst xmlns:a="http://schemas.openxmlformats.org/drawingml/2006/main" xmlns:r="http://schemas.openxmlformats.org/officeDocument/2006/relationships" xmlns:p="http://schemas.openxmlformats.org/presentationml/2006/main">
  <p:tag name="MIO_GUID" val="589416b6-20c7-4edc-8e0b-4cafaddbabd5"/>
  <p:tag name="MIO_EKGUID" val="ea890a8b-b311-4aac-b27f-8ca9d0de9969"/>
  <p:tag name="MIO_UPDATE" val="True"/>
  <p:tag name="MIO_VERSION" val="09.03.2023 11:06:28"/>
  <p:tag name="MIO_DBID" val="FDE84254-54DB-49E3-9A0E-CDE72035D530"/>
  <p:tag name="MIO_LASTDOWNLOADED" val="13.03.2024 10:33:13.817"/>
  <p:tag name="MIO_OBJECTNAME" val="Icon / Text box"/>
  <p:tag name="MIO_CONTENTTAG" val="ehUaDt3LuUWNb579sHB/bpJ9R5RFF2FHi0YA2cR1mdM="/>
  <p:tag name="MIO_LASTEDITORNAME" val="Verena Kohl"/>
</p:tagLst>
</file>

<file path=ppt/tags/tag3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tgsAAAAAAAAAAAAAIAD///////////////8AAAD///////////////8DAAAAAgD///////8DAAAAAgD///////8DAAAAAgD///////8DAAAAAgD///////8DAAAABAD///////////////////////////////////////////////////////////////////////////////////////////////////////////////////////////////////////////////////////////////////////////////////////////////////////////////////////////////////////////////////////////////////////////////////////////////////////////////////////////////////////////////////////////////////////////////////////////////////////////////////////////////////////////////8BACAA////////////////AAAO////////AwAAAAQA////////////////////////////////////////////////////////////////////////////////////////////////////////////////////////////////////////////////////////////////////////////////////////////////////////////////////////////////////////////////////////////////////////////////////////////////////////////////////////////////////////////////////////////////////////////////////////////////////////////////////////////////////////////////////////////////////////////////////////////////////////////////////////AgAEAP///////wUAAAACABAAC59I61J9+SRKrztzgRWPdK4EAAAAAAADAAAAAAADAAAAAwADAAAAAAADAAAAAwADAAAAAAADAAAABAADAAAAAAADAAAABAADAAIA////////BQAAAAMAEAALcsKhXb84TEWlpbcdIvY9BQQAAAABAAMAAAACAAMAAAAEAAMAAAACAAMAAAAEAAQABQD///////8FAAAABAAQAAses8bYooAUT52BSLl3oxYFBAAAAAIAAwAAAAMAAwAAAAEAAwAAAAMA////////AwAAAAI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0jrUn35JEqvO3OBFY90rgREYXRhAAUAAAAAAk5hbWUADQAAAExpbmtEYXRhTGlzdAAQVmVyc2lvbgABAAAACUxhc3RXcml0ZQB7pIuOkQEAAAABAP////9hAGEAAAAFX2lkABAAAAAEcsKhXb84TEWlpbcdIvY9BQREYXRhAAUAAAAAAk5hbWUADQAAAExpbmtEYXRhTGlzdAAQVmVyc2lvbgAAAAAACUxhc3RXcml0ZQB5pIuOkQEAAAACAP////9wAHAAAAAFX2lkABAAAAAEHrPG2KKAFE+dgUi5d6MWBQNEYXRhABYAAAACUGVyc29uYWxJZAABAAAAAAACTmFtZQALAAAAUGVyc29uYWxJZAAQVmVyc2lvbgAAAAAACUxhc3RXcml0ZQCWpI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EAIAH///////////////8AAA7///////8FAAAABAD///////////////////////////////////////////////////////////////////////////////////////////////////////////////////////////////////////////////////////////////////////////////////////////////////////////////////////////////////////////////////////////////////////////////////////////////////////////////////////////////////////////////////////////////////////////////////////////////////////////////////////////////////////////////////////////////////////////////////////////////////////////////////////8CAAQBAwAAAAIA////////DgAGTGlua0RhdGFMaXN0XzEEAAAAAAAFAAAAAwAFAAAABAAFAAAAAwAFAAAABAAFAAAAAAD///////8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0306396"/>
  <p:tag name="EMPOWERCHARTSPROPERTIES_B_LENGTH" val="24576"/>
  <p:tag name="DOWN_MIGRATION_INITIAL_LAYOUT_REQUIRED" val="9.2.99"/>
  <p:tag name="RUNTIME_ID" val="7529016f-6803-49cd-824a-3b4d618c8459"/>
</p:tagLst>
</file>

<file path=ppt/tags/tag3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8T5KinPxGRIqQTcbj9ytTAEAAAAAAADAAAAAAADAAAAAwADAAAAAAD///////8DAAAAAAD///////8DAAEA////////BQAAAAMAEAALtT0yvKxkC0i7fWVBhTQUJgQAAAABAAMAAAACAAMAAAAEAAQAAQD///////8FAAAABAAQAAvhorv0d8nYQ67bdmfbjjQ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PkqKc/EZEipBNxuP3K1MAREYXRhAAUAAAAAAk5hbWUADQAAAExpbmtEYXRhTGlzdAAQVmVyc2lvbgABAAAACUxhc3RXcml0ZQA1I/uNkQEAAAABAP////9hAGEAAAAFX2lkABAAAAAEtT0yvKxkC0i7fWVBhTQUJgREYXRhAAUAAAAAAk5hbWUADQAAAExpbmtEYXRhTGlzdAAQVmVyc2lvbgAAAAAACUxhc3RXcml0ZQAxI/uNkQEAAAACAP////9wAHAAAAAFX2lkABAAAAAE4aK79HfJ2EOu23Zn2440CANEYXRhABYAAAACUGVyc29uYWxJZAABAAAAAAACTmFtZQALAAAAUGVyc29uYWxJZAAQVmVyc2lvbgAAAAAACUxhc3RXcml0ZQBUI/uN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07317599341"/>
  <p:tag name="EMPOWERCHARTSPROPERTIES_B_LENGTH" val="24576"/>
  <p:tag name="DOWN_MIGRATION_INITIAL_LAYOUT_REQUIRED" val="9.2.99"/>
  <p:tag name="RUNTIME_ID" val="3c8b7fac-b98f-4724-bb9a-451581b5893c"/>
</p:tagLst>
</file>

<file path=ppt/tags/tag3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tgsAAAAAAAAAAAAAIAD///////////////8AAAD///////////////8DAAAABAD///////8DAAAABAD///////8DAAAABAD///////8DAAAAAwD///////8DAAAAAwD///////8DAAAAAwD///////8DAAAAAwD///////////////////////////////////////////////////////////////////////////////////////////////////////////////////////////////////////////////////////////////////////////////////////////////////////////////////////////////////////////////////////////////////////////////////////////////////////////////////////////////////////////////////////////////////////////////////////////////////////////////8BACAA////////////////AAAO////////AwAAAAMA////////////////////////////////////////////////////////////////////////////////////////////////////////////////////////////////////////////////////////////////////////////////////////////////////////////////////////////////////////////////////////////////////////////////////////////////////////////////////////////////////////////////////////////////////////////////////////////////////////////////////////////////////////////////////////////////////////////////////////////////////////////////////////AgABAP///////wUAAAACABAAC8LqESnUrhBJqhxzHIQ+PZsEAAAAAAADAAAABAADAAAAAwADAAcA////////BQAAAAMAEAALazoy9ZnW+UWwd2Ckoqk84AQAAAABAAMAAAACAAMAAAABAAMAAAAEAP///////wMAAAAEAP///////wMAAAAAAP///////wMAAAAAAP///////wMAAAAAAP///////wMAAAAAAP///////wQAAwD///////8FAAAABAAQAAvHawokL4kfQpJ5FF98hk5TBAAAAAIAAwAAAAAAAwAAAAI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uoRKdSuEEmqHHMchD49mwREYXRhAAUAAAAAAk5hbWUADQAAAExpbmtEYXRhTGlzdAAQVmVyc2lvbgAAAAAACUxhc3RXcml0ZQDRpIuOkQEAAAABAP////9hAGEAAAAFX2lkABAAAAAEazoy9ZnW+UWwd2Ckoqk84AREYXRhAAUAAAAAAk5hbWUADQAAAExpbmtEYXRhTGlzdAAQVmVyc2lvbgABAAAACUxhc3RXcml0ZQDSpIuOkQEAAAACAP////9wAHAAAAAFX2lkABAAAAAEx2sKJC+JH0KSeRRffIZOUwNEYXRhABYAAAACUGVyc29uYWxJZAABAAAAAAACTmFtZQALAAAAUGVyc29uYWxJZAAQVmVyc2lvbgAAAAAACUxhc3RXcml0ZQDtpI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DAP///////wUAAAADAP///////wUAAAADAP///////wUAAAADAP///////wUAAAADAP///////wUAAAADAP///////////////////////////////////////////////////////////////////////////////////////////////////////////////////////////////////////////////////////////////////////////////////////////////////////////////////////////////////////////////////////////////////////////////////////////////////////////////////////////////////////////////////////////////////////////////////////////////////////////////wEAIAH///////////////8AAA7///////8FAAAABAD///////////////////////////////////////////////////////////////////////////////////////////////////////////////////////////////////////////////////////////////////////////////////////////////////////////////////////////////////////////////////////////////////////////////////////////////////////////////////////////////////////////////////////////////////////////////////////////////////////////////////////////////////////////////////////////////////////////////////////////////////////////////////////8CAAEBAwAAAAIA////////DgAGTGlua0RhdGFMaXN0XzAEAAAAAAAFAAAAAAAFAAAAAwADAAcBAwAAAAMA////////DgAGTGlua0RhdGFMaXN0XzEEAAAAAQAFAAAAAgAFAAAABAAFAAAAAAAFAAAABAAFAAAAAAAFAAAABAAFAAAAAAD///////8FAAAAAAD///////8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1184688"/>
  <p:tag name="EMPOWERCHARTSPROPERTIES_B_LENGTH" val="24576"/>
  <p:tag name="DOWN_MIGRATION_INITIAL_LAYOUT_REQUIRED" val="9.2.99"/>
  <p:tag name="RUNTIME_ID" val="84f6baf9-ecea-47db-80ae-2fe75a729ba0"/>
</p:tagLst>
</file>

<file path=ppt/tags/tag3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8gsAAAAAAAAAAAAAIAD///////////////8AAAD///////////////8DAAAAAgD///////8DAAAAAgD///////////////////////////////////////////////////////////////////////////////////////////////////////////////////////////////////////////////////////////////////////////////////////////////////////////////////////////////////////////////////////////////////////////////////////////////////////////////////////////////////////////////////////////////////////////////////////////////////////////////////////////////////////////////////////////////////////////////////////////////8BACAA////////////////AAAO////////AwAAAAMA////////////////////////////////////////////////////////////////////////////////////////////////////////////////////////////////////////////////////////////////////////////////////////////////////////////////////////////////////////////////////////////////////////////////////////////////////////////////////////////////////////////////////////////////////////////////////////////////////////////////////////////////////////////////////////////////////////////////////////////////////////////////////////AgACAP///////wUAAAACABAAC3K9LRke82hGrcWDjgjUVxEEAAAAAAADAAAAAAADAAAABAADAAAAAAADAAAABAADAAIA////////BQAAAAMAEAAL26ip9dKJ3Em6NmWyzNxKQQQAAAABAAMAAAAEAAMAAAABAAMAAAAEAP///////wQAAgD///////8FAAAABAAQAAuPUuZUp6aZRJz+R4JbmX25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r0tGR7zaEatxYOOCNRXEQREYXRhAAUAAAAAAk5hbWUADQAAAExpbmtEYXRhTGlzdAAQVmVyc2lvbgAAAAAACUxhc3RXcml0ZQDhKcKOkQEAAAABAP////9hAGEAAAAFX2lkABAAAAAE26ip9dKJ3Em6NmWyzNxKQQREYXRhAAUAAAAAAk5hbWUADQAAAExpbmtEYXRhTGlzdAAQVmVyc2lvbgABAAAACUxhc3RXcml0ZQDjKcKOkQEAAAACAP////9wAHAAAAAFX2lkABAAAAAEj1LmVKemmUSc/keCW5l9uQNEYXRhABYAAAACUGVyc29uYWxJZAABAAAAAAACTmFtZQALAAAAUGVyc29uYWxJZAAQVmVyc2lvbgAAAAAACUxhc3RXcml0ZQD/Kc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1270519"/>
  <p:tag name="EMPOWERCHARTSPROPERTIES_B_LENGTH" val="24576"/>
  <p:tag name="DOWN_MIGRATION_INITIAL_LAYOUT_REQUIRED" val="9.2.99"/>
  <p:tag name="RUNTIME_ID" val="93b037fd-1ff5-44f1-bc7e-64d1c983b489"/>
</p:tagLst>
</file>

<file path=ppt/tags/tag3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BAD///////////////////////////////////////////////////////////////////////////////////////////////////////////////////////////////////////////////////////////////////////////////////////////////////////////////////////////////////////////////////////////////////////////////////////////////////////////////////////////////////////////////////////////////////////////////////////////////////////////////////////////////////////////////////////////////////////////////////////////////8BACAA////////////////AAAO////////AwAAAAQA////////////////////////////////////////////////////////////////////////////////////////////////////////////////////////////////////////////////////////////////////////////////////////////////////////////////////////////////////////////////////////////////////////////////////////////////////////////////////////////////////////////////////////////////////////////////////////////////////////////////////////////////////////////////////////////////////////////////////////////////////////////////////////AgABAP///////wUAAAACABAACzEUk20AyvxLknNJ5cXQQ20EAAAAAAADAAAAAAADAAAAAwADAAEA////////BQAAAAMAEAALt2hEncs4AUqM9X83hP/K6gQAAAABAAMAAAACAAMAAAAEAAQAAgD///////8FAAAABAAQAAvUe4nTULSbQo2B2iMb/+Nn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RSTbQDK/EuSc0nlxdBDbQREYXRhAAUAAAAAAk5hbWUADQAAAExpbmtEYXRhTGlzdAAQVmVyc2lvbgABAAAACUxhc3RXcml0ZQBiHwqOkQEAAAABAP////9hAGEAAAAFX2lkABAAAAAEt2hEncs4AUqM9X83hP/K6gREYXRhAAUAAAAAAk5hbWUADQAAAExpbmtEYXRhTGlzdAAQVmVyc2lvbgAAAAAACUxhc3RXcml0ZQBiHwqOkQEAAAACAP////9wAHAAAAAFX2lkABAAAAAE1HuJ01C0m0KNgdojG//jZwNEYXRhABYAAAACUGVyc29uYWxJZAABAAAAAAACTmFtZQALAAAAUGVyc29uYWxJZAAQVmVyc2lvbgAAAAAACUxhc3RXcml0ZQCQHw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38376191"/>
  <p:tag name="EMPOWERCHARTSPROPERTIES_B_LENGTH" val="24576"/>
  <p:tag name="DOWN_MIGRATION_INITIAL_LAYOUT_REQUIRED" val="9.2.99"/>
  <p:tag name="RUNTIME_ID" val="bf1070b7-e59c-4c92-a459-2368546ecdd9"/>
</p:tagLst>
</file>

<file path=ppt/tags/tag3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wD///////8DAAAAAwD///////////////////////////////////////////////////////////////////////////////////////////////////////////////////////////////////////////////////////////////////////////////////////////////////////////////////////////////////////////////////////////////////////////////////////////////////////////////////////////////////////////////////////////////////////////////////////////////////////////////////////////////////////////////////////////////////////////////8BACAA////////////////AAAO////////AwAAAAMA////////////////////////////////////////////////////////////////////////////////////////////////////////////////////////////////////////////////////////////////////////////////////////////////////////////////////////////////////////////////////////////////////////////////////////////////////////////////////////////////////////////////////////////////////////////////////////////////////////////////////////////////////////////////////////////////////////////////////////////////////////////////////////AgABAP///////wUAAAACABAAC7PDWjxju/FFiv+r2cCS6PsEAAAAAAADAAAABAADAAAAAwADAAMA////////BQAAAAMAEAALumr4aY6c+0KiaJJ/6CpWQQQAAAABAAMAAAACAAMAAAABAAMAAAAAAP///////wMAAAAAAP///////wQAAQD///////8FAAAABAAQAAvJceglId69SYE4n9KBSNs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8NaPGO78UWK/6vZwJLo+wREYXRhAAUAAAAAAk5hbWUADQAAAExpbmtEYXRhTGlzdAAQVmVyc2lvbgABAAAACUxhc3RXcml0ZQAcpYuOkQEAAAABAP////9hAGEAAAAFX2lkABAAAAAEumr4aY6c+0KiaJJ/6CpWQQREYXRhAAUAAAAAAk5hbWUADQAAAExpbmtEYXRhTGlzdAAQVmVyc2lvbgAAAAAACUxhc3RXcml0ZQAWpYuOkQEAAAACAP////9wAHAAAAAFX2lkABAAAAAEyXHoJSHevUmBOJ/SgUjbMQNEYXRhABYAAAACUGVyc29uYWxJZAABAAAAAAACTmFtZQALAAAAUGVyc29uYWxJZAAQVmVyc2lvbgAAAAAACUxhc3RXcml0ZQA5p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1962651"/>
  <p:tag name="EMPOWERCHARTSPROPERTIES_B_LENGTH" val="24576"/>
  <p:tag name="DOWN_MIGRATION_INITIAL_LAYOUT_REQUIRED" val="9.2.99"/>
  <p:tag name="RUNTIME_ID" val="d1c7c17f-db7b-4f01-8067-76a1e0dbb185"/>
</p:tagLst>
</file>

<file path=ppt/tags/tag3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0xyqCBXioNNkI9K0cK3wdcEAAAAAAADAAAAAAADAAAAAwADAAEA////////BQAAAAMAEAAL83CvSF+8W0G4wrgy+R6SRgQAAAABAAMAAAACAAMAAAAEAAQAAQD///////8FAAAABAAQAAvlVqdOeez4T6XKLXuyrC/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HKoIFeKg02Qj0rRwrfB1wREYXRhAAUAAAAAAk5hbWUADQAAAExpbmtEYXRhTGlzdAAQVmVyc2lvbgABAAAACUxhc3RXcml0ZQA3KsKOkQEAAAABAP////9hAGEAAAAFX2lkABAAAAAE83CvSF+8W0G4wrgy+R6SRgREYXRhAAUAAAAAAk5hbWUADQAAAExpbmtEYXRhTGlzdAAQVmVyc2lvbgAAAAAACUxhc3RXcml0ZQA0KsKOkQEAAAACAP////9wAHAAAAAFX2lkABAAAAAE5VanTnns+E+lyi17sqwvzwNEYXRhABYAAAACUGVyc29uYWxJZAABAAAAAAACTmFtZQALAAAAUGVyc29uYWxJZAAQVmVyc2lvbgAAAAAACUxhc3RXcml0ZQBWKs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2142686"/>
  <p:tag name="EMPOWERCHARTSPROPERTIES_B_LENGTH" val="24576"/>
  <p:tag name="DOWN_MIGRATION_INITIAL_LAYOUT_REQUIRED" val="9.2.99"/>
  <p:tag name="RUNTIME_ID" val="62ca591b-3cd6-4076-bf1e-3c20f78c7685"/>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gD///////8DAAAAAgD///////////////////////////////////////////////////////////////////////////////////////////////////////////////////////////////////////////////////////////////////////////////////////////////////////////////////////////////////////////////////////////////////////////////////////////////////////////////////////////////////////////////////////////////////////////////////////////////////////////////////////////////////////////////////////////////8BACAA////////////////AAAO////////AwAAAAMA////////////////////////////////////////////////////////////////////////////////////////////////////////////////////////////////////////////////////////////////////////////////////////////////////////////////////////////////////////////////////////////////////////////////////////////////////////////////////////////////////////////////////////////////////////////////////////////////////////////////////////////////////////////////////////////////////////////////////////////////////////////////////////AgAEAP///////wUAAAACABAACzI9DEmd6klKs1sc1jZ3GpoEAAAAAAADAAAABAADAAAAAwADAAAAAAADAAAAAwADAAAAAAD///////8DAAAAAAD///////8DAAIA////////BQAAAAMAEAAL7kxRwsvqk0iAlfd341zn5QQAAAABAAMAAAACAAMAAAABAAMAAAACAP///////wQAAQD///////8FAAAABAAQAAvaLTUXeFP4R4L0S111ITc8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j0MSZ3qSUqzWxzWNncamgREYXRhAAUAAAAAAk5hbWUADQAAAExpbmtEYXRhTGlzdAAQVmVyc2lvbgABAAAACUxhc3RXcml0ZQDGHwqOkQEAAAABAP////9hAGEAAAAFX2lkABAAAAAE7kxRwsvqk0iAlfd341zn5QREYXRhAAUAAAAAAk5hbWUADQAAAExpbmtEYXRhTGlzdAAQVmVyc2lvbgAAAAAACUxhc3RXcml0ZQDAHwqOkQEAAAACAP////9wAHAAAAAFX2lkABAAAAAE2i01F3hT+EeC9EtddSE3PANEYXRhABYAAAACUGVyc29uYWxJZAABAAAAAAACTmFtZQALAAAAUGVyc29uYWxJZAAQVmVyc2lvbgAAAAAACUxhc3RXcml0ZQDlHw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39239856"/>
  <p:tag name="EMPOWERCHARTSPROPERTIES_B_LENGTH" val="24576"/>
  <p:tag name="DOWN_MIGRATION_INITIAL_LAYOUT_REQUIRED" val="9.2.99"/>
  <p:tag name="RUNTIME_ID" val="d8f379f5-90d2-49db-83ec-e14186a4766c"/>
</p:tagLst>
</file>

<file path=ppt/tags/tag3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IBAQEBAQEBAQEBAQEBAQMAAAAAAAAAAwAAAAMAAAAA/////wUAkgsAAAAAAAAAAAAAIAD///////////////8AAAD///////////////8DAAAAAgD///////8DAAAABAD///////8DAAAABAD///////8DAAAABAD///////8DAAAABAD///////8DAAAABAD///////8DAAAABAD///////8DAAAABAD///////8DAAAABAD///////8DAAAABAD///////8DAAAABAD///////8DAAAABAD///////////////////////////////////////////////////////////////////////////////////////////////////////////////////////////////////////////////////////////////////////////////////////////////////////////////////////////////////////////////////////////////////////////////////////////////////////////////////////////////8BACAA////////////////AAAO////////AwAAAAMA////////////////////////////////////////////////////////////////////////////////////////////////////////////////////////////////////////////////////////////////////////////////////////////////////////////////////////////////////////////////////////////////////////////////////////////////////////////////////////////////////////////////////////////////////////////////////////////////////////////////////////////////////////////////////////////////////////////////////////////////////////////////////////AgABAP///////wUAAAACABAAC7eFvwaGG21PuS5/M47K6D4EAAAAAAADAAAAAAADAAAABAADAAEA////////BQAAAAMAEAALCh3nXFe59EC3zoG6iMxOKwQAAAABAAMAAAAEAAMAAAABAAQADAD///////8FAAAABAAQAAs5x7Yl+SsySZBh6+SeisoyBAAAAAIAAwAAAAIAAwAAAAMAAwAAAAAA////////AwAAAAAA////////AwAAAAAA////////AwAAAAAA////////AwAAAAA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4W/BoYbbU+5Ln8zjsroPgREYXRhAAUAAAAAAk5hbWUADQAAAExpbmtEYXRhTGlzdAAQVmVyc2lvbgAAAAAACUxhc3RXcml0ZQBupYuOkQEAAAABAP////9hAGEAAAAFX2lkABAAAAAECh3nXFe59EC3zoG6iMxOKwREYXRhAAUAAAAAAk5hbWUADQAAAExpbmtEYXRhTGlzdAAQVmVyc2lvbgABAAAACUxhc3RXcml0ZQBvpYuOkQEAAAACAP////9wAHAAAAAFX2lkABAAAAAEOce2JfkrMkmQYevknorKMgNEYXRhABYAAAACUGVyc29uYWxJZAABAAAAAAACTmFtZQALAAAAUGVyc29uYWxJZAAQVmVyc2lvbgAAAAAACUxhc3RXcml0ZQCap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3958263"/>
  <p:tag name="EMPOWERCHARTSPROPERTIES_B_LENGTH" val="24576"/>
  <p:tag name="DOWN_MIGRATION_INITIAL_LAYOUT_REQUIRED" val="9.2.99"/>
  <p:tag name="RUNTIME_ID" val="cd7b82e8-46a0-4aac-b0d2-004e43385ac6"/>
</p:tagLst>
</file>

<file path=ppt/tags/tag3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cBAQEBAQEBAQEBAQEBAQMAAAAAAAAAAwAAAAMAAAAA/////wUA2gsAAAAAAAAAAAAAIAD///////////////8AAAD///////////////8DAAAAAgD///////8DAAAAAgD///////8DAAAAAgD///////8DAAAAAgD///////8DAAAAAgD///////8DAAAAAgD///////////////////////////////////////////////////////////////////////////////////////////////////////////////////////////////////////////////////////////////////////////////////////////////////////////////////////////////////////////////////////////////////////////////////////////////////////////////////////////////////////////////////////////////////////////////////////////////////////////////////////////////8BACAA////////////////AAAO////////AwAAAAQA////////////////////////////////////////////////////////////////////////////////////////////////////////////////////////////////////////////////////////////////////////////////////////////////////////////////////////////////////////////////////////////////////////////////////////////////////////////////////////////////////////////////////////////////////////////////////////////////////////////////////////////////////////////////////////////////////////////////////////////////////////////////////////AgAGAP///////wUAAAACABAACxEhkj4AGF5HmU+sC2iYrKYEAAAAAAADAAAAAAADAAAAAwADAAAAAAD///////8DAAAAAAD///////8DAAAAAAD///////8DAAAAAAD///////8DAAAAAAD///////8DAAEA////////BQAAAAMAEAALg2kBsBKSo0WE0/lic3fULwQAAAABAAMAAAACAAMAAAAEAAQAAQD///////8FAAAABAAQAAvJ8/m0EOE6S71wYFk4r6E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SGSPgAYXkeZT6wLaJispgREYXRhAAUAAAAAAk5hbWUADQAAAExpbmtEYXRhTGlzdAAQVmVyc2lvbgAAAAAACUxhc3RXcml0ZQCLKsKOkQEAAAABAP////9hAGEAAAAFX2lkABAAAAAEg2kBsBKSo0WE0/lic3fULwREYXRhAAUAAAAAAk5hbWUADQAAAExpbmtEYXRhTGlzdAAQVmVyc2lvbgABAAAACUxhc3RXcml0ZQCMKsKOkQEAAAACAP////9wAHAAAAAFX2lkABAAAAAEyfP5tBDhOku9cGBZOK+hAwNEYXRhABYAAAACUGVyc29uYWxJZAABAAAAAAACTmFtZQALAAAAUGVyc29uYWxJZAAQVmVyc2lvbgAAAAAACUxhc3RXcml0ZQCoKs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CAP///////wUAAAACAP///////wUAAAACAP///////wUAAAACAP///////wUAAAACAP///////wUAAAACAP///////wUAAAAEAP///////////////////////////////////////////////////////////////////////////////////////////////////////////////////////////////////////////////////////////////////////////////////////////////////////////////////////////////////////////////////////////////////////////////////////////////////////////////////////////////////////////////////////////////////////////////////////////////////////////////wEAIAH///////////////8AAA7///////8FAAAABAD///////////////////////////////////////////////////////////////////////////////////////////////////////////////////////////////////////////////////////////////////////////////////////////////////////////////////////////////////////////////////////////////////////////////////////////////////////////////////////////////////////////////////////////////////////////////////////////////////////////////////////////////////////////////////////////////////////////////////////////////////////////////////////8CAAYBAwAAAAIA////////DgAGTGlua0RhdGFMaXN0XzAEAAAAAAAFAAAAAAAFAAAAAwAFAAAAAAAFAAAABAAFAAAAAAAFAAAABAAFAAAAAAAFAAAABAAFAAAAAAAFAAAABAAFAAAAAAAFAAAABAADAAEBAwAAAAMA////////DgAGTGlua0RhdGFMaXN0XzEEAAAAAQAFAAAAAgAFAAAABAAEAAcBAwAAAAQA////////DAAGUGVyc29uYWxJZF8wBAAAAAIABQAAAAMABQAAAAEABQAAAAIA////////BQAAAAIA////////BQAAAAI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3046101"/>
  <p:tag name="EMPOWERCHARTSPROPERTIES_B_LENGTH" val="24576"/>
  <p:tag name="DOWN_MIGRATION_INITIAL_LAYOUT_REQUIRED" val="9.2.99"/>
  <p:tag name="RUNTIME_ID" val="88f3efd6-c31e-4ed2-877c-68e764987fca"/>
</p:tagLst>
</file>

<file path=ppt/tags/tag3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wUli38G2kBIvrMFCXpj36IEAAAAAAADAAAABAADAAAAAwADAAEA////////BQAAAAMAEAALaGw0/oPf8kGnvw2uQgLMeAQAAAABAAMAAAACAAMAAAABAAQAAgD///////8FAAAABAAQAAuDNStvLb59SYQR/GXoYX3+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SWLfwbaQEi+swUJemPfogREYXRhAAUAAAAAAk5hbWUADQAAAExpbmtEYXRhTGlzdAAQVmVyc2lvbgABAAAACUxhc3RXcml0ZQAZIAqOkQEAAAABAP////9hAGEAAAAFX2lkABAAAAAEaGw0/oPf8kGnvw2uQgLMeAREYXRhAAUAAAAAAk5hbWUADQAAAExpbmtEYXRhTGlzdAAQVmVyc2lvbgAAAAAACUxhc3RXcml0ZQAYIAqOkQEAAAACAP////9wAHAAAAAFX2lkABAAAAAEgzUrby2+fUmEEfxl6GF9/gNEYXRhABYAAAACUGVyc29uYWxJZAABAAAAAAACTmFtZQALAAAAUGVyc29uYWxJZAAQVmVyc2lvbgAAAAAACUxhc3RXcml0ZQA2IA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40010391"/>
  <p:tag name="EMPOWERCHARTSPROPERTIES_B_LENGTH" val="24576"/>
  <p:tag name="DOWN_MIGRATION_INITIAL_LAYOUT_REQUIRED" val="9.2.99"/>
  <p:tag name="RUNTIME_ID" val="5fe72b1e-bca4-45df-af09-109da6158694"/>
</p:tagLst>
</file>

<file path=ppt/tags/tag3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8gsAAAAAAAAAAAAAIAD///////////////8AAAD///////////////8DAAAAAgD///////8DAAAABAD///////8DAAAABAD///////8DAAAABAD///////////////////////////////////////////////////////////////////////////////////////////////////////////////////////////////////////////////////////////////////////////////////////////////////////////////////////////////////////////////////////////////////////////////////////////////////////////////////////////////////////////////////////////////////////////////////////////////////////////////////////////////////////////////////////////////8BACAA////////////////AAAO////////AwAAAAQA////////////////////////////////////////////////////////////////////////////////////////////////////////////////////////////////////////////////////////////////////////////////////////////////////////////////////////////////////////////////////////////////////////////////////////////////////////////////////////////////////////////////////////////////////////////////////////////////////////////////////////////////////////////////////////////////////////////////////////////////////////////////////////AgABAP///////wUAAAACABAACyCGzyLzdo9MqoitGqdKpYkEAAAAAAADAAAAAAADAAAAAwADAAEA////////BQAAAAMAEAALO/8Na0OKj0KSMauEoh2W0gQAAAABAAMAAAACAAMAAAAEAAQABAD///////8FAAAABAAQAAtNF1WonNoETZPCblD1YuUh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IbPIvN2j0yqiK0ap0qliQREYXRhAAUAAAAAAk5hbWUADQAAAExpbmtEYXRhTGlzdAAQVmVyc2lvbgABAAAACUxhc3RXcml0ZQA5pouOkQEAAAABAP////9hAGEAAAAFX2lkABAAAAAEO/8Na0OKj0KSMauEoh2W0gREYXRhAAUAAAAAAk5hbWUADQAAAExpbmtEYXRhTGlzdAAQVmVyc2lvbgAAAAAACUxhc3RXcml0ZQAzpouOkQEAAAACAP////9wAHAAAAAFX2lkABAAAAAETRdVqJzaBE2Twm5Q9WLlIQNEYXRhABYAAAACUGVyc29uYWxJZAABAAAAAAACTmFtZQALAAAAUGVyc29uYWxJZAAQVmVyc2lvbgAAAAAACUxhc3RXcml0ZQBU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EAIAH///////////////8AAA7///////8FAAAABAD///////////////////////////////////////////////////////////////////////////////////////////////////////////////////////////////////////////////////////////////////////////////////////////////////////////////////////////////////////////////////////////////////////////////////////////////////////////////////////////////////////////////////////////////////////////////////////////////////////////////////////////////////////////////////////////////////////////////////////////////////////////////////////8CAAMBAwAAAAIA////////DgAGTGlua0RhdGFMaXN0XzEEAAAAAAAFAAAAAwAFAAAABAAFAAAAAwAFAAAABAA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4767148"/>
  <p:tag name="EMPOWERCHARTSPROPERTIES_B_LENGTH" val="24576"/>
  <p:tag name="DOWN_MIGRATION_INITIAL_LAYOUT_REQUIRED" val="9.2.99"/>
  <p:tag name="RUNTIME_ID" val="aa5e0d49-1354-421f-a077-b11eae8ab0aa"/>
</p:tagLst>
</file>

<file path=ppt/tags/tag3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0G4T3r/BvVHueTrVyPHrbsEAAAAAAADAAAABAADAAAAAwADAAEA////////BQAAAAMAEAALKpRVgvLQRkisgCJCPvPFCwQAAAABAAMAAAACAAMAAAABAAQAAQD///////8FAAAABAAQAAs7JyB03nQJT5Ph3dBic0FB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bhPev8G9Ue55OtXI8etuwREYXRhAAUAAAAAAk5hbWUADQAAAExpbmtEYXRhTGlzdAAQVmVyc2lvbgAAAAAACUxhc3RXcml0ZQDiKsKOkQEAAAABAP////9hAGEAAAAFX2lkABAAAAAEKpRVgvLQRkisgCJCPvPFCwREYXRhAAUAAAAAAk5hbWUADQAAAExpbmtEYXRhTGlzdAAQVmVyc2lvbgABAAAACUxhc3RXcml0ZQDiKsKOkQEAAAACAP////9wAHAAAAAFX2lkABAAAAAEOycgdN50CU+T4d3QYnNBQQNEYXRhABYAAAACUGVyc29uYWxJZAABAAAAAAACTmFtZQALAAAAUGVyc29uYWxJZAAQVmVyc2lvbgAAAAAACUxhc3RXcml0ZQAOK8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5109739"/>
  <p:tag name="EMPOWERCHARTSPROPERTIES_B_LENGTH" val="24576"/>
  <p:tag name="DOWN_MIGRATION_INITIAL_LAYOUT_REQUIRED" val="9.2.99"/>
  <p:tag name="RUNTIME_ID" val="51266ca0-7905-4c05-9721-0e19206293f4"/>
</p:tagLst>
</file>

<file path=ppt/tags/tag3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6b5EntjMBhFhqyI2+wyZHQEAAAAAAADAAAABAADAAAAAwADAAEA////////BQAAAAMAEAALb/C40MmjHkaHJCiDJqAPDwQAAAABAAMAAAACAAMAAAABAAQAAQD///////8FAAAABAAQAAuyyIRZ3m95R5uC6Np1qDu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vkSe2MwGEWGrIjb7DJkdAREYXRhAAUAAAAAAk5hbWUADQAAAExpbmtEYXRhTGlzdAAQVmVyc2lvbgAAAAAACUxhc3RXcml0ZQDkIfuNkQEAAAABAP////9hAGEAAAAFX2lkABAAAAAEb/C40MmjHkaHJCiDJqAPDwREYXRhAAUAAAAAAk5hbWUADQAAAExpbmtEYXRhTGlzdAAQVmVyc2lvbgABAAAACUxhc3RXcml0ZQABIvuNkQEAAAACAP////9wAHAAAAAFX2lkABAAAAAEssiEWd5veUebgujadag7sQNEYXRhABYAAAACUGVyc29uYWxJZAABAAAAAAACTmFtZQALAAAAUGVyc29uYWxJZAAQVmVyc2lvbgAAAAAACUxhc3RXcml0ZQB1IvuN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07315389417"/>
  <p:tag name="EMPOWERCHARTSPROPERTIES_B_LENGTH" val="24576"/>
  <p:tag name="DOWN_MIGRATION_INITIAL_LAYOUT_REQUIRED" val="9.2.99"/>
  <p:tag name="RUNTIME_ID" val="82c3ec97-15f7-4b68-9937-38e2d316346a"/>
</p:tagLst>
</file>

<file path=ppt/tags/tag3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CF0Vih1gNHmkwAq6YScP4EAAAAAAADAAAAAAADAAAAAwADAAAAAAADAAAAAwADAAIA////////BQAAAAMAEAALL/x8euKHakW2JvZqa/mFJAQAAAABAAMAAAACAAMAAAAEAAMAAAACAP///////wQAAQD///////8FAAAABAAQAAtPKLaHEL2eQ6nCW9LpbtC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IXRWKHWA0eaTACrphJw/gREYXRhAAUAAAAAAk5hbWUADQAAAExpbmtEYXRhTGlzdAAQVmVyc2lvbgAAAAAACUxhc3RXcml0ZQB8pouOkQEAAAABAP////9hAGEAAAAFX2lkABAAAAAEL/x8euKHakW2JvZqa/mFJAREYXRhAAUAAAAAAk5hbWUADQAAAExpbmtEYXRhTGlzdAAQVmVyc2lvbgABAAAACUxhc3RXcml0ZQB+pouOkQEAAAACAP////9wAHAAAAAFX2lkABAAAAAETyi2hxC9nkOpwlvS6W7QgQNEYXRhABYAAAACUGVyc29uYWxJZAABAAAAAAACTmFtZQALAAAAUGVyc29uYWxJZAAQVmVyc2lvbgAAAAAACUxhc3RXcml0ZQCY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5442274"/>
  <p:tag name="EMPOWERCHARTSPROPERTIES_B_LENGTH" val="24576"/>
  <p:tag name="DOWN_MIGRATION_INITIAL_LAYOUT_REQUIRED" val="9.2.99"/>
  <p:tag name="RUNTIME_ID" val="b911e7de-0f15-48c8-b759-ce9beb390141"/>
</p:tagLst>
</file>

<file path=ppt/tags/tag3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73ARVLh99tLtitvrr5jv78EAAAAAAADAAAAAAADAAAAAwADAAAAAAD///////8DAAEA////////BQAAAAMAEAALGnLVZCjfzUGdvylua7+yIAQAAAABAAMAAAACAAMAAAAEAAQAAQD///////8FAAAABAAQAAt9xo30aZORTbq62kJ5Gd87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cBFUuH320u2K2+uvmO/vwREYXRhAAUAAAAAAk5hbWUADQAAAExpbmtEYXRhTGlzdAAQVmVyc2lvbgABAAAACUxhc3RXcml0ZQDAK8KOkQEAAAABAP////9hAGEAAAAFX2lkABAAAAAEGnLVZCjfzUGdvylua7+yIAREYXRhAAUAAAAAAk5hbWUADQAAAExpbmtEYXRhTGlzdAAQVmVyc2lvbgAAAAAACUxhc3RXcml0ZQC1K8KOkQEAAAACAP////9wAHAAAAAFX2lkABAAAAAEfcaN9GmTkU26utpCeRnfOwNEYXRhABYAAAACUGVyc29uYWxJZAABAAAAAAACTmFtZQALAAAAUGVyc29uYWxJZAAQVmVyc2lvbgAAAAAACUxhc3RXcml0ZQDbK8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6066536"/>
  <p:tag name="EMPOWERCHARTSPROPERTIES_B_LENGTH" val="24576"/>
  <p:tag name="DOWN_MIGRATION_INITIAL_LAYOUT_REQUIRED" val="9.2.99"/>
  <p:tag name="RUNTIME_ID" val="09485ac0-0974-42f5-b13d-444dae40911c"/>
</p:tagLst>
</file>

<file path=ppt/tags/tag3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5gsAAAAAAAAAAAAAIAD///////////////8AAAD///////////////8DAAAAAgD///////8DAAAAAgD///////8DAAAAAgD///////////////////////////////////////////////////////////////////////////////////////////////////////////////////////////////////////////////////////////////////////////////////////////////////////////////////////////////////////////////////////////////////////////////////////////////////////////////////////////////////////////////////////////////////////////////////////////////////////////////////////////////////////////////////////////////////////////////8BACAA////////////////AAAO////////AwAAAAMA////////////////////////////////////////////////////////////////////////////////////////////////////////////////////////////////////////////////////////////////////////////////////////////////////////////////////////////////////////////////////////////////////////////////////////////////////////////////////////////////////////////////////////////////////////////////////////////////////////////////////////////////////////////////////////////////////////////////////////////////////////////////////////AgADAP///////wUAAAACABAAC9wEhSbuMXFHjS/VVwxpdgEEAAAAAAADAAAAAAADAAAABAADAAAAAAADAAAABAADAAAAAAD///////8DAAIA////////BQAAAAMAEAALNGt+8nskfEOhtNd/YIFQvQQAAAABAAMAAAAEAAMAAAABAAMAAAAEAP///////wQAAgD///////8FAAAABAAQAAtbbtzq6VzhS5Kt/l+Fcapm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ASFJu4xcUeNL9VXDGl2AQREYXRhAAUAAAAAAk5hbWUADQAAAExpbmtEYXRhTGlzdAAQVmVyc2lvbgABAAAACUxhc3RXcml0ZQDEpouOkQEAAAABAP////9hAGEAAAAFX2lkABAAAAAENGt+8nskfEOhtNd/YIFQvQREYXRhAAUAAAAAAk5hbWUADQAAAExpbmtEYXRhTGlzdAAQVmVyc2lvbgAAAAAACUxhc3RXcml0ZQDDpouOkQEAAAACAP////9wAHAAAAAFX2lkABAAAAAEW27c6ulc4UuSrf5fhXGqZgNEYXRhABYAAAACUGVyc29uYWxJZAABAAAAAAACTmFtZQALAAAAUGVyc29uYWxJZAAQVmVyc2lvbgAAAAAACUxhc3RXcml0ZQDf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CAP///////wUAAAAEAP///////////////////////////////////////////////////////////////////////////////////////////////////////////////////////////////////////////////////////////////////////////////////////////////////////////////////////////////////////////////////////////////////////////////////////////////////////////////////////////////////////////////////////////////////////////////////////////////////////////////////////////////////////////////////////////////wEAIAH///////////////8AAA7///////8FAAAABAD///////////////////////////////////////////////////////////////////////////////////////////////////////////////////////////////////////////////////////////////////////////////////////////////////////////////////////////////////////////////////////////////////////////////////////////////////////////////////////////////////////////////////////////////////////////////////////////////////////////////////////////////////////////////////////////////////////////////////////////////////////////////////////8CAAMBAwAAAAIA////////DgAGTGlua0RhdGFMaXN0XzEEAAAAAAAFAAAAAwAFAAAABAAFAAAAAwAFAAAABAAFAAAAAAAFAAAABAADAAIBAwAAAAMA////////DgAGTGlua0RhdGFMaXN0XzAEAAAAAQAFAAAAAAAFAAAAAgAFAAAAAAAFAAAAAgAEAAQBAwAAAAQA////////DAAGUGVyc29uYWxJZF8wBAAAAAIABQAAAAIABQAAAAE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6198246"/>
  <p:tag name="EMPOWERCHARTSPROPERTIES_B_LENGTH" val="24576"/>
  <p:tag name="DOWN_MIGRATION_INITIAL_LAYOUT_REQUIRED" val="9.2.99"/>
  <p:tag name="RUNTIME_ID" val="39fbfa73-df96-4c19-9462-2b9f527c0a52"/>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kPZHRO0jxOotjaf1JM7RIEAAAAAAADAAAABAADAAAAAwADAAAAAAADAAAAAwADAAIA////////BQAAAAMAEAAL3Az0gUvIPUeixAonLxD4zAQAAAABAAMAAAACAAMAAAABAAMAAAACAP///////wQAAQD///////8FAAAABAAQAAv+TcQQyg/8RLEjnpoQxQq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9kdE7SPE6i2Np/UkztEgREYXRhAAUAAAAAAk5hbWUADQAAAExpbmtEYXRhTGlzdAAQVmVyc2lvbgABAAAACUxhc3RXcml0ZQCbuYuOkQEAAAABAP////9hAGEAAAAFX2lkABAAAAAE3Az0gUvIPUeixAonLxD4zAREYXRhAAUAAAAAAk5hbWUADQAAAExpbmtEYXRhTGlzdAAQVmVyc2lvbgAAAAAACUxhc3RXcml0ZQCauYuOkQEAAAACAP////9wAHAAAAAFX2lkABAAAAAE/k3EEMoP/ESxI56aEMUKsANEYXRhABYAAAACUGVyc29uYWxJZAABAAAAAAACTmFtZQALAAAAUGVyc29uYWxJZAAQVmVyc2lvbgAAAAAACUxhc3RXcml0ZQC4u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74413787"/>
  <p:tag name="EMPOWERCHARTSPROPERTIES_B_LENGTH" val="24576"/>
  <p:tag name="DOWN_MIGRATION_INITIAL_LAYOUT_REQUIRED" val="9.2.99"/>
  <p:tag name="RUNTIME_ID" val="f22223ec-87b4-48ac-bd14-f718e70ccc94"/>
</p:tagLst>
</file>

<file path=ppt/tags/tag3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AgD///////8DAAAABAD///////8DAAAABAD///////////////////////////////////////////////////////////////////////////////////////////////////////////////////////////////////////////////////////////////////////////////////////////////////////////////////////////////////////////////////////////////////////////////////////////////////////////////////////////////////////////////////////////////////////////////////////////////////////////////////////////////////////////////////////////////////////////////8BACAA////////////////AAAO////////AwAAAAQA////////////////////////////////////////////////////////////////////////////////////////////////////////////////////////////////////////////////////////////////////////////////////////////////////////////////////////////////////////////////////////////////////////////////////////////////////////////////////////////////////////////////////////////////////////////////////////////////////////////////////////////////////////////////////////////////////////////////////////////////////////////////////////AgABAP///////wUAAAACABAAC55HDCfasBBAkopmQTS0+9kEAAAAAAADAAAAAAADAAAAAwADAAEA////////BQAAAAMAEAAL2JKkXdKC3U2C7MlSP0w+fQQAAAABAAMAAAACAAMAAAAEAAQAAwD///////8FAAAABAAQAAu++ojLXHwxS4UvWO/7AtgF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kcMJ9qwEECSimZBNLT72QREYXRhAAUAAAAAAk5hbWUADQAAAExpbmtEYXRhTGlzdAAQVmVyc2lvbgABAAAACUxhc3RXcml0ZQCBRgqOkQEAAAABAP////9hAGEAAAAFX2lkABAAAAAE2JKkXdKC3U2C7MlSP0w+fQREYXRhAAUAAAAAAk5hbWUADQAAAExpbmtEYXRhTGlzdAAQVmVyc2lvbgAAAAAACUxhc3RXcml0ZQB7RgqOkQEAAAACAP////9wAHAAAAAFX2lkABAAAAAEvvqIy1x8MUuFL1jv+wLYBQNEYXRhABYAAAACUGVyc29uYWxJZAABAAAAAAACTmFtZQALAAAAUGVyc29uYWxJZAAQVmVyc2lvbgAAAAAACUxhc3RXcml0ZQCdRg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238314708"/>
  <p:tag name="EMPOWERCHARTSPROPERTIES_B_LENGTH" val="24576"/>
  <p:tag name="DOWN_MIGRATION_INITIAL_LAYOUT_REQUIRED" val="9.2.99"/>
  <p:tag name="RUNTIME_ID" val="342bdbbd-bb40-4a8d-8e5f-71a99f2871fa"/>
</p:tagLst>
</file>

<file path=ppt/tags/tag3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79jUh3IcF1Enu5N3qrDH2wEAAAAAAADAAAAAAADAAAAAwADAAQA////////BQAAAAMAEAALxdzhUOMx4EyfPkNE+3ZOpgQAAAABAAMAAAACAAMAAAAEAAMAAAAAAAMAAAAEAAMAAAAAAP///////wMAAAAAAP///////wQAAgD///////8FAAAABAAQAAud7ClsdXn7TLLr2vs3uNi1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2NSHchwXUSe7k3eqsMfbAREYXRhAAUAAAAAAk5hbWUADQAAAExpbmtEYXRhTGlzdAAQVmVyc2lvbgABAAAACUxhc3RXcml0ZQAQLMKOkQEAAAABAP////9hAGEAAAAFX2lkABAAAAAExdzhUOMx4EyfPkNE+3ZOpgREYXRhAAUAAAAAAk5hbWUADQAAAExpbmtEYXRhTGlzdAAQVmVyc2lvbgAAAAAACUxhc3RXcml0ZQAPLMKOkQEAAAACAP////9wAHAAAAAFX2lkABAAAAAEnewpbHV5+0yy69r7N7jYtQNEYXRhABYAAAACUGVyc29uYWxJZAABAAAAAAACTmFtZQALAAAAUGVyc29uYWxJZAAQVmVyc2lvbgAAAAAACUxhc3RXcml0ZQAuLM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6886176"/>
  <p:tag name="EMPOWERCHARTSPROPERTIES_B_LENGTH" val="24576"/>
  <p:tag name="DOWN_MIGRATION_INITIAL_LAYOUT_REQUIRED" val="9.2.99"/>
  <p:tag name="RUNTIME_ID" val="82f81d43-3860-4a81-9a0c-53e371bb768c"/>
</p:tagLst>
</file>

<file path=ppt/tags/tag3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cBAQEBAQEBAQEBAQEBAQMAAAAAAAAAAwAAAAMAAAAA/////wUACgwAAAAAAAAAAAAAIAD///////////////8AAAD///////////////8DAAAAAgD///////8DAAAABAD///////////////////////////////////////////////////////////////////////////////////////////////////////////////////////////////////////////////////////////////////////////////////////////////////////////////////////////////////////////////////////////////////////////////////////////////////////////////////////////////////////////////////////////////////////////////////////////////////////////////////////////////////////////////////////////////////////////////////////////////8BACAA////////////////AAAO////////AwAAAAMA////////////////////////////////////////////////////////////////////////////////////////////////////////////////////////////////////////////////////////////////////////////////////////////////////////////////////////////////////////////////////////////////////////////////////////////////////////////////////////////////////////////////////////////////////////////////////////////////////////////////////////////////////////////////////////////////////////////////////////////////////////////////////////AgABAP///////wUAAAACABAAC5C6/npALnJJoNAp58Gi5A8EAAAAAAADAAAAAAADAAAABAADAAEA////////BQAAAAMAEAAL49rC9H/FS0q0DkQeJLGZuwQAAAABAAMAAAAEAAMAAAABAAQAAgD///////8FAAAABAAQAAvbJrHDm/apSZxgn5uBN8zo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Lr+ekAuckmg0CnnwaLkDwREYXRhAAUAAAAAAk5hbWUADQAAAExpbmtEYXRhTGlzdAAQVmVyc2lvbgAAAAAACUxhc3RXcml0ZQBZLMKOkQEAAAABAP////9hAGEAAAAFX2lkABAAAAAE49rC9H/FS0q0DkQeJLGZuwREYXRhAAUAAAAAAk5hbWUADQAAAExpbmtEYXRhTGlzdAAQVmVyc2lvbgABAAAACUxhc3RXcml0ZQBZLMKOkQEAAAACAP////9wAHAAAAAFX2lkABAAAAAE2yaxw5v2qUmcYJ+bgTfM6ANEYXRhABYAAAACUGVyc29uYWxJZAABAAAAAAACTmFtZQALAAAAUGVyc29uYWxJZAAQVmVyc2lvbgAAAAAACUxhc3RXcml0ZQB6LM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EAP///////wUAAAAEAP///////wUAAAAEAP///////wUAAAAEAP///////wUAAAAEAP///////wUAAAAEAP///////////////////////////////////////////////////////////////////////////////////////////////////////////////////////////////////////////////////////////////////////////////////////////////////////////////////////////////////////////////////////////////////////////////////////////////////////////////////////////////////////////////////////////////////////////////////////////////////////////////wEAIAH///////////////8AAA7///////8FAAAABAD///////////////////////////////////////////////////////////////////////////////////////////////////////////////////////////////////////////////////////////////////////////////////////////////////////////////////////////////////////////////////////////////////////////////////////////////////////////////////////////////////////////////////////////////////////////////////////////////////////////////////////////////////////////////////////////////////////////////////////////////////////////////////////8CAAEBAwAAAAIA////////DgAGTGlua0RhdGFMaXN0XzAEAAAAAAAFAAAAAAAFAAAAAwADAAEBAwAAAAMA////////DgAGTGlua0RhdGFMaXN0XzEEAAAAAQAFAAAAAgAFAAAABAAEAAcBAwAAAAQA////////DAAGUGVyc29uYWxJZF8wBAAAAAIABQAAAAMABQAAAAE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7721710"/>
  <p:tag name="EMPOWERCHARTSPROPERTIES_B_LENGTH" val="24576"/>
  <p:tag name="DOWN_MIGRATION_INITIAL_LAYOUT_REQUIRED" val="9.2.99"/>
  <p:tag name="RUNTIME_ID" val="7b483fa1-3cf5-41d2-945a-cc8da69a6945"/>
</p:tagLst>
</file>

<file path=ppt/tags/tag3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5d0a258e-7a76-4fe0-b240-f08420533895"/>
</p:tagLst>
</file>

<file path=ppt/tags/tag3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wD///////8DAAAAAwD///////////////////////////////////////////////////////////////////////////////////////////////////////////////////////////////////////////////////////////////////////////////////////////////////////////////////////////////////////////////////////////////////////////////////////////////////////////////////////////////////////////////////////////////////////////////////////////////////////////////////////////////////////////////////////////////////////////////8BACAA////////////////AAAO////////AwAAAAMA////////////////////////////////////////////////////////////////////////////////////////////////////////////////////////////////////////////////////////////////////////////////////////////////////////////////////////////////////////////////////////////////////////////////////////////////////////////////////////////////////////////////////////////////////////////////////////////////////////////////////////////////////////////////////////////////////////////////////////////////////////////////////////AgABAP///////wUAAAACABAAC7vuQldct5dBlgEO7WDuIvUEAAAAAAADAAAABAADAAAAAwADAAMA////////BQAAAAMAEAALHgA3eKUUPUSZ43w0aM8ufgQAAAABAAMAAAACAAMAAAABAAMAAAAAAP///////wMAAAAAAP///////wQAAQD///////8FAAAABAAQAAvvP8UgP//KS4a/G9xZDGm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5CV1y3l0GWAQ7tYO4i9QREYXRhAAUAAAAAAk5hbWUADQAAAExpbmtEYXRhTGlzdAAQVmVyc2lvbgAAAAAACUxhc3RXcml0ZQCjbYeOkQEAAAABAP////9hAGEAAAAFX2lkABAAAAAEHgA3eKUUPUSZ43w0aM8ufgREYXRhAAUAAAAAAk5hbWUADQAAAExpbmtEYXRhTGlzdAAQVmVyc2lvbgABAAAACUxhc3RXcml0ZQCxbYeOkQEAAAACAP////9wAHAAAAAFX2lkABAAAAAE7z/FID//ykuGvxvcWQxphANEYXRhABYAAAACUGVyc29uYWxJZAABAAAAAAACTmFtZQALAAAAUGVyc29uYWxJZAAQVmVyc2lvbgAAAAAACUxhc3RXcml0ZQDKbY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9966413"/>
  <p:tag name="EMPOWERCHARTSPROPERTIES_B_LENGTH" val="24576"/>
  <p:tag name="DOWN_MIGRATION_INITIAL_LAYOUT_REQUIRED" val="9.2.99"/>
  <p:tag name="RUNTIME_ID" val="d7cc78bd-3983-4ec1-8619-e0fa9a085c98"/>
</p:tagLst>
</file>

<file path=ppt/tags/tag3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oKJJjyaahDlgu7Qe4lcCcEAAAAAAADAAAABAADAAAAAwADAAIA////////BQAAAAMAEAAL5SEe2CMnQEmTeaBRlXbEHAQAAAABAAMAAAACAAMAAAABAAMAAAAEAP///////wQAAgD///////8FAAAABAAQAAsj4ec1UWlcQIYiIPEMNRf6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okmPJpqEOWC7tB7iVwJwREYXRhAAUAAAAAAk5hbWUADQAAAExpbmtEYXRhTGlzdAAQVmVyc2lvbgABAAAACUxhc3RXcml0ZQDTboeOkQEAAAABAP////9hAGEAAAAFX2lkABAAAAAE5SEe2CMnQEmTeaBRlXbEHAREYXRhAAUAAAAAAk5hbWUADQAAAExpbmtEYXRhTGlzdAAQVmVyc2lvbgAAAAAACUxhc3RXcml0ZQDTboeOkQEAAAACAP////9wAHAAAAAFX2lkABAAAAAEI+HnNVFpXECGIiDxDDUX+gNEYXRhABYAAAACUGVyc29uYWxJZAABAAAAAAACTmFtZQALAAAAUGVyc29uYWxJZAAQVmVyc2lvbgAAAAAACUxhc3RXcml0ZQDrbo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61466240"/>
  <p:tag name="EMPOWERCHARTSPROPERTIES_B_LENGTH" val="24576"/>
  <p:tag name="DOWN_MIGRATION_INITIAL_LAYOUT_REQUIRED" val="9.2.99"/>
  <p:tag name="RUNTIME_ID" val="ae8712a3-80d9-41b0-a6a8-391435443fb1"/>
</p:tagLst>
</file>

<file path=ppt/tags/tag3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6qY/Q4rimlIgIA1CBqQn5oEAAAAAAADAAAAAAADAAAABAADAAIA////////BQAAAAMAEAALB1MGz8FMEUuK4c6uCBidawQAAAABAAMAAAAEAAMAAAABAAMAAAAAAP///////wQAAQD///////8FAAAABAAQAAsIyzI7Iak+SJtLP2fggQ9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pj9DiuKaUiAgDUIGpCfmgREYXRhAAUAAAAAAk5hbWUADQAAAExpbmtEYXRhTGlzdAAQVmVyc2lvbgAAAAAACUxhc3RXcml0ZQAWb4eOkQEAAAABAP////9hAGEAAAAFX2lkABAAAAAEB1MGz8FMEUuK4c6uCBidawREYXRhAAUAAAAAAk5hbWUADQAAAExpbmtEYXRhTGlzdAAQVmVyc2lvbgABAAAACUxhc3RXcml0ZQAWb4eOkQEAAAACAP////9wAHAAAAAFX2lkABAAAAAECMsyOyGpPkibSz9n4IEPcgNEYXRhABYAAAACUGVyc29uYWxJZAABAAAAAAACTmFtZQALAAAAUGVyc29uYWxJZAAQVmVyc2lvbgAAAAAACUxhc3RXcml0ZQAwb4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62948258"/>
  <p:tag name="EMPOWERCHARTSPROPERTIES_B_LENGTH" val="24576"/>
  <p:tag name="DOWN_MIGRATION_INITIAL_LAYOUT_REQUIRED" val="9.2.99"/>
  <p:tag name="RUNTIME_ID" val="36ec267f-3c28-4f63-95a0-6fa10b2d282c"/>
</p:tagLst>
</file>

<file path=ppt/tags/tag3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0886a5dc-3e9a-4f59-a383-b3f0e9d01d2b"/>
</p:tagLst>
</file>

<file path=ppt/tags/tag3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z6BYnImP3hMo22UxJBCZ94EAAAAAAADAAAABAADAAAAAwADAAEA////////BQAAAAMAEAALQcJR8M8KOUSDopxTcxlx9wQAAAABAAMAAAACAAMAAAABAAQAAgD///////8FAAAABAAQAAvYOcgzBiGXRrUN4cLvWndh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oFiciY/eEyjbZTEkEJn3gREYXRhAAUAAAAAAk5hbWUADQAAAExpbmtEYXRhTGlzdAAQVmVyc2lvbgAAAAAACUxhc3RXcml0ZQBgpK6YkQEAAAABAP////9hAGEAAAAFX2lkABAAAAAEQcJR8M8KOUSDopxTcxlx9wREYXRhAAUAAAAAAk5hbWUADQAAAExpbmtEYXRhTGlzdAAQVmVyc2lvbgABAAAACUxhc3RXcml0ZQBhpK6YkQEAAAACAP////9wAHAAAAAFX2lkABAAAAAE2DnIMwYhl0a1DeHC71p3YQNEYXRhABYAAAACUGVyc29uYWxJZAABAAAAAAACTmFtZQALAAAAUGVyc29uYWxJZAAQVmVyc2lvbgAAAAAACUxhc3RXcml0ZQB8pK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79243321"/>
  <p:tag name="EMPOWERCHARTSPROPERTIES_B_LENGTH" val="24576"/>
  <p:tag name="DOWN_MIGRATION_INITIAL_LAYOUT_REQUIRED" val="9.2.99"/>
  <p:tag name="RUNTIME_ID" val="f29bb4f7-d3d2-4ed3-84fa-e1d6343eba92"/>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gD///////8DAAAAAgD///////8DAAAAAgD///////////////////////////////////////////////////////////////////////////////////////////////////////////////////////////////////////////////////////////////////////////////////////////////////////////////////////////////////////////////////////////////////////////////////////////////////////////////////////////////////////////////////////////////////////////////////////////////////////////////////////////////////////////////8BACAA////////////////AAAO////////AwAAAAMA////////////////////////////////////////////////////////////////////////////////////////////////////////////////////////////////////////////////////////////////////////////////////////////////////////////////////////////////////////////////////////////////////////////////////////////////////////////////////////////////////////////////////////////////////////////////////////////////////////////////////////////////////////////////////////////////////////////////////////////////////////////////////////AgAFAP///////wUAAAACABAACxEde6pt8UpLkQctAphiZ20EAAAAAAADAAAAAAADAAAABAADAAAAAAADAAAAAwADAAAAAAD///////8DAAAAAAD///////8DAAAAAAD///////8DAAIA////////BQAAAAMAEAAL82de6w8DskCkUEup7hoE2gQAAAABAAMAAAAEAAMAAAABAAMAAAACAP///////wQAAQD///////8FAAAABAAQAAuitbrkzAOqRrXieqPyd9D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R17qm3xSkuRBy0CmGJnbQREYXRhAAUAAAAAAk5hbWUADQAAAExpbmtEYXRhTGlzdAAQVmVyc2lvbgABAAAACUxhc3RXcml0ZQCDpq6YkQEAAAABAP////9hAGEAAAAFX2lkABAAAAAE82de6w8DskCkUEup7hoE2gREYXRhAAUAAAAAAk5hbWUADQAAAExpbmtEYXRhTGlzdAAQVmVyc2lvbgAAAAAACUxhc3RXcml0ZQCDpq6YkQEAAAACAP////9wAHAAAAAFX2lkABAAAAAEorW65MwDqka14nqj8nfQ4QNEYXRhABYAAAACUGVyc29uYWxJZAABAAAAAAACTmFtZQALAAAAUGVyc29uYWxJZAAQVmVyc2lvbgAAAAAACUxhc3RXcml0ZQCbpq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UAAAACAP///////////////////////////////////////////////////////////////////////////////////////////////////////////////////////////////////////////////////////////////////////////////////////////////////////////////////////////////////////////////////////////////////////////////////////////////////////////////////////////////////////////////////////////////////////////////////////////////////////////////////////////////////////////////wEAIAH///////////////8AAA7///////8FAAAABAD///////////////////////////////////////////////////////////////////////////////////////////////////////////////////////////////////////////////////////////////////////////////////////////////////////////////////////////////////////////////////////////////////////////////////////////////////////////////////////////////////////////////////////////////////////////////////////////////////////////////////////////////////////////////////////////////////////////////////////////////////////////////////////8CAAUBAwAAAAIA////////DgAGTGlua0RhdGFMaXN0XzEEAAAAAAAFAAAAAwAFAAAABAAFAAAAAwD///////8FAAAAAA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4645535"/>
  <p:tag name="EMPOWERCHARTSPROPERTIES_B_LENGTH" val="24576"/>
  <p:tag name="DOWN_MIGRATION_INITIAL_LAYOUT_REQUIRED" val="9.2.99"/>
  <p:tag name="RUNTIME_ID" val="0dcfc86c-bddf-4786-b137-08fc2b6eda31"/>
</p:tagLst>
</file>

<file path=ppt/tags/tag3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zeA1AqEUtZNssEbnIbJJ/AEAAAAAAADAAAAAAADAAAAAwADAAQA////////BQAAAAMAEAAL3MyvjHlL2kSoBWB0p9leCQQAAAABAAMAAAACAAMAAAAEAAMAAAAAAAMAAAAEAAMAAAAAAP///////wMAAAAAAP///////wQAAgD///////8FAAAABAAQAAug90LlBGyyRYbQnIq4AAAT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4DUCoRS1k2ywRuchskn8AREYXRhAAUAAAAAAk5hbWUADQAAAExpbmtEYXRhTGlzdAAQVmVyc2lvbgAAAAAACUxhc3RXcml0ZQATp66YkQEAAAABAP////9hAGEAAAAFX2lkABAAAAAE3MyvjHlL2kSoBWB0p9leCQREYXRhAAUAAAAAAk5hbWUADQAAAExpbmtEYXRhTGlzdAAQVmVyc2lvbgABAAAACUxhc3RXcml0ZQATp66YkQEAAAACAP////9wAHAAAAAFX2lkABAAAAAEoPdC5QRsskWG0JyKuAAAEwNEYXRhABYAAAACUGVyc29uYWxJZAABAAAAAAACTmFtZQALAAAAUGVyc29uYWxJZAAQVmVyc2lvbgAAAAAACUxhc3RXcml0ZQArp6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6102514"/>
  <p:tag name="EMPOWERCHARTSPROPERTIES_B_LENGTH" val="24576"/>
  <p:tag name="DOWN_MIGRATION_INITIAL_LAYOUT_REQUIRED" val="9.2.99"/>
  <p:tag name="RUNTIME_ID" val="1ed7f87a-863b-47b6-a081-e492fc7edee1"/>
</p:tagLst>
</file>

<file path=ppt/tags/tag3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5d0a258e-7a76-4fe0-b240-f08420533895"/>
</p:tagLst>
</file>

<file path=ppt/tags/tag3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wgsAAAAAAAAAAAAAIAD///////////////8AAAD///////////////8DAAAAAgD///////8DAAAAAgD///////8DAAAAAgD///////8DAAAAAgD///////8DAAAAAgD///////8DAAAAAgD///////8DAAAAAgD///////////////////////////////////////////////////////////////////////////////////////////////////////////////////////////////////////////////////////////////////////////////////////////////////////////////////////////////////////////////////////////////////////////////////////////////////////////////////////////////////////////////////////////////////////////////////////////////////////////////8BACAA////////////////AAAO////////AwAAAAQA////////////////////////////////////////////////////////////////////////////////////////////////////////////////////////////////////////////////////////////////////////////////////////////////////////////////////////////////////////////////////////////////////////////////////////////////////////////////////////////////////////////////////////////////////////////////////////////////////////////////////////////////////////////////////////////////////////////////////////////////////////////////////////AgAHAP///////wUAAAACABAAC7J1VAGMaKVJnBx5m8/67toEAAAAAAADAAAAAAADAAAAAwADAAAAAAADAAAABAADAAAAAAD///////8DAAAAAAD///////8DAAAAAAD///////8DAAAAAAD///////8DAAAAAAD///////8DAAEA////////BQAAAAMAEAALIFzBh+QslkWGJgkCBkYTsgQAAAABAAMAAAACAAMAAAAEAAQAAgD///////8FAAAABAAQAAuINFWs/mEhQLRMfEEVVUnI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nVUAYxopUmcHHmbz/ru2gREYXRhAAUAAAAAAk5hbWUADQAAAExpbmtEYXRhTGlzdAAQVmVyc2lvbgAAAAAACUxhc3RXcml0ZQCanWFDkgEAAAABAP////9hAGEAAAAFX2lkABAAAAAEIFzBh+QslkWGJgkCBkYTsgREYXRhAAUAAAAAAk5hbWUADQAAAExpbmtEYXRhTGlzdAAQVmVyc2lvbgABAAAACUxhc3RXcml0ZQChnWFDkgEAAAACAP////9wAHAAAAAFX2lkABAAAAAEiDRVrP5hIUC0THxBFVVJyANEYXRhABYAAAACUGVyc29uYWxJZAABAAAAAAACTmFtZQALAAAAUGVyc29uYWxJZAAQVmVyc2lvbgAAAAAACUxhc3RXcml0ZQC6nWF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CAP///////wUAAAACAP///////wUAAAACAP///////wUAAAACAP///////wUAAAACAP///////wUAAAACAP///////////////////////////////////////////////////////////////////////////////////////////////////////////////////////////////////////////////////////////////////////////////////////////////////////////////////////////////////////////////////////////////////////////////////////////////////////////////////////////////////////////////////////////////////////////////////////////////////////////////wEAIAH///////////////8AAA7///////8FAAAABAD///////////////////////////////////////////////////////////////////////////////////////////////////////////////////////////////////////////////////////////////////////////////////////////////////////////////////////////////////////////////////////////////////////////////////////////////////////////////////////////////////////////////////////////////////////////////////////////////////////////////////////////////////////////////////////////////////////////////////////////////////////////////////////8CAAcBAwAAAAIA////////DgAGTGlua0RhdGFMaXN0XzAEAAAAAAAFAAAAAAAFAAAAAwAFAAAAAAAFAAAABAAFAAAAAAD///////8FAAAAAAD///////8FAAAAAAD///////8FAAAAAAD///////8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41238709674"/>
  <p:tag name="EMPOWERCHARTSPROPERTIES_B_LENGTH" val="24576"/>
  <p:tag name="DOWN_MIGRATION_INITIAL_LAYOUT_REQUIRED" val="9.2.99"/>
  <p:tag name="RUNTIME_ID" val="cfdeb10e-ee43-4a9e-a6a0-b66ce69bd3c5"/>
</p:tagLst>
</file>

<file path=ppt/tags/tag3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x6VAKVpeLhLjAD3CWMM8LIEAAAAAAADAAAABAADAAAAAwADAAAAAAD///////8DAAEA////////BQAAAAMAEAAL18ic2CaYtkCU6W1UcdmZxgQAAAABAAMAAAACAAMAAAABAAQAAQD///////8FAAAABAAQAAugNd+DPUQqTrQVxR60kpwZ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pUApWl4uEuMAPcJYwzwsgREYXRhAAUAAAAAAk5hbWUADQAAAExpbmtEYXRhTGlzdAAQVmVyc2lvbgAAAAAACUxhc3RXcml0ZQCxXUhDkgEAAAABAP////9hAGEAAAAFX2lkABAAAAAE18ic2CaYtkCU6W1UcdmZxgREYXRhAAUAAAAAAk5hbWUADQAAAExpbmtEYXRhTGlzdAAQVmVyc2lvbgABAAAACUxhc3RXcml0ZQC1XUhDkgEAAAACAP////9wAHAAAAAFX2lkABAAAAAEoDXfgz1EKk60FcUetJKcGQNEYXRhABYAAAACUGVyc29uYWxJZAABAAAAAAACTmFtZQALAAAAUGVyc29uYWxJZAAQVmVyc2lvbgAAAAAACUxhc3RXcml0ZQDVX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EAP///////////////////////////////////////////////////////////////////////////////////////////////////////////////////////////////////////////////////////////////////////////////////////////////////////////////////////////////////////////////////////////////////////////////////////////////////////////////////////////////////////////////////////////////////////////////////////////////////////////////////////////////////////////////////////////////////////////////wEAIAH///////////////8AAA7///////8FAAAABAD///////////////////////////////////////////////////////////////////////////////////////////////////////////////////////////////////////////////////////////////////////////////////////////////////////////////////////////////////////////////////////////////////////////////////////////////////////////////////////////////////////////////////////////////////////////////////////////////////////////////////////////////////////////////////////////////////////////////////////////////////////////////////////8CAAIBAwAAAAIA////////DgAGTGlua0RhdGFMaXN0XzAEAAAAAAAFAAAAAAAFAAAAAwAFAAAAAAAFAAAABAADAAEBAwAAAAMA////////DgAGTGlua0RhdGFMaXN0XzEEAAAAAQAFAAAAAgAFAAAABAAEAAMBAwAAAAQA////////DAAGUGVyc29uYWxJZF8wBAAAAAIABQAAAAM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1016257"/>
  <p:tag name="EMPOWERCHARTSPROPERTIES_B_LENGTH" val="24576"/>
  <p:tag name="DOWN_MIGRATION_INITIAL_LAYOUT_REQUIRED" val="9.2.99"/>
  <p:tag name="RUNTIME_ID" val="059ccd80-c7e6-49a7-a63b-d29e7aefeda7"/>
</p:tagLst>
</file>

<file path=ppt/tags/tag3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8gsAAAAAAAAAAAAAIAD///////////////8AAAD///////////////8DAAAABAD///////8DAAAABAD///////8DAAAABAD///////8DAAAABAD///////////////////////////////////////////////////////////////////////////////////////////////////////////////////////////////////////////////////////////////////////////////////////////////////////////////////////////////////////////////////////////////////////////////////////////////////////////////////////////////////////////////////////////////////////////////////////////////////////////////////////////////////////////////////////////////8BACAA////////////////AAAO////////AwAAAAMA////////////////////////////////////////////////////////////////////////////////////////////////////////////////////////////////////////////////////////////////////////////////////////////////////////////////////////////////////////////////////////////////////////////////////////////////////////////////////////////////////////////////////////////////////////////////////////////////////////////////////////////////////////////////////////////////////////////////////////////////////////////////////////AgABAP///////wUAAAACABAACy9gNKadw6FNv/TkpPWUtoYEAAAAAAADAAAABAADAAAAAwADAAEA////////BQAAAAMAEAALjB6wva/eT0y1764cTeAmFwQAAAABAAMAAAACAAMAAAABAAQABAD///////8FAAAABAAQAAucA+KZk+1eSY/2qO+emnlWBAAAAAIAAwAAAAA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2A0pp3DoU2/9OSk9ZS2hgREYXRhAAUAAAAAAk5hbWUADQAAAExpbmtEYXRhTGlzdAAQVmVyc2lvbgAAAAAACUxhc3RXcml0ZQAEXkhDkgEAAAABAP////9hAGEAAAAFX2lkABAAAAAEjB6wva/eT0y1764cTeAmFwREYXRhAAUAAAAAAk5hbWUADQAAAExpbmtEYXRhTGlzdAAQVmVyc2lvbgABAAAACUxhc3RXcml0ZQALXkhDkgEAAAACAP////9wAHAAAAAFX2lkABAAAAAEnAPimZPtXkmP9qjvnpp5VgNEYXRhABYAAAACUGVyc29uYWxJZAABAAAAAAACTmFtZQALAAAAUGVyc29uYWxJZAAQVmVyc2lvbgAAAAAACUxhc3RXcml0ZQApX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1889523"/>
  <p:tag name="EMPOWERCHARTSPROPERTIES_B_LENGTH" val="24576"/>
  <p:tag name="DOWN_MIGRATION_INITIAL_LAYOUT_REQUIRED" val="9.2.99"/>
  <p:tag name="RUNTIME_ID" val="443707db-8dac-4d6f-aca7-8be3b9c135ef"/>
</p:tagLst>
</file>

<file path=ppt/tags/tag3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QA////////////////////////////////////////////////////////////////////////////////////////////////////////////////////////////////////////////////////////////////////////////////////////////////////////////////////////////////////////////////////////////////////////////////////////////////////////////////////////////////////////////////////////////////////////////////////////////////////////////////////////////////////////////////////////////////////////////////////////////////////////////////////////AgADAP///////wUAAAACABAAC8mWggb2cpJEoJB6gpArD6cEAAAAAAADAAAAAAADAAAAAwADAAAAAAADAAAAAwADAAAAAAD///////8DAAIA////////BQAAAAMAEAALEBiqKpsaXkuc+VOpyxq4egQAAAABAAMAAAACAAMAAAAEAAMAAAACAP///////wQAAQD///////8FAAAABAAQAAs1g5OPLX2oToBhuln9bh4w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ZaCBvZykkSgkHqCkCsPpwREYXRhAAUAAAAAAk5hbWUADQAAAExpbmtEYXRhTGlzdAAQVmVyc2lvbgABAAAACUxhc3RXcml0ZQBXXkhDkgEAAAABAP////9hAGEAAAAFX2lkABAAAAAEEBiqKpsaXkuc+VOpyxq4egREYXRhAAUAAAAAAk5hbWUADQAAAExpbmtEYXRhTGlzdAAQVmVyc2lvbgAAAAAACUxhc3RXcml0ZQBXXkhDkgEAAAACAP////9wAHAAAAAFX2lkABAAAAAENYOTjy19qE6AYbpZ/W4eMANEYXRhABYAAAACUGVyc29uYWxJZAABAAAAAAACTmFtZQALAAAAUGVyc29uYWxJZAAQVmVyc2lvbgAAAAAACUxhc3RXcml0ZQB5X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2662940"/>
  <p:tag name="EMPOWERCHARTSPROPERTIES_B_LENGTH" val="24576"/>
  <p:tag name="DOWN_MIGRATION_INITIAL_LAYOUT_REQUIRED" val="9.2.99"/>
  <p:tag name="RUNTIME_ID" val="c7be9504-f4d8-4053-b322-4f77bc3a7ccd"/>
</p:tagLst>
</file>

<file path=ppt/tags/tag3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MA////////////////////////////////////////////////////////////////////////////////////////////////////////////////////////////////////////////////////////////////////////////////////////////////////////////////////////////////////////////////////////////////////////////////////////////////////////////////////////////////////////////////////////////////////////////////////////////////////////////////////////////////////////////////////////////////////////////////////////////////////////////////////////AgABAP///////wUAAAACABAAC1QEbxcPR9FKpS/F6VRei5gEAAAAAAADAAAAAAADAAAABAADAAEA////////BQAAAAMAEAALX6sPeO6rOkSHS/dGSueVkwQAAAABAAMAAAAEAAMAAAABAAQAAwD///////8FAAAABAAQAAvxKD5HJuJoS5Zyv7FpN/gf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ARvFw9H0UqlL8XpVF6LmAREYXRhAAUAAAAAAk5hbWUADQAAAExpbmtEYXRhTGlzdAAQVmVyc2lvbgABAAAACUxhc3RXcml0ZQC8XkhDkgEAAAABAP////9hAGEAAAAFX2lkABAAAAAEX6sPeO6rOkSHS/dGSueVkwREYXRhAAUAAAAAAk5hbWUADQAAAExpbmtEYXRhTGlzdAAQVmVyc2lvbgAAAAAACUxhc3RXcml0ZQCqXkhDkgEAAAACAP////9wAHAAAAAFX2lkABAAAAAE8Sg+RybiaEuWcr+xaTf4HwNEYXRhABYAAAACUGVyc29uYWxJZAABAAAAAAACTmFtZQALAAAAUGVyc29uYWxJZAAQVmVyc2lvbgAAAAAACUxhc3RXcml0ZQDXX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3598844"/>
  <p:tag name="EMPOWERCHARTSPROPERTIES_B_LENGTH" val="24576"/>
  <p:tag name="DOWN_MIGRATION_INITIAL_LAYOUT_REQUIRED" val="9.2.99"/>
  <p:tag name="RUNTIME_ID" val="379df757-600a-4cd9-8093-9198625a1b7b"/>
</p:tagLst>
</file>

<file path=ppt/tags/tag3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00OWmHviq9Dno8Bfa5Yd/QEAAAAAAADAAAAAAADAAAAAwADAAIA////////BQAAAAMAEAALBbRlnoNGAkSBZdWl8Fy4yAQAAAABAAMAAAACAAMAAAAEAAMAAAAAAP///////wQAAQD///////8FAAAABAAQAAsmVjLdRdJsRKTBoeKqcMIe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Q5aYe+Kr0OejwF9rlh39AREYXRhAAUAAAAAAk5hbWUADQAAAExpbmtEYXRhTGlzdAAQVmVyc2lvbgABAAAACUxhc3RXcml0ZQCvX0hDkgEAAAABAP////9hAGEAAAAFX2lkABAAAAAEBbRlnoNGAkSBZdWl8Fy4yAREYXRhAAUAAAAAAk5hbWUADQAAAExpbmtEYXRhTGlzdAAQVmVyc2lvbgAAAAAACUxhc3RXcml0ZQCiX0hDkgEAAAACAP////9wAHAAAAAFX2lkABAAAAAEJlYy3UXSbESkwaHiqnDCHgNEYXRhABYAAAACUGVyc29uYWxJZAABAAAAAAACTmFtZQALAAAAUGVyc29uYWxJZAAQVmVyc2lvbgAAAAAACUxhc3RXcml0ZQDkX0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6271911"/>
  <p:tag name="EMPOWERCHARTSPROPERTIES_B_LENGTH" val="24576"/>
  <p:tag name="DOWN_MIGRATION_INITIAL_LAYOUT_REQUIRED" val="9.2.99"/>
  <p:tag name="RUNTIME_ID" val="e6e8e58a-b57c-4d3e-9f15-dfc984058ecd"/>
</p:tagLst>
</file>

<file path=ppt/tags/tag339.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FOCRn1t/1NlwYaDufmwBMEAAAAAAADAAAAAAADAAAAAwADAAAAAAADAAAABAADAAEA////////BQAAAAMAEAAL2UGZnIa2AkuDE/2mJVLkwgQAAAABAAMAAAACAAMAAAAEAAQAAgD///////8FAAAABAAQAAtx3jStcY8aR52F+dWy86EN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U4JGfW3/U2XBhoO5+bAEwREYXRhAAUAAAAAAk5hbWUADQAAAExpbmtEYXRhTGlzdAAQVmVyc2lvbgAAAAAACUxhc3RXcml0ZQANYEhDkgEAAAABAP////9hAGEAAAAFX2lkABAAAAAE2UGZnIa2AkuDE/2mJVLkwgREYXRhAAUAAAAAAk5hbWUADQAAAExpbmtEYXRhTGlzdAAQVmVyc2lvbgABAAAACUxhc3RXcml0ZQAOYEhDkgEAAAACAP////9wAHAAAAAFX2lkABAAAAAEcd40rXGPGkedhfnVsvOhDQNEYXRhABYAAAACUGVyc29uYWxJZAABAAAAAAACTmFtZQALAAAAUGVyc29uYWxJZAAQVmVyc2lvbgAAAAAACUxhc3RXcml0ZQAnY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6944061"/>
  <p:tag name="EMPOWERCHARTSPROPERTIES_B_LENGTH" val="24576"/>
  <p:tag name="DOWN_MIGRATION_INITIAL_LAYOUT_REQUIRED" val="9.2.99"/>
  <p:tag name="RUNTIME_ID" val="9360e5b4-cf99-48bc-ac83-fb5c7e556902"/>
</p:tagLst>
</file>

<file path=ppt/tags/tag3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40.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wD///////8DAAAAAwD///////8DAAAAAwD///////8DAAAAAwD///////////////////////////////////////////////////////////////////////////////////////////////////////////////////////////////////////////////////////////////////////////////////////////////////////////////////////////////////////////////////////////////////////////////////////////////////////////////////////////////////////////////////////////////////////////////////////////////////////////////////////////////////////////////8BACAA////////////////AAAO////////AwAAAAQA////////////////////////////////////////////////////////////////////////////////////////////////////////////////////////////////////////////////////////////////////////////////////////////////////////////////////////////////////////////////////////////////////////////////////////////////////////////////////////////////////////////////////////////////////////////////////////////////////////////////////////////////////////////////////////////////////////////////////////////////////////////////////////AgABAP///////wUAAAACABAAC5+TPz6/WI1PlnSSYDgOtlYEAAAAAAADAAAAAAADAAAAAwADAAUA////////BQAAAAMAEAALz4PKSEse30OXZi7gYh4KqwQAAAABAAMAAAACAAMAAAAEAAMAAAAAAAMAAAAEAAMAAAAAAP///////wMAAAAAAP///////wMAAAAAAP///////wQAAgD///////8FAAAABAAQAAt9pfGjE8kdRae4N5i2OIhg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5M/Pr9YjU+WdJJgOA62VgREYXRhAAUAAAAAAk5hbWUADQAAAExpbmtEYXRhTGlzdAAQVmVyc2lvbgAAAAAACUxhc3RXcml0ZQBPYEhDkgEAAAABAP////9hAGEAAAAFX2lkABAAAAAEz4PKSEse30OXZi7gYh4KqwREYXRhAAUAAAAAAk5hbWUADQAAAExpbmtEYXRhTGlzdAAQVmVyc2lvbgABAAAACUxhc3RXcml0ZQBQYEhDkgEAAAACAP////9wAHAAAAAFX2lkABAAAAAEfaXxoxPJHUWnuDeYtjiIYANEYXRhABYAAAACUGVyc29uYWxJZAABAAAAAAACTmFtZQALAAAAUGVyc29uYWxJZAAQVmVyc2lvbgAAAAAACUxhc3RXcml0ZQBoY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EAIAH///////////////8AAA7///////8FAAAABAD///////////////////////////////////////////////////////////////////////////////////////////////////////////////////////////////////////////////////////////////////////////////////////////////////////////////////////////////////////////////////////////////////////////////////////////////////////////////////////////////////////////////////////////////////////////////////////////////////////////////////////////////////////////////////////////////////////////////////////////////////////////////////////8CAAEBAwAAAAIA////////DgAGTGlua0RhdGFMaXN0XzAEAAAAAAAFAAAAAAAFAAAAAwADAAUBAwAAAAMA////////DgAGTGlua0RhdGFMaXN0XzEEAAAAAQAFAAAAAgAFAAAABAAFAAAAAA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7605823"/>
  <p:tag name="EMPOWERCHARTSPROPERTIES_B_LENGTH" val="24576"/>
  <p:tag name="DOWN_MIGRATION_INITIAL_LAYOUT_REQUIRED" val="9.2.99"/>
  <p:tag name="RUNTIME_ID" val="0bf4a319-d1bd-4098-a0f6-bc1a61e3d2f9"/>
</p:tagLst>
</file>

<file path=ppt/tags/tag341.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zgsAAAAAAAAAAAAAIAD///////////////8AAAD///////////////8DAAAABAD///////8DAAAAAwD///////8DAAAAAwD///////8DAAAAAwD///////8DAAAAAwD///////8DAAAAAwD///////8DAAAAAwD///////////////////////////////////////////////////////////////////////////////////////////////////////////////////////////////////////////////////////////////////////////////////////////////////////////////////////////////////////////////////////////////////////////////////////////////////////////////////////////////////////////////////////////////////////////////////////////////////////////////8BACAA////////////////AAAO////////AwAAAAMA////////////////////////////////////////////////////////////////////////////////////////////////////////////////////////////////////////////////////////////////////////////////////////////////////////////////////////////////////////////////////////////////////////////////////////////////////////////////////////////////////////////////////////////////////////////////////////////////////////////////////////////////////////////////////////////////////////////////////////////////////////////////////////AgABAP///////wUAAAACABAAC5jGcbYASM5Hqv0k9QFSWFIEAAAAAAADAAAABAADAAAAAwADAAcA////////BQAAAAMAEAALEBXt+0/quEaYgztOQmdSrQQAAAABAAMAAAACAAMAAAABAAMAAAAAAP///////wMAAAAAAP///////wMAAAAAAP///////wMAAAAAAP///////wMAAAAAAP///////wMAAAAAAP///////wQAAQD///////8FAAAABAAQAAsRN9aB2OPNSpCVp1aeBM5o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MZxtgBIzkeq/ST1AVJYUgREYXRhAAUAAAAAAk5hbWUADQAAAExpbmtEYXRhTGlzdAAQVmVyc2lvbgAAAAAACUxhc3RXcml0ZQCYYEhDkgEAAAABAP////9hAGEAAAAFX2lkABAAAAAEEBXt+0/quEaYgztOQmdSrQREYXRhAAUAAAAAAk5hbWUADQAAAExpbmtEYXRhTGlzdAAQVmVyc2lvbgABAAAACUxhc3RXcml0ZQCZYEhDkgEAAAACAP////9wAHAAAAAFX2lkABAAAAAEETfWgdjjzUqQladWngTOaANEYXRhABYAAAACUGVyc29uYWxJZAABAAAAAAACTmFtZQALAAAAUGVyc29uYWxJZAAQVmVyc2lvbgAAAAAACUxhc3RXcml0ZQCxY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KCwAAAAAAAAAAAAAgAf///////////////wAAAP///////////////wUAAAACAP///////wUAAAADAP///////wUAAAADAP///////wUAAAADAP///////wUAAAADAP///////wUAAAADAP///////wUAAAADAP///////////////////////////////////////////////////////////////////////////////////////////////////////////////////////////////////////////////////////////////////////////////////////////////////////////////////////////////////////////////////////////////////////////////////////////////////////////////////////////////////////////////////////////////////////////////////////////////////////////////wEAIAH///////////////8AAA7///////8FAAAABAD///////////////////////////////////////////////////////////////////////////////////////////////////////////////////////////////////////////////////////////////////////////////////////////////////////////////////////////////////////////////////////////////////////////////////////////////////////////////////////////////////////////////////////////////////////////////////////////////////////////////////////////////////////////////////////////////////////////////////////////////////////////////////////8CAAEBAwAAAAIA////////DgAGTGlua0RhdGFMaXN0XzAEAAAAAAAFAAAAAAAFAAAAAwADAAcBAwAAAAMA////////DgAGTGlua0RhdGFMaXN0XzEEAAAAAQAFAAAAAgAFAAAABAAFAAAAAAAFAAAABAAFAAAAAAD///////8FAAAAAAD///////8FAAAAAA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8401776"/>
  <p:tag name="EMPOWERCHARTSPROPERTIES_B_LENGTH" val="24576"/>
  <p:tag name="DOWN_MIGRATION_INITIAL_LAYOUT_REQUIRED" val="9.2.99"/>
  <p:tag name="RUNTIME_ID" val="27c1bfff-556f-466c-a45c-c0eb2b9c13ab"/>
</p:tagLst>
</file>

<file path=ppt/tags/tag342.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MAAAAAAAAAAwAAAAMAAAAA/////wUAzgsAAAAAAAAAAAAAIAD///////////////8AAAD///////////////8DAAAAAgD///////8DAAAABAD///////8DAAAABAD///////8DAAAABAD///////8DAAAABAD///////8DAAAABAD///////8DAAAABAD///////////////////////////////////////////////////////////////////////////////////////////////////////////////////////////////////////////////////////////////////////////////////////////////////////////////////////////////////////////////////////////////////////////////////////////////////////////////////////////////////////////////////////////////////////////////////////////////////////////////8BACAA////////////////AAAO////////AwAAAAMA////////////////////////////////////////////////////////////////////////////////////////////////////////////////////////////////////////////////////////////////////////////////////////////////////////////////////////////////////////////////////////////////////////////////////////////////////////////////////////////////////////////////////////////////////////////////////////////////////////////////////////////////////////////////////////////////////////////////////////////////////////////////////////AgABAP///////wUAAAACABAAC/6VZ36QQdhNoAH/KWMgDmQEAAAAAAADAAAAAAADAAAABAADAAEA////////BQAAAAMAEAALllczuO90C0y+GLcyAlHDNQQAAAABAAMAAAAEAAMAAAABAAQABwD///////8FAAAABAAQAAuNZZ6IBoj5S46NMQCIFr0BBAAAAAIAAwAAAAIAAwAAAAM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VnfpBB2E2gAf8pYyAOZAREYXRhAAUAAAAAAk5hbWUADQAAAExpbmtEYXRhTGlzdAAQVmVyc2lvbgABAAAACUxhc3RXcml0ZQDlYEhDkgEAAAABAP////9hAGEAAAAFX2lkABAAAAAEllczuO90C0y+GLcyAlHDNQREYXRhAAUAAAAAAk5hbWUADQAAAExpbmtEYXRhTGlzdAAQVmVyc2lvbgAAAAAACUxhc3RXcml0ZQDhYEhDkgEAAAACAP////9wAHAAAAAFX2lkABAAAAAEjWWeiAaI+UuOjTEAiBa9AQNEYXRhABYAAAACUGVyc29uYWxJZAABAAAAAAACTmFtZQALAAAAUGVyc29uYWxJZAAQVmVyc2lvbgAAAAAACUxhc3RXcml0ZQAAY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9147012"/>
  <p:tag name="EMPOWERCHARTSPROPERTIES_B_LENGTH" val="24576"/>
  <p:tag name="DOWN_MIGRATION_INITIAL_LAYOUT_REQUIRED" val="9.2.99"/>
  <p:tag name="RUNTIME_ID" val="99cc46f5-ce94-4e44-a851-f6ff55064bbf"/>
</p:tagLst>
</file>

<file path=ppt/tags/tag3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wgsAAAAAAAAAAAAAIAD///////////////8AAAD///////////////8DAAAAAgD///////8DAAAAAgD///////8DAAAAAgD///////8DAAAAAgD///////////////////////////////////////////////////////////////////////////////////////////////////////////////////////////////////////////////////////////////////////////////////////////////////////////////////////////////////////////////////////////////////////////////////////////////////////////////////////////////////////////////////////////////////////////////////////////////////////////////////////////////////////////////////////////////8BACAA////////////////AAAO////////AwAAAAMA////////////////////////////////////////////////////////////////////////////////////////////////////////////////////////////////////////////////////////////////////////////////////////////////////////////////////////////////////////////////////////////////////////////////////////////////////////////////////////////////////////////////////////////////////////////////////////////////////////////////////////////////////////////////////////////////////////////////////////////////////////////////////////AgAEAP///////wUAAAACABAAC3VABGxtKT9HlYtGmh7KhjoEAAAAAAADAAAAAAADAAAABAADAAAAAAADAAAABAADAAAAAAADAAAABAADAAAAAAADAAAABAADAAIA////////BQAAAAMAEAAL2b2Nwcc0B0qg+LcecAL8qAQAAAABAAMAAAAEAAMAAAABAAMAAAAEAP///////wQABAD///////8FAAAABAAQAAt4WeOrQucpQKlihNd4SWHqBAAAAAIAAwAAAAIAAwAAAAM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UAEbG0pP0eVi0aaHsqGOgREYXRhAAUAAAAAAk5hbWUADQAAAExpbmtEYXRhTGlzdAAQVmVyc2lvbgABAAAACUxhc3RXcml0ZQAqYUhDkgEAAAABAP////9hAGEAAAAFX2lkABAAAAAE2b2Nwcc0B0qg+LcecAL8qAREYXRhAAUAAAAAAk5hbWUADQAAAExpbmtEYXRhTGlzdAAQVmVyc2lvbgAAAAAACUxhc3RXcml0ZQApYUhDkgEAAAACAP////9wAHAAAAAFX2lkABAAAAAEeFnjq0LnKUCpYoTXeElh6gNEYXRhABYAAAACUGVyc29uYWxJZAABAAAAAAACTmFtZQALAAAAUGVyc29uYWxJZAAQVmVyc2lvbgAAAAAACUxhc3RXcml0ZQBKY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699860237"/>
  <p:tag name="EMPOWERCHARTSPROPERTIES_B_LENGTH" val="24576"/>
  <p:tag name="DOWN_MIGRATION_INITIAL_LAYOUT_REQUIRED" val="9.2.99"/>
  <p:tag name="RUNTIME_ID" val="cc54485f-de36-4294-9c4e-96ffb6cb0c7c"/>
</p:tagLst>
</file>

<file path=ppt/tags/tag3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76r/FMjM/BIiLljxQmsVBQEAAAAAAADAAAAAAADAAAABAADAAIA////////BQAAAAMAEAAL+iVRqL8NIkiDa6VldKqelgQAAAABAAMAAAAEAAMAAAABAAMAAAAAAP///////wQAAQD///////8FAAAABAAQAAudi+NwGRPYQ5gFib3z439Z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qv8UyMz8EiIuWPFCaxUFAREYXRhAAUAAAAAAk5hbWUADQAAAExpbmtEYXRhTGlzdAAQVmVyc2lvbgAAAAAACUxhc3RXcml0ZQB4YUhDkgEAAAABAP////9hAGEAAAAFX2lkABAAAAAE+iVRqL8NIkiDa6VldKqelgREYXRhAAUAAAAAAk5hbWUADQAAAExpbmtEYXRhTGlzdAAQVmVyc2lvbgABAAAACUxhc3RXcml0ZQB6YUhDkgEAAAACAP////9wAHAAAAAFX2lkABAAAAAEnYvjcBkT2EOYBYm98+N/WQNEYXRhABYAAAACUGVyc29uYWxJZAABAAAAAAACTmFtZQALAAAAUGVyc29uYWxJZAAQVmVyc2lvbgAAAAAACUxhc3RXcml0ZQCVYU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702304287"/>
  <p:tag name="EMPOWERCHARTSPROPERTIES_B_LENGTH" val="24576"/>
  <p:tag name="DOWN_MIGRATION_INITIAL_LAYOUT_REQUIRED" val="9.2.99"/>
  <p:tag name="RUNTIME_ID" val="7f5f015a-8721-4e6d-a5ae-28e5dcf560d9"/>
</p:tagLst>
</file>

<file path=ppt/tags/tag3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MA////////////////////////////////////////////////////////////////////////////////////////////////////////////////////////////////////////////////////////////////////////////////////////////////////////////////////////////////////////////////////////////////////////////////////////////////////////////////////////////////////////////////////////////////////////////////////////////////////////////////////////////////////////////////////////////////////////////////////////////////////////////////////////AgADAP///////wUAAAACABAAC5ILXDgK1xJHkVTFN67rRq8EAAAAAAADAAAAAAADAAAABAADAAAAAAADAAAABAADAAAAAAD///////8DAAIA////////BQAAAAMAEAALpfT5u4sQkky5asdsFJT0YwQAAAABAAMAAAAEAAMAAAABAAMAAAAEAP///////wQAAgD///////8FAAAABAAQAAuEc8ZLfv8AQLoyiSDjPsMG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gtcOArXEkeRVMU3rutGrwREYXRhAAUAAAAAAk5hbWUADQAAAExpbmtEYXRhTGlzdAAQVmVyc2lvbgAAAAAACUxhc3RXcml0ZQB2YkhDkgEAAAABAP////9hAGEAAAAFX2lkABAAAAAEpfT5u4sQkky5asdsFJT0YwREYXRhAAUAAAAAAk5hbWUADQAAAExpbmtEYXRhTGlzdAAQVmVyc2lvbgABAAAACUxhc3RXcml0ZQB3YkhDkgEAAAACAP////9wAHAAAAAFX2lkABAAAAAEhHPGS37/AEC6Mokg4z7DBgNEYXRhABYAAAACUGVyc29uYWxJZAABAAAAAAACTmFtZQALAAAAUGVyc29uYWxJZAAQVmVyc2lvbgAAAAAACUxhc3RXcml0ZQCVY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AwAFAAAAAAD///////8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703180965"/>
  <p:tag name="EMPOWERCHARTSPROPERTIES_B_LENGTH" val="24576"/>
  <p:tag name="DOWN_MIGRATION_INITIAL_LAYOUT_REQUIRED" val="9.2.99"/>
  <p:tag name="RUNTIME_ID" val="f0337903-26af-4519-92c3-f298e83b61a7"/>
</p:tagLst>
</file>

<file path=ppt/tags/tag3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ystdRR3AN1EregQ0ZBU/fcEAAAAAAADAAAAAAADAAAABAADAAEA////////BQAAAAMAEAAL17YsMJwFJ0K84zHLglfjyAQAAAABAAMAAAAEAAMAAAABAAQAAQD///////8FAAAABAAQAAtSB2cot/01QJ3OJ7qiYTm9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y11FHcA3USt6BDRkFT99wREYXRhAAUAAAAAAk5hbWUADQAAAExpbmtEYXRhTGlzdAAQVmVyc2lvbgABAAAACUxhc3RXcml0ZQDdYkhDkgEAAAABAP////9hAGEAAAAFX2lkABAAAAAE17YsMJwFJ0K84zHLglfjyAREYXRhAAUAAAAAAk5hbWUADQAAAExpbmtEYXRhTGlzdAAQVmVyc2lvbgAAAAAACUxhc3RXcml0ZQDWYkhDkgEAAAACAP////9wAHAAAAAFX2lkABAAAAAEUgdnKLf9NUCdzie6omE5vQNEYXRhABYAAAACUGVyc29uYWxJZAABAAAAAAACTmFtZQALAAAAUGVyc29uYWxJZAAQVmVyc2lvbgAAAAAACUxhc3RXcml0ZQD6Yk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704165206"/>
  <p:tag name="EMPOWERCHARTSPROPERTIES_B_LENGTH" val="24576"/>
  <p:tag name="DOWN_MIGRATION_INITIAL_LAYOUT_REQUIRED" val="9.2.99"/>
  <p:tag name="RUNTIME_ID" val="400bce38-7dca-47ee-847d-c0202652914c"/>
</p:tagLst>
</file>

<file path=ppt/tags/tag3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BAD///////8DAAAAAwD///////8DAAAAAwD///////8DAAAAAwD///////////////////////////////////////////////////////////////////////////////////////////////////////////////////////////////////////////////////////////////////////////////////////////////////////////////////////////////////////////////////////////////////////////////////////////////////////////////////////////////////////////////////////////////////////////////////////////////////////////////////////////////////////////////8BACAA////////////////AAAO////////AwAAAAMA////////////////////////////////////////////////////////////////////////////////////////////////////////////////////////////////////////////////////////////////////////////////////////////////////////////////////////////////////////////////////////////////////////////////////////////////////////////////////////////////////////////////////////////////////////////////////////////////////////////////////////////////////////////////////////////////////////////////////////////////////////////////////////AgABAP///////wUAAAACABAACzOZcU6rR1lKsV4yffiCRvQEAAAAAAADAAAAAAADAAAABAADAAUA////////BQAAAAMAEAALmBDEmVHduU2PuxF9i0k9PgQAAAABAAMAAAAEAAMAAAABAAMAAAAEAP///////wMAAAAAAP///////wMAAAAAAP///////wMAAAAAAP///////wQAAgD///////8FAAAABAAQAAvU5yKLZJZZQIjURDNmEaOW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5lxTqtHWUqxXjJ9+IJG9AREYXRhAAUAAAAAAk5hbWUADQAAAExpbmtEYXRhTGlzdAAQVmVyc2lvbgAAAAAACUxhc3RXcml0ZQAhY0hDkgEAAAABAP////9hAGEAAAAFX2lkABAAAAAEmBDEmVHduU2PuxF9i0k9PgREYXRhAAUAAAAAAk5hbWUADQAAAExpbmtEYXRhTGlzdAAQVmVyc2lvbgABAAAACUxhc3RXcml0ZQAhY0hDkgEAAAACAP////9wAHAAAAAFX2lkABAAAAAE1Ocii2SWWUCI1EQzZhGjlgNEYXRhABYAAAACUGVyc29uYWxJZAABAAAAAAACTmFtZQALAAAAUGVyc29uYWxJZAAQVmVyc2lvbgAAAAAACUxhc3RXcml0ZQBEY0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EAIAH///////////////8AAA7///////8FAAAABAD///////////////////////////////////////////////////////////////////////////////////////////////////////////////////////////////////////////////////////////////////////////////////////////////////////////////////////////////////////////////////////////////////////////////////////////////////////////////////////////////////////////////////////////////////////////////////////////////////////////////////////////////////////////////////////////////////////////////////////////////////////////////////////8CAAEBAwAAAAIA////////DgAGTGlua0RhdGFMaXN0XzAEAAAAAAAFAAAAAAAFAAAAAwADAAUBAwAAAAMA////////DgAGTGlua0RhdGFMaXN0XzEEAAAAAQAFAAAAAgAFAAAABAAFAAAAAAAFAAAABAAFAAAAAA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704921765"/>
  <p:tag name="EMPOWERCHARTSPROPERTIES_B_LENGTH" val="24576"/>
  <p:tag name="DOWN_MIGRATION_INITIAL_LAYOUT_REQUIRED" val="9.2.99"/>
  <p:tag name="RUNTIME_ID" val="7157bb9b-cbae-4baf-b13c-bbe83a047b08"/>
</p:tagLst>
</file>

<file path=ppt/tags/tag3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2gsAAAAAAAAAAAAAIAD///////////////8AAAD///////////////8DAAAAAgD///////8DAAAAAgD///////8DAAAAAwD///////////////////////////////////////////////////////////////////////////////////////////////////////////////////////////////////////////////////////////////////////////////////////////////////////////////////////////////////////////////////////////////////////////////////////////////////////////////////////////////////////////////////////////////////////////////////////////////////////////////////////////////////////////////////////////////////////////////8BACAA////////////////AAAO////////AwAAAAQA////////////////////////////////////////////////////////////////////////////////////////////////////////////////////////////////////////////////////////////////////////////////////////////////////////////////////////////////////////////////////////////////////////////////////////////////////////////////////////////////////////////////////////////////////////////////////////////////////////////////////////////////////////////////////////////////////////////////////////////////////////////////////////AgACAP///////wUAAAACABAAC/X9+EVFNDlIkzCapUfbmSAEAAAAAAADAAAAAAADAAAAAwADAAAAAAADAAAAAwADAAMA////////BQAAAAMAEAALjAC2cxtIDkm7rB851Cn5+AQAAAABAAMAAAACAAMAAAAEAAMAAAACAAMAAAAEAAMAAAAAAAMAAAAEAAQAAwD///////8FAAAABAAQAAtlIC/s/DfFQaTxboexTRcA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f34RUU0OUiTMJqlR9uZIAREYXRhAAUAAAAAAk5hbWUADQAAAExpbmtEYXRhTGlzdAAQVmVyc2lvbgAAAAAACUxhc3RXcml0ZQCgY0hDkgEAAAABAP////9hAGEAAAAFX2lkABAAAAAEjAC2cxtIDkm7rB851Cn5+AREYXRhAAUAAAAAAk5hbWUADQAAAExpbmtEYXRhTGlzdAAQVmVyc2lvbgABAAAACUxhc3RXcml0ZQCgY0hDkgEAAAACAP////9wAHAAAAAFX2lkABAAAAAEZSAv7Pw3xUGk8W6HsU0XAANEYXRhABYAAAACUGVyc29uYWxJZAABAAAAAAACTmFtZQALAAAAUGVyc29uYWxJZAAQVmVyc2lvbgAAAAAACUxhc3RXcml0ZQC/Y0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DAP///////////////////////////////////////////////////////////////////////////////////////////////////////////////////////////////////////////////////////////////////////////////////////////////////////////////////////////////////////////////////////////////////////////////////////////////////////////////////////////////////////////////////////////////////////////////////////////////////////////////////////////////////////////////////////////////////////////////wEAIAH///////////////8AAA7///////8FAAAABAD///////////////////////////////////////////////////////////////////////////////////////////////////////////////////////////////////////////////////////////////////////////////////////////////////////////////////////////////////////////////////////////////////////////////////////////////////////////////////////////////////////////////////////////////////////////////////////////////////////////////////////////////////////////////////////////////////////////////////////////////////////////////////////8CAAIBAwAAAAIA////////DgAGTGlua0RhdGFMaXN0XzAEAAAAAAAFAAAAAAAFAAAAAwAFAAAAAAAFAAAAAwADAAMBAwAAAAMA////////DgAGTGlua0RhdGFMaXN0XzEEAAAAAQAFAAAAAgAFAAAABAAFAAAAAgAFAAAABAAFAAAAAAAFAAAABAA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708267916"/>
  <p:tag name="EMPOWERCHARTSPROPERTIES_B_LENGTH" val="24576"/>
  <p:tag name="DOWN_MIGRATION_INITIAL_LAYOUT_REQUIRED" val="9.2.99"/>
  <p:tag name="RUNTIME_ID" val="56def31b-6fd2-42b1-9e87-5811c988957e"/>
</p:tagLst>
</file>

<file path=ppt/tags/tag3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wUAFgwAAAAAAAAAAAAAIAD///////////////8AAAD///////////////8DAAAAAgD///////////////////////////////////////////////////////////////////////////////////////////////////////////////////////////////////////////////////////////////////////////////////////////////////////////////////////////////////////////////////////////////////////////////////////////////////////////////////////////////////////////////////////////////////////////////////////////////////////////////////////////////////////////////////////////////////////////////////////////////////////////////8BACAA////////////////AAAO////////AwAAAAQA////////////////////////////////////////////////////////////////////////////////////////////////////////////////////////////////////////////////////////////////////////////////////////////////////////////////////////////////////////////////////////////////////////////////////////////////////////////////////////////////////////////////////////////////////////////////////////////////////////////////////////////////////////////////////////////////////////////////////////////////////////////////////////AgABAP///////wUAAAACABAAC9IQNmHR+19KpFyIHuPz+McEAAAAAAADAAAAAAADAAAAAwADAAEA////////BQAAAAMAEAAL6u1z54sz3kiTnhDMogTUNwQAAAABAAMAAAACAAMAAAAEAAQAAQD///////8FAAAABAAQAAt3po7vDAy7R6bUja/zGHC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0hA2YdH7X0qkXIge4/P4xwREYXRhAAUAAAAAAk5hbWUADQAAAExpbmtEYXRhTGlzdAAQVmVyc2lvbgAAAAAACUxhc3RXcml0ZQDCZEhDkgEAAAABAP////9hAGEAAAAFX2lkABAAAAAE6u1z54sz3kiTnhDMogTUNwREYXRhAAUAAAAAAk5hbWUADQAAAExpbmtEYXRhTGlzdAAQVmVyc2lvbgABAAAACUxhc3RXcml0ZQDDZEhDkgEAAAACAP////9wAHAAAAAFX2lkABAAAAAEd6aO7wwMu0em1I2v8xhwrANEYXRhABYAAAACUGVyc29uYWxJZAABAAAAAAACTmFtZQALAAAAUGVyc29uYWxJZAAQVmVyc2lvbgAAAAAACUxhc3RXcml0ZQDcZEh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EAIAH///////////////8AAA7///////8FAAAABAD///////////////////////////////////////////////////////////////////////////////////////////////////////////////////////////////////////////////////////////////////////////////////////////////////////////////////////////////////////////////////////////////////////////////////////////////////////////////////////////////////////////////////////////////////////////////////////////////////////////////////////////////////////////////////////////////////////////////////////////////////////////////////////8CAAQBAwAAAAIA////////DgAGTGlua0RhdGFMaXN0XzAEAAAAAAAFAAAAAAAFAAAAAwAFAAAAAAAFAAAAAwAFAAAAAAD///////8FAAAAAAD///////8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4708992463"/>
  <p:tag name="EMPOWERCHARTSPROPERTIES_B_LENGTH" val="24576"/>
  <p:tag name="DOWN_MIGRATION_INITIAL_LAYOUT_REQUIRED" val="9.2.99"/>
  <p:tag name="RUNTIME_ID" val="3dc888f0-8cac-48e0-a9ac-6b9a6c3d83ec"/>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61ea3znif1Kuersc6+jyQ0EAAAAAAADAAAAAAADAAAAAwADAAAAAAD///////8DAAEA////////BQAAAAMAEAALiMfUhU3/ykytV1MlHrSR8AQAAAABAAMAAAACAAMAAAAEAAQAAQD///////8FAAAABAAQAAt3f6OetChSR4cPPgohyMN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V5rfOeJ/Uq56uxzr6PJDQREYXRhAAUAAAAAAk5hbWUADQAAAExpbmtEYXRhTGlzdAAQVmVyc2lvbgABAAAACUxhc3RXcml0ZQCXDlBDkgEAAAABAP////9hAGEAAAAFX2lkABAAAAAEiMfUhU3/ykytV1MlHrSR8AREYXRhAAUAAAAAAk5hbWUADQAAAExpbmtEYXRhTGlzdAAQVmVyc2lvbgAAAAAACUxhc3RXcml0ZQCRDlBDkgEAAAACAP////9wAHAAAAAFX2lkABAAAAAEd3+jnrQoUkeHDz4KIcjDYANEYXRhABYAAAACUGVyc29uYWxJZAABAAAAAAACTmFtZQALAAAAUGVyc29uYWxJZAAQVmVyc2lvbgAAAAAACUxhc3RXcml0ZQDDDlBD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33029731467370"/>
  <p:tag name="EMPOWERCHARTSPROPERTIES_B_LENGTH" val="24576"/>
  <p:tag name="DOWN_MIGRATION_INITIAL_LAYOUT_REQUIRED" val="9.2.99"/>
  <p:tag name="RUNTIME_ID" val="02d21dc5-fe3d-42b8-983e-49e551ce9b4b"/>
</p:tagLst>
</file>

<file path=ppt/tags/tag3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MA////////////////////////////////////////////////////////////////////////////////////////////////////////////////////////////////////////////////////////////////////////////////////////////////////////////////////////////////////////////////////////////////////////////////////////////////////////////////////////////////////////////////////////////////////////////////////////////////////////////////////////////////////////////////////////////////////////////////////////////////////////////////////////AgABAP///////wUAAAACABAACyeKrEDOU9hNheep7EjEGI4EAAAAAAADAAAAAAADAAAABAADAAEA////////BQAAAAMAEAALZOzVotY1TUSuLwML7F9CiAQAAAABAAMAAAAEAAMAAAABAAQAAgD///////8FAAAABAAQAAua0sd5BlIMSoYGfoufYI+q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4qsQM5T2E2F56nsSMQYjgREYXRhAAUAAAAAAk5hbWUADQAAAExpbmtEYXRhTGlzdAAQVmVyc2lvbgABAAAACUxhc3RXcml0ZQAo8567kQEAAAABAP////9hAGEAAAAFX2lkABAAAAAEZOzVotY1TUSuLwML7F9CiAREYXRhAAUAAAAAAk5hbWUADQAAAExpbmtEYXRhTGlzdAAQVmVyc2lvbgAAAAAACUxhc3RXcml0ZQAI8567kQEAAAACAP////9wAHAAAAAFX2lkABAAAAAEmtLHeQZSDEqGBn6Ln2CPqgNEYXRhABYAAAACUGVyc29uYWxJZAABAAAAAAACTmFtZQALAAAAUGVyc29uYWxJZAAQVmVyc2lvbgAAAAAACUxhc3RXcml0ZQCq8567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10264421783988"/>
  <p:tag name="EMPOWERCHARTSPROPERTIES_B_LENGTH" val="24576"/>
  <p:tag name="DOWN_MIGRATION_INITIAL_LAYOUT_REQUIRED" val="9.2.99"/>
  <p:tag name="RUNTIME_ID" val="764d25b9-5c13-4d7b-8039-cb42fb10de9a"/>
</p:tagLst>
</file>

<file path=ppt/tags/tag352.xml><?xml version="1.0" encoding="utf-8"?>
<p:tagLst xmlns:a="http://schemas.openxmlformats.org/drawingml/2006/main" xmlns:r="http://schemas.openxmlformats.org/officeDocument/2006/relationships" xmlns:p="http://schemas.openxmlformats.org/presentationml/2006/main">
  <p:tag name="MIO_GUID" val="589416b6-20c7-4edc-8e0b-4cafaddbabd5"/>
  <p:tag name="MIO_EKGUID" val="ea890a8b-b311-4aac-b27f-8ca9d0de9969"/>
  <p:tag name="MIO_UPDATE" val="True"/>
  <p:tag name="MIO_VERSION" val="09.03.2023 11:06:28"/>
  <p:tag name="MIO_DBID" val="FDE84254-54DB-49E3-9A0E-CDE72035D530"/>
  <p:tag name="MIO_LASTDOWNLOADED" val="13.03.2024 10:33:13.817"/>
  <p:tag name="MIO_OBJECTNAME" val="Icon / Text box"/>
  <p:tag name="MIO_CONTENTTAG" val="ehUaDt3LuUWNb579sHB/bpJ9R5RFF2FHi0YA2cR1mdM="/>
  <p:tag name="MIO_LASTEDITORNAME" val="Verena Kohl"/>
</p:tagLst>
</file>

<file path=ppt/tags/tag3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MAAAAAAAAAAwAAAAMAAAAA/////wUAtgsAAAAAAAAAAAAAIAD///////////////8AAAD///////////////8DAAAAAgD///////8DAAAAAgD///////8DAAAAAgD///////8DAAAAAgD///////8DAAAABAD///////////////////////////////////////////////////////////////////////////////////////////////////////////////////////////////////////////////////////////////////////////////////////////////////////////////////////////////////////////////////////////////////////////////////////////////////////////////////////////////////////////////////////////////////////////////////////////////////////////////////////////////////////////////8BACAA////////////////AAAO////////AwAAAAQA////////////////////////////////////////////////////////////////////////////////////////////////////////////////////////////////////////////////////////////////////////////////////////////////////////////////////////////////////////////////////////////////////////////////////////////////////////////////////////////////////////////////////////////////////////////////////////////////////////////////////////////////////////////////////////////////////////////////////////////////////////////////////////AgAEAP///////wUAAAACABAAC59I61J9+SRKrztzgRWPdK4EAAAAAAADAAAAAAADAAAAAwADAAAAAAADAAAAAwADAAAAAAADAAAABAADAAAAAAADAAAABAADAAIA////////BQAAAAMAEAALcsKhXb84TEWlpbcdIvY9BQQAAAABAAMAAAACAAMAAAAEAAMAAAACAAMAAAAEAAQABQD///////8FAAAABAAQAAses8bYooAUT52BSLl3oxYFBAAAAAIAAwAAAAMAAwAAAAEAAwAAAAMA////////AwAAAAI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0jrUn35JEqvO3OBFY90rgREYXRhAAUAAAAAAk5hbWUADQAAAExpbmtEYXRhTGlzdAAQVmVyc2lvbgABAAAACUxhc3RXcml0ZQB7pIuOkQEAAAABAP////9hAGEAAAAFX2lkABAAAAAEcsKhXb84TEWlpbcdIvY9BQREYXRhAAUAAAAAAk5hbWUADQAAAExpbmtEYXRhTGlzdAAQVmVyc2lvbgAAAAAACUxhc3RXcml0ZQB5pIuOkQEAAAACAP////9wAHAAAAAFX2lkABAAAAAEHrPG2KKAFE+dgUi5d6MWBQNEYXRhABYAAAACUGVyc29uYWxJZAABAAAAAAACTmFtZQALAAAAUGVyc29uYWxJZAAQVmVyc2lvbgAAAAAACUxhc3RXcml0ZQCWpI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EAIAH///////////////8AAA7///////8FAAAABAD///////////////////////////////////////////////////////////////////////////////////////////////////////////////////////////////////////////////////////////////////////////////////////////////////////////////////////////////////////////////////////////////////////////////////////////////////////////////////////////////////////////////////////////////////////////////////////////////////////////////////////////////////////////////////////////////////////////////////////////////////////////////////////8CAAQBAwAAAAIA////////DgAGTGlua0RhdGFMaXN0XzEEAAAAAAAFAAAAAwAFAAAABAAFAAAAAwAFAAAABAAFAAAAAAD///////8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0306396"/>
  <p:tag name="EMPOWERCHARTSPROPERTIES_B_LENGTH" val="24576"/>
  <p:tag name="DOWN_MIGRATION_INITIAL_LAYOUT_REQUIRED" val="9.2.99"/>
  <p:tag name="RUNTIME_ID" val="7529016f-6803-49cd-824a-3b4d618c8459"/>
</p:tagLst>
</file>

<file path=ppt/tags/tag3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8T5KinPxGRIqQTcbj9ytTAEAAAAAAADAAAAAAADAAAAAwADAAAAAAD///////8DAAAAAAD///////8DAAEA////////BQAAAAMAEAALtT0yvKxkC0i7fWVBhTQUJgQAAAABAAMAAAACAAMAAAAEAAQAAQD///////8FAAAABAAQAAvhorv0d8nYQ67bdmfbjjQ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PkqKc/EZEipBNxuP3K1MAREYXRhAAUAAAAAAk5hbWUADQAAAExpbmtEYXRhTGlzdAAQVmVyc2lvbgABAAAACUxhc3RXcml0ZQA1I/uNkQEAAAABAP////9hAGEAAAAFX2lkABAAAAAEtT0yvKxkC0i7fWVBhTQUJgREYXRhAAUAAAAAAk5hbWUADQAAAExpbmtEYXRhTGlzdAAQVmVyc2lvbgAAAAAACUxhc3RXcml0ZQAxI/uNkQEAAAACAP////9wAHAAAAAFX2lkABAAAAAE4aK79HfJ2EOu23Zn2440CANEYXRhABYAAAACUGVyc29uYWxJZAABAAAAAAACTmFtZQALAAAAUGVyc29uYWxJZAAQVmVyc2lvbgAAAAAACUxhc3RXcml0ZQBUI/uN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CAP///////////////////////////////////////////////////////////////////////////////////////////////////////////////////////////////////////////////////////////////////////////////////////////////////////////////////////////////////////////////////////////////////////////////////////////////////////////////////////////////////////////////////////////////////////////////////////////////////////////////////////////////////////////////////////////////////////////////wEAIAH///////////////8AAA7///////8FAAAABAD///////////////////////////////////////////////////////////////////////////////////////////////////////////////////////////////////////////////////////////////////////////////////////////////////////////////////////////////////////////////////////////////////////////////////////////////////////////////////////////////////////////////////////////////////////////////////////////////////////////////////////////////////////////////////////////////////////////////////////////////////////////////////////8CAAMBAwAAAAIA////////DgAGTGlua0RhdGFMaXN0XzEEAAAAAAAFAAAAAwAFAAAABAAFAAAAAAAFAAAABAAFAAAAAAAFAAAABAADAAEBAwAAAAMA////////DgAGTGlua0RhdGFMaXN0XzAEAAAAAQ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07317599341"/>
  <p:tag name="EMPOWERCHARTSPROPERTIES_B_LENGTH" val="24576"/>
  <p:tag name="DOWN_MIGRATION_INITIAL_LAYOUT_REQUIRED" val="9.2.99"/>
  <p:tag name="RUNTIME_ID" val="3c8b7fac-b98f-4724-bb9a-451581b5893c"/>
</p:tagLst>
</file>

<file path=ppt/tags/tag3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tgsAAAAAAAAAAAAAIAD///////////////8AAAD///////////////8DAAAABAD///////8DAAAABAD///////8DAAAABAD///////8DAAAAAwD///////8DAAAAAwD///////8DAAAAAwD///////8DAAAAAwD///////////////////////////////////////////////////////////////////////////////////////////////////////////////////////////////////////////////////////////////////////////////////////////////////////////////////////////////////////////////////////////////////////////////////////////////////////////////////////////////////////////////////////////////////////////////////////////////////////////////8BACAA////////////////AAAO////////AwAAAAMA////////////////////////////////////////////////////////////////////////////////////////////////////////////////////////////////////////////////////////////////////////////////////////////////////////////////////////////////////////////////////////////////////////////////////////////////////////////////////////////////////////////////////////////////////////////////////////////////////////////////////////////////////////////////////////////////////////////////////////////////////////////////////////AgABAP///////wUAAAACABAAC8LqESnUrhBJqhxzHIQ+PZsEAAAAAAADAAAABAADAAAAAwADAAcA////////BQAAAAMAEAALazoy9ZnW+UWwd2Ckoqk84AQAAAABAAMAAAACAAMAAAABAAMAAAAEAP///////wMAAAAEAP///////wMAAAAAAP///////wMAAAAAAP///////wMAAAAAAP///////wMAAAAAAP///////wQAAwD///////8FAAAABAAQAAvHawokL4kfQpJ5FF98hk5TBAAAAAIAAwAAAAAAAwAAAAI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uoRKdSuEEmqHHMchD49mwREYXRhAAUAAAAAAk5hbWUADQAAAExpbmtEYXRhTGlzdAAQVmVyc2lvbgAAAAAACUxhc3RXcml0ZQDRpIuOkQEAAAABAP////9hAGEAAAAFX2lkABAAAAAEazoy9ZnW+UWwd2Ckoqk84AREYXRhAAUAAAAAAk5hbWUADQAAAExpbmtEYXRhTGlzdAAQVmVyc2lvbgABAAAACUxhc3RXcml0ZQDSpIuOkQEAAAACAP////9wAHAAAAAFX2lkABAAAAAEx2sKJC+JH0KSeRRffIZOUwNEYXRhABYAAAACUGVyc29uYWxJZAABAAAAAAACTmFtZQALAAAAUGVyc29uYWxJZAAQVmVyc2lvbgAAAAAACUxhc3RXcml0ZQDtpI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DAP///////wUAAAADAP///////wUAAAADAP///////wUAAAADAP///////wUAAAADAP///////wUAAAADAP///////////////////////////////////////////////////////////////////////////////////////////////////////////////////////////////////////////////////////////////////////////////////////////////////////////////////////////////////////////////////////////////////////////////////////////////////////////////////////////////////////////////////////////////////////////////////////////////////////////////wEAIAH///////////////8AAA7///////8FAAAABAD///////////////////////////////////////////////////////////////////////////////////////////////////////////////////////////////////////////////////////////////////////////////////////////////////////////////////////////////////////////////////////////////////////////////////////////////////////////////////////////////////////////////////////////////////////////////////////////////////////////////////////////////////////////////////////////////////////////////////////////////////////////////////////8CAAEBAwAAAAIA////////DgAGTGlua0RhdGFMaXN0XzAEAAAAAAAFAAAAAAAFAAAAAwADAAcBAwAAAAMA////////DgAGTGlua0RhdGFMaXN0XzEEAAAAAQAFAAAAAgAFAAAABAAFAAAAAAAFAAAABAAFAAAAAAAFAAAABAAFAAAAAAD///////8FAAAAAAD///////8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1184688"/>
  <p:tag name="EMPOWERCHARTSPROPERTIES_B_LENGTH" val="24576"/>
  <p:tag name="DOWN_MIGRATION_INITIAL_LAYOUT_REQUIRED" val="9.2.99"/>
  <p:tag name="RUNTIME_ID" val="84f6baf9-ecea-47db-80ae-2fe75a729ba0"/>
</p:tagLst>
</file>

<file path=ppt/tags/tag3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8gsAAAAAAAAAAAAAIAD///////////////8AAAD///////////////8DAAAAAgD///////8DAAAAAgD///////////////////////////////////////////////////////////////////////////////////////////////////////////////////////////////////////////////////////////////////////////////////////////////////////////////////////////////////////////////////////////////////////////////////////////////////////////////////////////////////////////////////////////////////////////////////////////////////////////////////////////////////////////////////////////////////////////////////////////////8BACAA////////////////AAAO////////AwAAAAMA////////////////////////////////////////////////////////////////////////////////////////////////////////////////////////////////////////////////////////////////////////////////////////////////////////////////////////////////////////////////////////////////////////////////////////////////////////////////////////////////////////////////////////////////////////////////////////////////////////////////////////////////////////////////////////////////////////////////////////////////////////////////////////AgACAP///////wUAAAACABAAC3K9LRke82hGrcWDjgjUVxEEAAAAAAADAAAAAAADAAAABAADAAAAAAADAAAABAADAAIA////////BQAAAAMAEAAL26ip9dKJ3Em6NmWyzNxKQQQAAAABAAMAAAAEAAMAAAABAAMAAAAEAP///////wQAAgD///////8FAAAABAAQAAuPUuZUp6aZRJz+R4JbmX25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r0tGR7zaEatxYOOCNRXEQREYXRhAAUAAAAAAk5hbWUADQAAAExpbmtEYXRhTGlzdAAQVmVyc2lvbgAAAAAACUxhc3RXcml0ZQDhKcKOkQEAAAABAP////9hAGEAAAAFX2lkABAAAAAE26ip9dKJ3Em6NmWyzNxKQQREYXRhAAUAAAAAAk5hbWUADQAAAExpbmtEYXRhTGlzdAAQVmVyc2lvbgABAAAACUxhc3RXcml0ZQDjKcKOkQEAAAACAP////9wAHAAAAAFX2lkABAAAAAEj1LmVKemmUSc/keCW5l9uQNEYXRhABYAAAACUGVyc29uYWxJZAABAAAAAAACTmFtZQALAAAAUGVyc29uYWxJZAAQVmVyc2lvbgAAAAAACUxhc3RXcml0ZQD/Kc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EAP///////wUAAAAEAP///////////////////////////////////////////////////////////////////////////////////////////////////////////////////////////////////////////////////////////////////////////////////////////////////////////////////////////////////////////////////////////////////////////////////////////////////////////////////////////////////////////////////////////////////////////////////////////////////////////////////////////////////////////////////////////////wEAIAH///////////////8AAA7///////8FAAAABAD///////////////////////////////////////////////////////////////////////////////////////////////////////////////////////////////////////////////////////////////////////////////////////////////////////////////////////////////////////////////////////////////////////////////////////////////////////////////////////////////////////////////////////////////////////////////////////////////////////////////////////////////////////////////////////////////////////////////////////////////////////////////////////8CAAIBAwAAAAIA////////DgAGTGlua0RhdGFMaXN0XzAEAAAAAAAFAAAAAAAFAAAAAwAFAAAAAAAFAAAAAwADAAIBAwAAAAMA////////DgAGTGlua0RhdGFMaXN0XzEEAAAAAQAFAAAAAgAFAAAABAAFAAAAAg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1270519"/>
  <p:tag name="EMPOWERCHARTSPROPERTIES_B_LENGTH" val="24576"/>
  <p:tag name="DOWN_MIGRATION_INITIAL_LAYOUT_REQUIRED" val="9.2.99"/>
  <p:tag name="RUNTIME_ID" val="93b037fd-1ff5-44f1-bc7e-64d1c983b489"/>
</p:tagLst>
</file>

<file path=ppt/tags/tag3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AgD///////8DAAAABAD///////////////////////////////////////////////////////////////////////////////////////////////////////////////////////////////////////////////////////////////////////////////////////////////////////////////////////////////////////////////////////////////////////////////////////////////////////////////////////////////////////////////////////////////////////////////////////////////////////////////////////////////////////////////////////////////////////////////////////////////8BACAA////////////////AAAO////////AwAAAAQA////////////////////////////////////////////////////////////////////////////////////////////////////////////////////////////////////////////////////////////////////////////////////////////////////////////////////////////////////////////////////////////////////////////////////////////////////////////////////////////////////////////////////////////////////////////////////////////////////////////////////////////////////////////////////////////////////////////////////////////////////////////////////////AgABAP///////wUAAAACABAACzEUk20AyvxLknNJ5cXQQ20EAAAAAAADAAAAAAADAAAAAwADAAEA////////BQAAAAMAEAALt2hEncs4AUqM9X83hP/K6gQAAAABAAMAAAACAAMAAAAEAAQAAgD///////8FAAAABAAQAAvUe4nTULSbQo2B2iMb/+Nn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RSTbQDK/EuSc0nlxdBDbQREYXRhAAUAAAAAAk5hbWUADQAAAExpbmtEYXRhTGlzdAAQVmVyc2lvbgABAAAACUxhc3RXcml0ZQBiHwqOkQEAAAABAP////9hAGEAAAAFX2lkABAAAAAEt2hEncs4AUqM9X83hP/K6gREYXRhAAUAAAAAAk5hbWUADQAAAExpbmtEYXRhTGlzdAAQVmVyc2lvbgAAAAAACUxhc3RXcml0ZQBiHwqOkQEAAAACAP////9wAHAAAAAFX2lkABAAAAAE1HuJ01C0m0KNgdojG//jZwNEYXRhABYAAAACUGVyc29uYWxJZAABAAAAAAACTmFtZQALAAAAUGVyc29uYWxJZAAQVmVyc2lvbgAAAAAACUxhc3RXcml0ZQCQHw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EAP///////wUAAAAEAP///////wUAAAAEAP///////////////////////////////////////////////////////////////////////////////////////////////////////////////////////////////////////////////////////////////////////////////////////////////////////////////////////////////////////////////////////////////////////////////////////////////////////////////////////////////////////////////////////////////////////////////////////////////////////////////////////////////////////////////////////////////wEAIAH///////////////8AAA7///////8FAAAABAD///////////////////////////////////////////////////////////////////////////////////////////////////////////////////////////////////////////////////////////////////////////////////////////////////////////////////////////////////////////////////////////////////////////////////////////////////////////////////////////////////////////////////////////////////////////////////////////////////////////////////////////////////////////////////////////////////////////////////////////////////////////////////////8CAAEBAwAAAAIA////////DgAGTGlua0RhdGFMaXN0XzEEAAAAAAAFAAAAAwAFAAAABAADAAEBAwAAAAMA////////DgAGTGlua0RhdGFMaXN0XzAEAAAAAQAFAAAAAAAFAAAAAgAEAAQBAwAAAAQA////////DAAGUGVyc29uYWxJZF8wBAAAAAIABQAAAAIABQAAAAE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38376191"/>
  <p:tag name="EMPOWERCHARTSPROPERTIES_B_LENGTH" val="24576"/>
  <p:tag name="DOWN_MIGRATION_INITIAL_LAYOUT_REQUIRED" val="9.2.99"/>
  <p:tag name="RUNTIME_ID" val="bf1070b7-e59c-4c92-a459-2368546ecdd9"/>
</p:tagLst>
</file>

<file path=ppt/tags/tag3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wD///////8DAAAAAwD///////////////////////////////////////////////////////////////////////////////////////////////////////////////////////////////////////////////////////////////////////////////////////////////////////////////////////////////////////////////////////////////////////////////////////////////////////////////////////////////////////////////////////////////////////////////////////////////////////////////////////////////////////////////////////////////////////////////8BACAA////////////////AAAO////////AwAAAAMA////////////////////////////////////////////////////////////////////////////////////////////////////////////////////////////////////////////////////////////////////////////////////////////////////////////////////////////////////////////////////////////////////////////////////////////////////////////////////////////////////////////////////////////////////////////////////////////////////////////////////////////////////////////////////////////////////////////////////////////////////////////////////////AgABAP///////wUAAAACABAAC7PDWjxju/FFiv+r2cCS6PsEAAAAAAADAAAABAADAAAAAwADAAMA////////BQAAAAMAEAALumr4aY6c+0KiaJJ/6CpWQQQAAAABAAMAAAACAAMAAAABAAMAAAAAAP///////wMAAAAAAP///////wQAAQD///////8FAAAABAAQAAvJceglId69SYE4n9KBSNs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8NaPGO78UWK/6vZwJLo+wREYXRhAAUAAAAAAk5hbWUADQAAAExpbmtEYXRhTGlzdAAQVmVyc2lvbgABAAAACUxhc3RXcml0ZQAcpYuOkQEAAAABAP////9hAGEAAAAFX2lkABAAAAAEumr4aY6c+0KiaJJ/6CpWQQREYXRhAAUAAAAAAk5hbWUADQAAAExpbmtEYXRhTGlzdAAQVmVyc2lvbgAAAAAACUxhc3RXcml0ZQAWpYuOkQEAAAACAP////9wAHAAAAAFX2lkABAAAAAEyXHoJSHevUmBOJ/SgUjbMQNEYXRhABYAAAACUGVyc29uYWxJZAABAAAAAAACTmFtZQALAAAAUGVyc29uYWxJZAAQVmVyc2lvbgAAAAAACUxhc3RXcml0ZQA5p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1962651"/>
  <p:tag name="EMPOWERCHARTSPROPERTIES_B_LENGTH" val="24576"/>
  <p:tag name="DOWN_MIGRATION_INITIAL_LAYOUT_REQUIRED" val="9.2.99"/>
  <p:tag name="RUNTIME_ID" val="d1c7c17f-db7b-4f01-8067-76a1e0dbb185"/>
</p:tagLst>
</file>

<file path=ppt/tags/tag3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0xyqCBXioNNkI9K0cK3wdcEAAAAAAADAAAAAAADAAAAAwADAAEA////////BQAAAAMAEAAL83CvSF+8W0G4wrgy+R6SRgQAAAABAAMAAAACAAMAAAAEAAQAAQD///////8FAAAABAAQAAvlVqdOeez4T6XKLXuyrC/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HKoIFeKg02Qj0rRwrfB1wREYXRhAAUAAAAAAk5hbWUADQAAAExpbmtEYXRhTGlzdAAQVmVyc2lvbgABAAAACUxhc3RXcml0ZQA3KsKOkQEAAAABAP////9hAGEAAAAFX2lkABAAAAAE83CvSF+8W0G4wrgy+R6SRgREYXRhAAUAAAAAAk5hbWUADQAAAExpbmtEYXRhTGlzdAAQVmVyc2lvbgAAAAAACUxhc3RXcml0ZQA0KsKOkQEAAAACAP////9wAHAAAAAFX2lkABAAAAAE5VanTnns+E+lyi17sqwvzwNEYXRhABYAAAACUGVyc29uYWxJZAABAAAAAAACTmFtZQALAAAAUGVyc29uYWxJZAAQVmVyc2lvbgAAAAAACUxhc3RXcml0ZQBWKs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2142686"/>
  <p:tag name="EMPOWERCHARTSPROPERTIES_B_LENGTH" val="24576"/>
  <p:tag name="DOWN_MIGRATION_INITIAL_LAYOUT_REQUIRED" val="9.2.99"/>
  <p:tag name="RUNTIME_ID" val="62ca591b-3cd6-4076-bf1e-3c20f78c7685"/>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AgD///////8DAAAAAgD///////8DAAAAAgD///////////////////////////////////////////////////////////////////////////////////////////////////////////////////////////////////////////////////////////////////////////////////////////////////////////////////////////////////////////////////////////////////////////////////////////////////////////////////////////////////////////////////////////////////////////////////////////////////////////////////////////////////////////////////////////////8BACAA////////////////AAAO////////AwAAAAMA////////////////////////////////////////////////////////////////////////////////////////////////////////////////////////////////////////////////////////////////////////////////////////////////////////////////////////////////////////////////////////////////////////////////////////////////////////////////////////////////////////////////////////////////////////////////////////////////////////////////////////////////////////////////////////////////////////////////////////////////////////////////////////AgAEAP///////wUAAAACABAACzI9DEmd6klKs1sc1jZ3GpoEAAAAAAADAAAABAADAAAAAwADAAAAAAADAAAAAwADAAAAAAD///////8DAAAAAAD///////8DAAIA////////BQAAAAMAEAAL7kxRwsvqk0iAlfd341zn5QQAAAABAAMAAAACAAMAAAABAAMAAAACAP///////wQAAQD///////8FAAAABAAQAAvaLTUXeFP4R4L0S111ITc8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j0MSZ3qSUqzWxzWNncamgREYXRhAAUAAAAAAk5hbWUADQAAAExpbmtEYXRhTGlzdAAQVmVyc2lvbgABAAAACUxhc3RXcml0ZQDGHwqOkQEAAAABAP////9hAGEAAAAFX2lkABAAAAAE7kxRwsvqk0iAlfd341zn5QREYXRhAAUAAAAAAk5hbWUADQAAAExpbmtEYXRhTGlzdAAQVmVyc2lvbgAAAAAACUxhc3RXcml0ZQDAHwqOkQEAAAACAP////9wAHAAAAAFX2lkABAAAAAE2i01F3hT+EeC9EtddSE3PANEYXRhABYAAAACUGVyc29uYWxJZAABAAAAAAACTmFtZQALAAAAUGVyc29uYWxJZAAQVmVyc2lvbgAAAAAACUxhc3RXcml0ZQDlHw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39239856"/>
  <p:tag name="EMPOWERCHARTSPROPERTIES_B_LENGTH" val="24576"/>
  <p:tag name="DOWN_MIGRATION_INITIAL_LAYOUT_REQUIRED" val="9.2.99"/>
  <p:tag name="RUNTIME_ID" val="d8f379f5-90d2-49db-83ec-e14186a4766c"/>
</p:tagLst>
</file>

<file path=ppt/tags/tag3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AIBAQEBAQEBAQEBAQEBAQMAAAAAAAAAAwAAAAMAAAAA/////wUAkgsAAAAAAAAAAAAAIAD///////////////8AAAD///////////////8DAAAAAgD///////8DAAAABAD///////8DAAAABAD///////8DAAAABAD///////8DAAAABAD///////8DAAAABAD///////8DAAAABAD///////8DAAAABAD///////8DAAAABAD///////8DAAAABAD///////8DAAAABAD///////8DAAAABAD///////////////////////////////////////////////////////////////////////////////////////////////////////////////////////////////////////////////////////////////////////////////////////////////////////////////////////////////////////////////////////////////////////////////////////////////////////////////////////////////8BACAA////////////////AAAO////////AwAAAAMA////////////////////////////////////////////////////////////////////////////////////////////////////////////////////////////////////////////////////////////////////////////////////////////////////////////////////////////////////////////////////////////////////////////////////////////////////////////////////////////////////////////////////////////////////////////////////////////////////////////////////////////////////////////////////////////////////////////////////////////////////////////////////////AgABAP///////wUAAAACABAAC7eFvwaGG21PuS5/M47K6D4EAAAAAAADAAAAAAADAAAABAADAAEA////////BQAAAAMAEAALCh3nXFe59EC3zoG6iMxOKwQAAAABAAMAAAAEAAMAAAABAAQADAD///////8FAAAABAAQAAs5x7Yl+SsySZBh6+SeisoyBAAAAAIAAwAAAAIAAwAAAAMAAwAAAAAA////////AwAAAAAA////////AwAAAAAA////////AwAAAAAA////////AwAAAAA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t4W/BoYbbU+5Ln8zjsroPgREYXRhAAUAAAAAAk5hbWUADQAAAExpbmtEYXRhTGlzdAAQVmVyc2lvbgAAAAAACUxhc3RXcml0ZQBupYuOkQEAAAABAP////9hAGEAAAAFX2lkABAAAAAECh3nXFe59EC3zoG6iMxOKwREYXRhAAUAAAAAAk5hbWUADQAAAExpbmtEYXRhTGlzdAAQVmVyc2lvbgABAAAACUxhc3RXcml0ZQBvpYuOkQEAAAACAP////9wAHAAAAAFX2lkABAAAAAEOce2JfkrMkmQYevknorKMgNEYXRhABYAAAACUGVyc29uYWxJZAABAAAAAAACTmFtZQALAAAAUGVyc29uYWxJZAAQVmVyc2lvbgAAAAAACUxhc3RXcml0ZQCap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3958263"/>
  <p:tag name="EMPOWERCHARTSPROPERTIES_B_LENGTH" val="24576"/>
  <p:tag name="DOWN_MIGRATION_INITIAL_LAYOUT_REQUIRED" val="9.2.99"/>
  <p:tag name="RUNTIME_ID" val="cd7b82e8-46a0-4aac-b0d2-004e43385ac6"/>
</p:tagLst>
</file>

<file path=ppt/tags/tag3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cBAQEBAQEBAQEBAQEBAQMAAAAAAAAAAwAAAAMAAAAA/////wUA2gsAAAAAAAAAAAAAIAD///////////////8AAAD///////////////8DAAAAAgD///////8DAAAAAgD///////8DAAAAAgD///////8DAAAAAgD///////8DAAAAAgD///////8DAAAAAgD///////////////////////////////////////////////////////////////////////////////////////////////////////////////////////////////////////////////////////////////////////////////////////////////////////////////////////////////////////////////////////////////////////////////////////////////////////////////////////////////////////////////////////////////////////////////////////////////////////////////////////////////8BACAA////////////////AAAO////////AwAAAAQA////////////////////////////////////////////////////////////////////////////////////////////////////////////////////////////////////////////////////////////////////////////////////////////////////////////////////////////////////////////////////////////////////////////////////////////////////////////////////////////////////////////////////////////////////////////////////////////////////////////////////////////////////////////////////////////////////////////////////////////////////////////////////////AgAGAP///////wUAAAACABAACxEhkj4AGF5HmU+sC2iYrKYEAAAAAAADAAAAAAADAAAAAwADAAAAAAD///////8DAAAAAAD///////8DAAAAAAD///////8DAAAAAAD///////8DAAAAAAD///////8DAAEA////////BQAAAAMAEAALg2kBsBKSo0WE0/lic3fULwQAAAABAAMAAAACAAMAAAAEAAQAAQD///////8FAAAABAAQAAvJ8/m0EOE6S71wYFk4r6E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SGSPgAYXkeZT6wLaJispgREYXRhAAUAAAAAAk5hbWUADQAAAExpbmtEYXRhTGlzdAAQVmVyc2lvbgAAAAAACUxhc3RXcml0ZQCLKsKOkQEAAAABAP////9hAGEAAAAFX2lkABAAAAAEg2kBsBKSo0WE0/lic3fULwREYXRhAAUAAAAAAk5hbWUADQAAAExpbmtEYXRhTGlzdAAQVmVyc2lvbgABAAAACUxhc3RXcml0ZQCMKsKOkQEAAAACAP////9wAHAAAAAFX2lkABAAAAAEyfP5tBDhOku9cGBZOK+hAwNEYXRhABYAAAACUGVyc29uYWxJZAABAAAAAAACTmFtZQALAAAAUGVyc29uYWxJZAAQVmVyc2lvbgAAAAAACUxhc3RXcml0ZQCoKs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aCwAAAAAAAAAAAAAgAf///////////////wAAAP///////////////wUAAAACAP///////wUAAAACAP///////wUAAAACAP///////wUAAAACAP///////wUAAAACAP///////wUAAAACAP///////wUAAAAEAP///////////////////////////////////////////////////////////////////////////////////////////////////////////////////////////////////////////////////////////////////////////////////////////////////////////////////////////////////////////////////////////////////////////////////////////////////////////////////////////////////////////////////////////////////////////////////////////////////////////////wEAIAH///////////////8AAA7///////8FAAAABAD///////////////////////////////////////////////////////////////////////////////////////////////////////////////////////////////////////////////////////////////////////////////////////////////////////////////////////////////////////////////////////////////////////////////////////////////////////////////////////////////////////////////////////////////////////////////////////////////////////////////////////////////////////////////////////////////////////////////////////////////////////////////////////8CAAYBAwAAAAIA////////DgAGTGlua0RhdGFMaXN0XzAEAAAAAAAFAAAAAAAFAAAAAwAFAAAAAAAFAAAABAAFAAAAAAAFAAAABAAFAAAAAAAFAAAABAAFAAAAAAAFAAAABAAFAAAAAAAFAAAABAADAAEBAwAAAAMA////////DgAGTGlua0RhdGFMaXN0XzEEAAAAAQAFAAAAAgAFAAAABAAEAAcBAwAAAAQA////////DAAGUGVyc29uYWxJZF8wBAAAAAIABQAAAAMABQAAAAEABQAAAAIA////////BQAAAAIA////////BQAAAAI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3046101"/>
  <p:tag name="EMPOWERCHARTSPROPERTIES_B_LENGTH" val="24576"/>
  <p:tag name="DOWN_MIGRATION_INITIAL_LAYOUT_REQUIRED" val="9.2.99"/>
  <p:tag name="RUNTIME_ID" val="88f3efd6-c31e-4ed2-877c-68e764987fca"/>
</p:tagLst>
</file>

<file path=ppt/tags/tag3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wUli38G2kBIvrMFCXpj36IEAAAAAAADAAAABAADAAAAAwADAAEA////////BQAAAAMAEAALaGw0/oPf8kGnvw2uQgLMeAQAAAABAAMAAAACAAMAAAABAAQAAgD///////8FAAAABAAQAAuDNStvLb59SYQR/GXoYX3+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SWLfwbaQEi+swUJemPfogREYXRhAAUAAAAAAk5hbWUADQAAAExpbmtEYXRhTGlzdAAQVmVyc2lvbgABAAAACUxhc3RXcml0ZQAZIAqOkQEAAAABAP////9hAGEAAAAFX2lkABAAAAAEaGw0/oPf8kGnvw2uQgLMeAREYXRhAAUAAAAAAk5hbWUADQAAAExpbmtEYXRhTGlzdAAQVmVyc2lvbgAAAAAACUxhc3RXcml0ZQAYIAqOkQEAAAACAP////9wAHAAAAAFX2lkABAAAAAEgzUrby2+fUmEEfxl6GF9/gNEYXRhABYAAAACUGVyc29uYWxJZAABAAAAAAACTmFtZQALAAAAUGVyc29uYWxJZAAQVmVyc2lvbgAAAAAACUxhc3RXcml0ZQA2IA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140010391"/>
  <p:tag name="EMPOWERCHARTSPROPERTIES_B_LENGTH" val="24576"/>
  <p:tag name="DOWN_MIGRATION_INITIAL_LAYOUT_REQUIRED" val="9.2.99"/>
  <p:tag name="RUNTIME_ID" val="5fe72b1e-bca4-45df-af09-109da6158694"/>
</p:tagLst>
</file>

<file path=ppt/tags/tag3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8gsAAAAAAAAAAAAAIAD///////////////8AAAD///////////////8DAAAAAgD///////8DAAAABAD///////8DAAAABAD///////8DAAAABAD///////////////////////////////////////////////////////////////////////////////////////////////////////////////////////////////////////////////////////////////////////////////////////////////////////////////////////////////////////////////////////////////////////////////////////////////////////////////////////////////////////////////////////////////////////////////////////////////////////////////////////////////////////////////////////////////8BACAA////////////////AAAO////////AwAAAAQA////////////////////////////////////////////////////////////////////////////////////////////////////////////////////////////////////////////////////////////////////////////////////////////////////////////////////////////////////////////////////////////////////////////////////////////////////////////////////////////////////////////////////////////////////////////////////////////////////////////////////////////////////////////////////////////////////////////////////////////////////////////////////////AgABAP///////wUAAAACABAACyCGzyLzdo9MqoitGqdKpYkEAAAAAAADAAAAAAADAAAAAwADAAEA////////BQAAAAMAEAALO/8Na0OKj0KSMauEoh2W0gQAAAABAAMAAAACAAMAAAAEAAQABAD///////8FAAAABAAQAAtNF1WonNoETZPCblD1YuUh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IbPIvN2j0yqiK0ap0qliQREYXRhAAUAAAAAAk5hbWUADQAAAExpbmtEYXRhTGlzdAAQVmVyc2lvbgABAAAACUxhc3RXcml0ZQA5pouOkQEAAAABAP////9hAGEAAAAFX2lkABAAAAAEO/8Na0OKj0KSMauEoh2W0gREYXRhAAUAAAAAAk5hbWUADQAAAExpbmtEYXRhTGlzdAAQVmVyc2lvbgAAAAAACUxhc3RXcml0ZQAzpouOkQEAAAACAP////9wAHAAAAAFX2lkABAAAAAETRdVqJzaBE2Twm5Q9WLlIQNEYXRhABYAAAACUGVyc29uYWxJZAABAAAAAAACTmFtZQALAAAAUGVyc29uYWxJZAAQVmVyc2lvbgAAAAAACUxhc3RXcml0ZQBU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EAIAH///////////////8AAA7///////8FAAAABAD///////////////////////////////////////////////////////////////////////////////////////////////////////////////////////////////////////////////////////////////////////////////////////////////////////////////////////////////////////////////////////////////////////////////////////////////////////////////////////////////////////////////////////////////////////////////////////////////////////////////////////////////////////////////////////////////////////////////////////////////////////////////////////8CAAMBAwAAAAIA////////DgAGTGlua0RhdGFMaXN0XzEEAAAAAAAFAAAAAwAFAAAABAAFAAAAAwAFAAAABAAFAAAAAAD///////8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4767148"/>
  <p:tag name="EMPOWERCHARTSPROPERTIES_B_LENGTH" val="24576"/>
  <p:tag name="DOWN_MIGRATION_INITIAL_LAYOUT_REQUIRED" val="9.2.99"/>
  <p:tag name="RUNTIME_ID" val="aa5e0d49-1354-421f-a077-b11eae8ab0aa"/>
</p:tagLst>
</file>

<file path=ppt/tags/tag3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BAD///////////////////////////////////////////////////////////////////////////////////////////////////////////////////////////////////////////////////////////////////////////////////////////////////////////////////////////////////////////////////////////////////////////////////////////////////////////////////////////////////////////////////////////////////////////////////////////////////////////////////////////////////////////////////////////////////////////////////////////////////////////////8BACAA////////////////AAAO////////AwAAAAMA////////////////////////////////////////////////////////////////////////////////////////////////////////////////////////////////////////////////////////////////////////////////////////////////////////////////////////////////////////////////////////////////////////////////////////////////////////////////////////////////////////////////////////////////////////////////////////////////////////////////////////////////////////////////////////////////////////////////////////////////////////////////////////AgABAP///////wUAAAACABAAC0G4T3r/BvVHueTrVyPHrbsEAAAAAAADAAAABAADAAAAAwADAAEA////////BQAAAAMAEAALKpRVgvLQRkisgCJCPvPFCwQAAAABAAMAAAACAAMAAAABAAQAAQD///////8FAAAABAAQAAs7JyB03nQJT5Ph3dBic0FB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bhPev8G9Ue55OtXI8etuwREYXRhAAUAAAAAAk5hbWUADQAAAExpbmtEYXRhTGlzdAAQVmVyc2lvbgAAAAAACUxhc3RXcml0ZQDiKsKOkQEAAAABAP////9hAGEAAAAFX2lkABAAAAAEKpRVgvLQRkisgCJCPvPFCwREYXRhAAUAAAAAAk5hbWUADQAAAExpbmtEYXRhTGlzdAAQVmVyc2lvbgABAAAACUxhc3RXcml0ZQDiKsKOkQEAAAACAP////9wAHAAAAAFX2lkABAAAAAEOycgdN50CU+T4d3QYnNBQQNEYXRhABYAAAACUGVyc29uYWxJZAABAAAAAAACTmFtZQALAAAAUGVyc29uYWxJZAAQVmVyc2lvbgAAAAAACUxhc3RXcml0ZQAOK8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5109739"/>
  <p:tag name="EMPOWERCHARTSPROPERTIES_B_LENGTH" val="24576"/>
  <p:tag name="DOWN_MIGRATION_INITIAL_LAYOUT_REQUIRED" val="9.2.99"/>
  <p:tag name="RUNTIME_ID" val="51266ca0-7905-4c05-9721-0e19206293f4"/>
</p:tagLst>
</file>

<file path=ppt/tags/tag3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6b5EntjMBhFhqyI2+wyZHQEAAAAAAADAAAABAADAAAAAwADAAEA////////BQAAAAMAEAALb/C40MmjHkaHJCiDJqAPDwQAAAABAAMAAAACAAMAAAABAAQAAQD///////8FAAAABAAQAAuyyIRZ3m95R5uC6Np1qDux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vkSe2MwGEWGrIjb7DJkdAREYXRhAAUAAAAAAk5hbWUADQAAAExpbmtEYXRhTGlzdAAQVmVyc2lvbgAAAAAACUxhc3RXcml0ZQDkIfuNkQEAAAABAP////9hAGEAAAAFX2lkABAAAAAEb/C40MmjHkaHJCiDJqAPDwREYXRhAAUAAAAAAk5hbWUADQAAAExpbmtEYXRhTGlzdAAQVmVyc2lvbgABAAAACUxhc3RXcml0ZQABIvuNkQEAAAACAP////9wAHAAAAAFX2lkABAAAAAEssiEWd5veUebgujadag7sQNEYXRhABYAAAACUGVyc29uYWxJZAABAAAAAAACTmFtZQALAAAAUGVyc29uYWxJZAAQVmVyc2lvbgAAAAAACUxhc3RXcml0ZQB1IvuN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07315389417"/>
  <p:tag name="EMPOWERCHARTSPROPERTIES_B_LENGTH" val="24576"/>
  <p:tag name="DOWN_MIGRATION_INITIAL_LAYOUT_REQUIRED" val="9.2.99"/>
  <p:tag name="RUNTIME_ID" val="82c3ec97-15f7-4b68-9937-38e2d316346a"/>
</p:tagLst>
</file>

<file path=ppt/tags/tag3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CF0Vih1gNHmkwAq6YScP4EAAAAAAADAAAAAAADAAAAAwADAAAAAAADAAAAAwADAAIA////////BQAAAAMAEAALL/x8euKHakW2JvZqa/mFJAQAAAABAAMAAAACAAMAAAAEAAMAAAACAP///////wQAAQD///////8FAAAABAAQAAtPKLaHEL2eQ6nCW9LpbtC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IXRWKHWA0eaTACrphJw/gREYXRhAAUAAAAAAk5hbWUADQAAAExpbmtEYXRhTGlzdAAQVmVyc2lvbgAAAAAACUxhc3RXcml0ZQB8pouOkQEAAAABAP////9hAGEAAAAFX2lkABAAAAAEL/x8euKHakW2JvZqa/mFJAREYXRhAAUAAAAAAk5hbWUADQAAAExpbmtEYXRhTGlzdAAQVmVyc2lvbgABAAAACUxhc3RXcml0ZQB+pouOkQEAAAACAP////9wAHAAAAAFX2lkABAAAAAETyi2hxC9nkOpwlvS6W7QgQNEYXRhABYAAAACUGVyc29uYWxJZAABAAAAAAACTmFtZQALAAAAUGVyc29uYWxJZAAQVmVyc2lvbgAAAAAACUxhc3RXcml0ZQCY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AwA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5442274"/>
  <p:tag name="EMPOWERCHARTSPROPERTIES_B_LENGTH" val="24576"/>
  <p:tag name="DOWN_MIGRATION_INITIAL_LAYOUT_REQUIRED" val="9.2.99"/>
  <p:tag name="RUNTIME_ID" val="b911e7de-0f15-48c8-b759-ce9beb390141"/>
</p:tagLst>
</file>

<file path=ppt/tags/tag3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73ARVLh99tLtitvrr5jv78EAAAAAAADAAAAAAADAAAAAwADAAAAAAD///////8DAAEA////////BQAAAAMAEAALGnLVZCjfzUGdvylua7+yIAQAAAABAAMAAAACAAMAAAAEAAQAAQD///////8FAAAABAAQAAt9xo30aZORTbq62kJ5Gd87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cBFUuH320u2K2+uvmO/vwREYXRhAAUAAAAAAk5hbWUADQAAAExpbmtEYXRhTGlzdAAQVmVyc2lvbgABAAAACUxhc3RXcml0ZQDAK8KOkQEAAAABAP////9hAGEAAAAFX2lkABAAAAAEGnLVZCjfzUGdvylua7+yIAREYXRhAAUAAAAAAk5hbWUADQAAAExpbmtEYXRhTGlzdAAQVmVyc2lvbgAAAAAACUxhc3RXcml0ZQC1K8KOkQEAAAACAP////9wAHAAAAAFX2lkABAAAAAEfcaN9GmTkU26utpCeRnfOwNEYXRhABYAAAACUGVyc29uYWxJZAABAAAAAAACTmFtZQALAAAAUGVyc29uYWxJZAAQVmVyc2lvbgAAAAAACUxhc3RXcml0ZQDbK8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6066536"/>
  <p:tag name="EMPOWERCHARTSPROPERTIES_B_LENGTH" val="24576"/>
  <p:tag name="DOWN_MIGRATION_INITIAL_LAYOUT_REQUIRED" val="9.2.99"/>
  <p:tag name="RUNTIME_ID" val="09485ac0-0974-42f5-b13d-444dae40911c"/>
</p:tagLst>
</file>

<file path=ppt/tags/tag3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5gsAAAAAAAAAAAAAIAD///////////////8AAAD///////////////8DAAAAAgD///////8DAAAAAgD///////8DAAAAAgD///////////////////////////////////////////////////////////////////////////////////////////////////////////////////////////////////////////////////////////////////////////////////////////////////////////////////////////////////////////////////////////////////////////////////////////////////////////////////////////////////////////////////////////////////////////////////////////////////////////////////////////////////////////////////////////////////////////////8BACAA////////////////AAAO////////AwAAAAMA////////////////////////////////////////////////////////////////////////////////////////////////////////////////////////////////////////////////////////////////////////////////////////////////////////////////////////////////////////////////////////////////////////////////////////////////////////////////////////////////////////////////////////////////////////////////////////////////////////////////////////////////////////////////////////////////////////////////////////////////////////////////////////AgADAP///////wUAAAACABAAC9wEhSbuMXFHjS/VVwxpdgEEAAAAAAADAAAAAAADAAAABAADAAAAAAADAAAABAADAAAAAAD///////8DAAIA////////BQAAAAMAEAALNGt+8nskfEOhtNd/YIFQvQQAAAABAAMAAAAEAAMAAAABAAMAAAAEAP///////wQAAgD///////8FAAAABAAQAAtbbtzq6VzhS5Kt/l+Fcapm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3ASFJu4xcUeNL9VXDGl2AQREYXRhAAUAAAAAAk5hbWUADQAAAExpbmtEYXRhTGlzdAAQVmVyc2lvbgABAAAACUxhc3RXcml0ZQDEpouOkQEAAAABAP////9hAGEAAAAFX2lkABAAAAAENGt+8nskfEOhtNd/YIFQvQREYXRhAAUAAAAAAk5hbWUADQAAAExpbmtEYXRhTGlzdAAQVmVyc2lvbgAAAAAACUxhc3RXcml0ZQDDpouOkQEAAAACAP////9wAHAAAAAFX2lkABAAAAAEW27c6ulc4UuSrf5fhXGqZgNEYXRhABYAAAACUGVyc29uYWxJZAABAAAAAAACTmFtZQALAAAAUGVyc29uYWxJZAAQVmVyc2lvbgAAAAAACUxhc3RXcml0ZQDfpo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CAP///////wUAAAAEAP///////////////////////////////////////////////////////////////////////////////////////////////////////////////////////////////////////////////////////////////////////////////////////////////////////////////////////////////////////////////////////////////////////////////////////////////////////////////////////////////////////////////////////////////////////////////////////////////////////////////////////////////////////////////////////////////wEAIAH///////////////8AAA7///////8FAAAABAD///////////////////////////////////////////////////////////////////////////////////////////////////////////////////////////////////////////////////////////////////////////////////////////////////////////////////////////////////////////////////////////////////////////////////////////////////////////////////////////////////////////////////////////////////////////////////////////////////////////////////////////////////////////////////////////////////////////////////////////////////////////////////////8CAAMBAwAAAAIA////////DgAGTGlua0RhdGFMaXN0XzEEAAAAAAAFAAAAAwAFAAAABAAFAAAAAwAFAAAABAAFAAAAAAAFAAAABAADAAIBAwAAAAMA////////DgAGTGlua0RhdGFMaXN0XzAEAAAAAQAFAAAAAAAFAAAAAgAFAAAAAAAFAAAAAgAEAAQBAwAAAAQA////////DAAGUGVyc29uYWxJZF8wBAAAAAIABQAAAAIABQAAAAE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26198246"/>
  <p:tag name="EMPOWERCHARTSPROPERTIES_B_LENGTH" val="24576"/>
  <p:tag name="DOWN_MIGRATION_INITIAL_LAYOUT_REQUIRED" val="9.2.99"/>
  <p:tag name="RUNTIME_ID" val="39fbfa73-df96-4c19-9462-2b9f527c0a52"/>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AgD///////////////////////////////////////////////////////////////////////////////////////////////////////////////////////////////////////////////////////////////////////////////////////////////////////////////////////////////////////////////////////////////////////////////////////////////////////////////////////////////////////////////////////////////////////////////////////////////////////////////////////////////////////////////////////////////////////////////////////////////8BACAA////////////////AAAO////////AwAAAAMA////////////////////////////////////////////////////////////////////////////////////////////////////////////////////////////////////////////////////////////////////////////////////////////////////////////////////////////////////////////////////////////////////////////////////////////////////////////////////////////////////////////////////////////////////////////////////////////////////////////////////////////////////////////////////////////////////////////////////////////////////////////////////////AgACAP///////wUAAAACABAAC/kPZHRO0jxOotjaf1JM7RIEAAAAAAADAAAABAADAAAAAwADAAAAAAADAAAAAwADAAIA////////BQAAAAMAEAAL3Az0gUvIPUeixAonLxD4zAQAAAABAAMAAAACAAMAAAABAAMAAAACAP///////wQAAQD///////8FAAAABAAQAAv+TcQQyg/8RLEjnpoQxQq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9kdE7SPE6i2Np/UkztEgREYXRhAAUAAAAAAk5hbWUADQAAAExpbmtEYXRhTGlzdAAQVmVyc2lvbgABAAAACUxhc3RXcml0ZQCbuYuOkQEAAAABAP////9hAGEAAAAFX2lkABAAAAAE3Az0gUvIPUeixAonLxD4zAREYXRhAAUAAAAAAk5hbWUADQAAAExpbmtEYXRhTGlzdAAQVmVyc2lvbgAAAAAACUxhc3RXcml0ZQCauYuOkQEAAAACAP////9wAHAAAAAFX2lkABAAAAAE/k3EEMoP/ESxI56aEMUKsANEYXRhABYAAAACUGVyc29uYWxJZAABAAAAAAACTmFtZQALAAAAUGVyc29uYWxJZAAQVmVyc2lvbgAAAAAACUxhc3RXcml0ZQC4uYu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EAIAH///////////////8AAA7///////8FAAAABAD///////////////////////////////////////////////////////////////////////////////////////////////////////////////////////////////////////////////////////////////////////////////////////////////////////////////////////////////////////////////////////////////////////////////////////////////////////////////////////////////////////////////////////////////////////////////////////////////////////////////////////////////////////////////////////////////////////////////////////////////////////////////////////8CAAIBAwAAAAIA////////DgAGTGlua0RhdGFMaXN0XzEEAAAAAAAFAAAAAwAFAAAABAAFAAAAAwAFAAAABAADAAIBAwAAAAMA////////DgAGTGlua0RhdGFMaXN0XzAEAAAAAQAFAAAAAAAFAAAAAg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02074413787"/>
  <p:tag name="EMPOWERCHARTSPROPERTIES_B_LENGTH" val="24576"/>
  <p:tag name="DOWN_MIGRATION_INITIAL_LAYOUT_REQUIRED" val="9.2.99"/>
  <p:tag name="RUNTIME_ID" val="f22223ec-87b4-48ac-bd14-f718e70ccc94"/>
</p:tagLst>
</file>

<file path=ppt/tags/tag3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AgD///////8DAAAABAD///////8DAAAABAD///////////////////////////////////////////////////////////////////////////////////////////////////////////////////////////////////////////////////////////////////////////////////////////////////////////////////////////////////////////////////////////////////////////////////////////////////////////////////////////////////////////////////////////////////////////////////////////////////////////////////////////////////////////////////////////////////////////////8BACAA////////////////AAAO////////AwAAAAQA////////////////////////////////////////////////////////////////////////////////////////////////////////////////////////////////////////////////////////////////////////////////////////////////////////////////////////////////////////////////////////////////////////////////////////////////////////////////////////////////////////////////////////////////////////////////////////////////////////////////////////////////////////////////////////////////////////////////////////////////////////////////////////AgABAP///////wUAAAACABAAC55HDCfasBBAkopmQTS0+9kEAAAAAAADAAAAAAADAAAAAwADAAEA////////BQAAAAMAEAAL2JKkXdKC3U2C7MlSP0w+fQQAAAABAAMAAAACAAMAAAAEAAQAAwD///////8FAAAABAAQAAu++ojLXHwxS4UvWO/7AtgF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kcMJ9qwEECSimZBNLT72QREYXRhAAUAAAAAAk5hbWUADQAAAExpbmtEYXRhTGlzdAAQVmVyc2lvbgABAAAACUxhc3RXcml0ZQCBRgqOkQEAAAABAP////9hAGEAAAAFX2lkABAAAAAE2JKkXdKC3U2C7MlSP0w+fQREYXRhAAUAAAAAAk5hbWUADQAAAExpbmtEYXRhTGlzdAAQVmVyc2lvbgAAAAAACUxhc3RXcml0ZQB7RgqOkQEAAAACAP////9wAHAAAAAFX2lkABAAAAAEvvqIy1x8MUuFL1jv+wLYBQNEYXRhABYAAAACUGVyc29uYWxJZAABAAAAAAACTmFtZQALAAAAUGVyc29uYWxJZAAQVmVyc2lvbgAAAAAACUxhc3RXcml0ZQCdRgq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17238314708"/>
  <p:tag name="EMPOWERCHARTSPROPERTIES_B_LENGTH" val="24576"/>
  <p:tag name="DOWN_MIGRATION_INITIAL_LAYOUT_REQUIRED" val="9.2.99"/>
  <p:tag name="RUNTIME_ID" val="342bdbbd-bb40-4a8d-8e5f-71a99f2871fa"/>
</p:tagLst>
</file>

<file path=ppt/tags/tag3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79jUh3IcF1Enu5N3qrDH2wEAAAAAAADAAAAAAADAAAAAwADAAQA////////BQAAAAMAEAALxdzhUOMx4EyfPkNE+3ZOpgQAAAABAAMAAAACAAMAAAAEAAMAAAAAAAMAAAAEAAMAAAAAAP///////wMAAAAAAP///////wQAAgD///////8FAAAABAAQAAud7ClsdXn7TLLr2vs3uNi1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2NSHchwXUSe7k3eqsMfbAREYXRhAAUAAAAAAk5hbWUADQAAAExpbmtEYXRhTGlzdAAQVmVyc2lvbgABAAAACUxhc3RXcml0ZQAQLMKOkQEAAAABAP////9hAGEAAAAFX2lkABAAAAAExdzhUOMx4EyfPkNE+3ZOpgREYXRhAAUAAAAAAk5hbWUADQAAAExpbmtEYXRhTGlzdAAQVmVyc2lvbgAAAAAACUxhc3RXcml0ZQAPLMKOkQEAAAACAP////9wAHAAAAAFX2lkABAAAAAEnewpbHV5+0yy69r7N7jYtQNEYXRhABYAAAACUGVyc29uYWxJZAABAAAAAAACTmFtZQALAAAAUGVyc29uYWxJZAAQVmVyc2lvbgAAAAAACUxhc3RXcml0ZQAuLM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6886176"/>
  <p:tag name="EMPOWERCHARTSPROPERTIES_B_LENGTH" val="24576"/>
  <p:tag name="DOWN_MIGRATION_INITIAL_LAYOUT_REQUIRED" val="9.2.99"/>
  <p:tag name="RUNTIME_ID" val="82f81d43-3860-4a81-9a0c-53e371bb768c"/>
</p:tagLst>
</file>

<file path=ppt/tags/tag3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cBAQEBAQEBAQEBAQEBAQMAAAAAAAAAAwAAAAMAAAAA/////wUACgwAAAAAAAAAAAAAIAD///////////////8AAAD///////////////8DAAAAAgD///////8DAAAABAD///////////////////////////////////////////////////////////////////////////////////////////////////////////////////////////////////////////////////////////////////////////////////////////////////////////////////////////////////////////////////////////////////////////////////////////////////////////////////////////////////////////////////////////////////////////////////////////////////////////////////////////////////////////////////////////////////////////////////////////////8BACAA////////////////AAAO////////AwAAAAMA////////////////////////////////////////////////////////////////////////////////////////////////////////////////////////////////////////////////////////////////////////////////////////////////////////////////////////////////////////////////////////////////////////////////////////////////////////////////////////////////////////////////////////////////////////////////////////////////////////////////////////////////////////////////////////////////////////////////////////////////////////////////////////AgABAP///////wUAAAACABAAC5C6/npALnJJoNAp58Gi5A8EAAAAAAADAAAAAAADAAAABAADAAEA////////BQAAAAMAEAAL49rC9H/FS0q0DkQeJLGZuwQAAAABAAMAAAAEAAMAAAABAAQAAgD///////8FAAAABAAQAAvbJrHDm/apSZxgn5uBN8zo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Lr+ekAuckmg0CnnwaLkDwREYXRhAAUAAAAAAk5hbWUADQAAAExpbmtEYXRhTGlzdAAQVmVyc2lvbgAAAAAACUxhc3RXcml0ZQBZLMKOkQEAAAABAP////9hAGEAAAAFX2lkABAAAAAE49rC9H/FS0q0DkQeJLGZuwREYXRhAAUAAAAAAk5hbWUADQAAAExpbmtEYXRhTGlzdAAQVmVyc2lvbgABAAAACUxhc3RXcml0ZQBZLMKOkQEAAAACAP////9wAHAAAAAFX2lkABAAAAAE2yaxw5v2qUmcYJ+bgTfM6ANEYXRhABYAAAACUGVyc29uYWxJZAABAAAAAAACTmFtZQALAAAAUGVyc29uYWxJZAAQVmVyc2lvbgAAAAAACUxhc3RXcml0ZQB6LMK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EAP///////wUAAAAEAP///////wUAAAAEAP///////wUAAAAEAP///////wUAAAAEAP///////wUAAAAEAP///////////////////////////////////////////////////////////////////////////////////////////////////////////////////////////////////////////////////////////////////////////////////////////////////////////////////////////////////////////////////////////////////////////////////////////////////////////////////////////////////////////////////////////////////////////////////////////////////////////////wEAIAH///////////////8AAA7///////8FAAAABAD///////////////////////////////////////////////////////////////////////////////////////////////////////////////////////////////////////////////////////////////////////////////////////////////////////////////////////////////////////////////////////////////////////////////////////////////////////////////////////////////////////////////////////////////////////////////////////////////////////////////////////////////////////////////////////////////////////////////////////////////////////////////////////8CAAEBAwAAAAIA////////DgAGTGlua0RhdGFMaXN0XzAEAAAAAAAFAAAAAAAFAAAAAwADAAEBAwAAAAMA////////DgAGTGlua0RhdGFMaXN0XzEEAAAAAQAFAAAAAgAFAAAABAAEAAcBAwAAAAQA////////DAAGUGVyc29uYWxJZF8wBAAAAAIABQAAAAMABQAAAAE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737757721710"/>
  <p:tag name="EMPOWERCHARTSPROPERTIES_B_LENGTH" val="24576"/>
  <p:tag name="DOWN_MIGRATION_INITIAL_LAYOUT_REQUIRED" val="9.2.99"/>
  <p:tag name="RUNTIME_ID" val="7b483fa1-3cf5-41d2-945a-cc8da69a6945"/>
</p:tagLst>
</file>

<file path=ppt/tags/tag3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7ae8b54e-ee69-4a8c-b6a1-a0b0d79f13f8"/>
</p:tagLst>
</file>

<file path=ppt/tags/tag3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oKJJjyaahDlgu7Qe4lcCcEAAAAAAADAAAABAADAAAAAwADAAIA////////BQAAAAMAEAAL5SEe2CMnQEmTeaBRlXbEHAQAAAABAAMAAAACAAMAAAABAAMAAAAEAP///////wQAAgD///////8FAAAABAAQAAsj4ec1UWlcQIYiIPEMNRf6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gokmPJpqEOWC7tB7iVwJwREYXRhAAUAAAAAAk5hbWUADQAAAExpbmtEYXRhTGlzdAAQVmVyc2lvbgABAAAACUxhc3RXcml0ZQDTboeOkQEAAAABAP////9hAGEAAAAFX2lkABAAAAAE5SEe2CMnQEmTeaBRlXbEHAREYXRhAAUAAAAAAk5hbWUADQAAAExpbmtEYXRhTGlzdAAQVmVyc2lvbgAAAAAACUxhc3RXcml0ZQDTboeOkQEAAAACAP////9wAHAAAAAFX2lkABAAAAAEI+HnNVFpXECGIiDxDDUX+gNEYXRhABYAAAACUGVyc29uYWxJZAABAAAAAAACTmFtZQALAAAAUGVyc29uYWxJZAAQVmVyc2lvbgAAAAAACUxhc3RXcml0ZQDrbo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61466240"/>
  <p:tag name="EMPOWERCHARTSPROPERTIES_B_LENGTH" val="24576"/>
  <p:tag name="DOWN_MIGRATION_INITIAL_LAYOUT_REQUIRED" val="9.2.99"/>
  <p:tag name="RUNTIME_ID" val="017b9942-e0a3-4a78-8abb-fa8beaa94470"/>
</p:tagLst>
</file>

<file path=ppt/tags/tag3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6qY/Q4rimlIgIA1CBqQn5oEAAAAAAADAAAAAAADAAAABAADAAIA////////BQAAAAMAEAALB1MGz8FMEUuK4c6uCBidawQAAAABAAMAAAAEAAMAAAABAAMAAAAAAP///////wQAAQD///////8FAAAABAAQAAsIyzI7Iak+SJtLP2fggQ9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pj9DiuKaUiAgDUIGpCfmgREYXRhAAUAAAAAAk5hbWUADQAAAExpbmtEYXRhTGlzdAAQVmVyc2lvbgAAAAAACUxhc3RXcml0ZQAWb4eOkQEAAAABAP////9hAGEAAAAFX2lkABAAAAAEB1MGz8FMEUuK4c6uCBidawREYXRhAAUAAAAAAk5hbWUADQAAAExpbmtEYXRhTGlzdAAQVmVyc2lvbgABAAAACUxhc3RXcml0ZQAWb4eOkQEAAAACAP////9wAHAAAAAFX2lkABAAAAAECMsyOyGpPkibSz9n4IEPcgNEYXRhABYAAAACUGVyc29uYWxJZAABAAAAAAACTmFtZQALAAAAUGVyc29uYWxJZAAQVmVyc2lvbgAAAAAACUxhc3RXcml0ZQAwb4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62948258"/>
  <p:tag name="EMPOWERCHARTSPROPERTIES_B_LENGTH" val="24576"/>
  <p:tag name="DOWN_MIGRATION_INITIAL_LAYOUT_REQUIRED" val="9.2.99"/>
  <p:tag name="RUNTIME_ID" val="e0e646fe-b9f6-4420-933a-c8c18f510eff"/>
</p:tagLst>
</file>

<file path=ppt/tags/tag3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wAZeSheG91KgVlxcrRZndoEAAAAAAADAAAAAAADAAAABAADAAEA////////BQAAAAMAEAALhrp5pTtRpka7VHvUVfXUSQQAAAABAAMAAAAEAAMAAAABAAQAAQD///////8FAAAABAAQAAu0mLWDWTCTQr4jR5pGS1I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Bl5KF4b3UqBWXFytFmd2gREYXRhAAUAAAAAAk5hbWUADQAAAExpbmtEYXRhTGlzdAAQVmVyc2lvbgAAAAAACUxhc3RXcml0ZQBGbIeOkQEAAAABAP////9hAGEAAAAFX2lkABAAAAAEhrp5pTtRpka7VHvUVfXUSQREYXRhAAUAAAAAAk5hbWUADQAAAExpbmtEYXRhTGlzdAAQVmVyc2lvbgABAAAACUxhc3RXcml0ZQBKbIeOkQEAAAACAP////9wAHAAAAAFX2lkABAAAAAEtJi1g1kwk0K+I0eaRktSOwNEYXRhABYAAAACUGVyc29uYWxJZAABAAAAAAACTmFtZQALAAAAUGVyc29uYWxJZAAQVmVyc2lvbgAAAAAACUxhc3RXcml0ZQB3bIeO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2699255249536"/>
  <p:tag name="EMPOWERCHARTSPROPERTIES_B_LENGTH" val="24576"/>
  <p:tag name="DOWN_MIGRATION_INITIAL_LAYOUT_REQUIRED" val="9.2.99"/>
  <p:tag name="RUNTIME_ID" val="e8194aff-6754-40b2-97e6-d7e713df09c1"/>
</p:tagLst>
</file>

<file path=ppt/tags/tag3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BAD///////////////////////////////////////////////////////////////////////////////////////////////////////////////////////////////////////////////////////////////////////////////////////////////////////////////////////////////////////////////////////////////////////////////////////////////////////////////////////////////////////////////////////////////////////////////////////////////////////////////////////////////////////////////////////////////////////////////////////////////8BACAA////////////////AAAO////////AwAAAAMA////////////////////////////////////////////////////////////////////////////////////////////////////////////////////////////////////////////////////////////////////////////////////////////////////////////////////////////////////////////////////////////////////////////////////////////////////////////////////////////////////////////////////////////////////////////////////////////////////////////////////////////////////////////////////////////////////////////////////////////////////////////////////////AgABAP///////wUAAAACABAACz6BYnImP3hMo22UxJBCZ94EAAAAAAADAAAABAADAAAAAwADAAEA////////BQAAAAMAEAALQcJR8M8KOUSDopxTcxlx9wQAAAABAAMAAAACAAMAAAABAAQAAgD///////8FAAAABAAQAAvYOcgzBiGXRrUN4cLvWndh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oFiciY/eEyjbZTEkEJn3gREYXRhAAUAAAAAAk5hbWUADQAAAExpbmtEYXRhTGlzdAAQVmVyc2lvbgAAAAAACUxhc3RXcml0ZQBgpK6YkQEAAAABAP////9hAGEAAAAFX2lkABAAAAAEQcJR8M8KOUSDopxTcxlx9wREYXRhAAUAAAAAAk5hbWUADQAAAExpbmtEYXRhTGlzdAAQVmVyc2lvbgABAAAACUxhc3RXcml0ZQBhpK6YkQEAAAACAP////9wAHAAAAAFX2lkABAAAAAE2DnIMwYhl0a1DeHC71p3YQNEYXRhABYAAAACUGVyc29uYWxJZAABAAAAAAACTmFtZQALAAAAUGVyc29uYWxJZAAQVmVyc2lvbgAAAAAACUxhc3RXcml0ZQB8pK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79243321"/>
  <p:tag name="EMPOWERCHARTSPROPERTIES_B_LENGTH" val="24576"/>
  <p:tag name="DOWN_MIGRATION_INITIAL_LAYOUT_REQUIRED" val="9.2.99"/>
  <p:tag name="RUNTIME_ID" val="dd649c0f-69b7-45b3-973d-edf5057df5bf"/>
</p:tagLst>
</file>

<file path=ppt/tags/tag3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54dH6dDBhlHvpNbvljRLxoEAAAAAAADAAAABAADAAAAAwADAAAABAD///////8DAAAAAAD///////8DAAEA////////BQAAAAMAEAALfyZKqefhTUGfSPLsJw4MEgQAAAABAAMAAAACAAMAAAABAAQAAgD///////8FAAAABAAQAAtJSbQ8EMGnQpV12w1vR0/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h0fp0MGGUe+k1u+WNEvGgREYXRhAAUAAAAAAk5hbWUADQAAAExpbmtEYXRhTGlzdAAQVmVyc2lvbgAAAAAACUxhc3RXcml0ZQAjpq6YkQEAAAABAP////9hAGEAAAAFX2lkABAAAAAEfyZKqefhTUGfSPLsJw4MEgREYXRhAAUAAAAAAk5hbWUADQAAAExpbmtEYXRhTGlzdAAQVmVyc2lvbgABAAAACUxhc3RXcml0ZQAjpq6YkQEAAAACAP////9wAHAAAAAFX2lkABAAAAAESUm0PBDBp0KVddsNb0dP1gNEYXRhABYAAAACUGVyc29uYWxJZAABAAAAAAACTmFtZQALAAAAUGVyc29uYWxJZAAQVmVyc2lvbgAAAAAACUxhc3RXcml0ZQBapq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3989966"/>
  <p:tag name="EMPOWERCHARTSPROPERTIES_B_LENGTH" val="24576"/>
  <p:tag name="DOWN_MIGRATION_INITIAL_LAYOUT_REQUIRED" val="9.2.99"/>
  <p:tag name="RUNTIME_ID" val="3ecc9d5d-9e18-4a81-8904-204245077457"/>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gD///////8DAAAAAgD///////8DAAAAAgD///////////////////////////////////////////////////////////////////////////////////////////////////////////////////////////////////////////////////////////////////////////////////////////////////////////////////////////////////////////////////////////////////////////////////////////////////////////////////////////////////////////////////////////////////////////////////////////////////////////////////////////////////////////////8BACAA////////////////AAAO////////AwAAAAMA////////////////////////////////////////////////////////////////////////////////////////////////////////////////////////////////////////////////////////////////////////////////////////////////////////////////////////////////////////////////////////////////////////////////////////////////////////////////////////////////////////////////////////////////////////////////////////////////////////////////////////////////////////////////////////////////////////////////////////////////////////////////////////AgAFAP///////wUAAAACABAACxEde6pt8UpLkQctAphiZ20EAAAAAAADAAAAAAADAAAABAADAAAAAAADAAAAAwADAAAAAAD///////8DAAAAAAD///////8DAAAAAAD///////8DAAIA////////BQAAAAMAEAAL82de6w8DskCkUEup7hoE2gQAAAABAAMAAAAEAAMAAAABAAMAAAACAP///////wQAAQD///////8FAAAABAAQAAuitbrkzAOqRrXieqPyd9Dh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R17qm3xSkuRBy0CmGJnbQREYXRhAAUAAAAAAk5hbWUADQAAAExpbmtEYXRhTGlzdAAQVmVyc2lvbgABAAAACUxhc3RXcml0ZQCDpq6YkQEAAAABAP////9hAGEAAAAFX2lkABAAAAAE82de6w8DskCkUEup7hoE2gREYXRhAAUAAAAAAk5hbWUADQAAAExpbmtEYXRhTGlzdAAQVmVyc2lvbgAAAAAACUxhc3RXcml0ZQCDpq6YkQEAAAACAP////9wAHAAAAAFX2lkABAAAAAEorW65MwDqka14nqj8nfQ4QNEYXRhABYAAAACUGVyc29uYWxJZAABAAAAAAACTmFtZQALAAAAUGVyc29uYWxJZAAQVmVyc2lvbgAAAAAACUxhc3RXcml0ZQCbpq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UAAAACAP///////////////////////////////////////////////////////////////////////////////////////////////////////////////////////////////////////////////////////////////////////////////////////////////////////////////////////////////////////////////////////////////////////////////////////////////////////////////////////////////////////////////////////////////////////////////////////////////////////////////////////////////////////////////wEAIAH///////////////8AAA7///////8FAAAABAD///////////////////////////////////////////////////////////////////////////////////////////////////////////////////////////////////////////////////////////////////////////////////////////////////////////////////////////////////////////////////////////////////////////////////////////////////////////////////////////////////////////////////////////////////////////////////////////////////////////////////////////////////////////////////////////////////////////////////////////////////////////////////////8CAAUBAwAAAAIA////////DgAGTGlua0RhdGFMaXN0XzEEAAAAAAAFAAAAAwAFAAAABAAFAAAAAwD///////8FAAAAAA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4645535"/>
  <p:tag name="EMPOWERCHARTSPROPERTIES_B_LENGTH" val="24576"/>
  <p:tag name="DOWN_MIGRATION_INITIAL_LAYOUT_REQUIRED" val="9.2.99"/>
  <p:tag name="RUNTIME_ID" val="5044b001-680b-4a90-a48c-26aad9f88844"/>
</p:tagLst>
</file>

<file path=ppt/tags/tag3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zeA1AqEUtZNssEbnIbJJ/AEAAAAAAADAAAAAAADAAAAAwADAAQA////////BQAAAAMAEAAL3MyvjHlL2kSoBWB0p9leCQQAAAABAAMAAAACAAMAAAAEAAMAAAAAAAMAAAAEAAMAAAAAAP///////wMAAAAAAP///////wQAAgD///////8FAAAABAAQAAug90LlBGyyRYbQnIq4AAAT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4DUCoRS1k2ywRuchskn8AREYXRhAAUAAAAAAk5hbWUADQAAAExpbmtEYXRhTGlzdAAQVmVyc2lvbgAAAAAACUxhc3RXcml0ZQATp66YkQEAAAABAP////9hAGEAAAAFX2lkABAAAAAE3MyvjHlL2kSoBWB0p9leCQREYXRhAAUAAAAAAk5hbWUADQAAAExpbmtEYXRhTGlzdAAQVmVyc2lvbgABAAAACUxhc3RXcml0ZQATp66YkQEAAAACAP////9wAHAAAAAFX2lkABAAAAAEoPdC5QRsskWG0JyKuAAAEwNEYXRhABYAAAACUGVyc29uYWxJZAABAAAAAAACTmFtZQALAAAAUGVyc29uYWxJZAAQVmVyc2lvbgAAAAAACUxhc3RXcml0ZQArp6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6102514"/>
  <p:tag name="EMPOWERCHARTSPROPERTIES_B_LENGTH" val="24576"/>
  <p:tag name="DOWN_MIGRATION_INITIAL_LAYOUT_REQUIRED" val="9.2.99"/>
  <p:tag name="RUNTIME_ID" val="12096c76-4e09-418f-971c-619762d58136"/>
</p:tagLst>
</file>

<file path=ppt/tags/tag3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MA////////////////////////////////////////////////////////////////////////////////////////////////////////////////////////////////////////////////////////////////////////////////////////////////////////////////////////////////////////////////////////////////////////////////////////////////////////////////////////////////////////////////////////////////////////////////////////////////////////////////////////////////////////////////////////////////////////////////////////////////////////////////////////AgABAP///////wUAAAACABAAC5aRmgqgZ01Ai8nQoac6Nj0EAAAAAAADAAAAAAADAAAABAADAAMA////////BQAAAAMAEAALZpKMXKxg1Uaa60RjnYDc1gQAAAABAAMAAAAEAAMAAAABAAMAAAAAAP///////wMAAAAAAP///////wQAAQD///////8FAAAABAAQAAttjHsYRyIcQrjOl9A26GD9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pGaCqBnTUCLydChpzo2PQREYXRhAAUAAAAAAk5hbWUADQAAAExpbmtEYXRhTGlzdAAQVmVyc2lvbgABAAAACUxhc3RXcml0ZQA4+4qxkQEAAAABAP////9hAGEAAAAFX2lkABAAAAAEZpKMXKxg1Uaa60RjnYDc1gREYXRhAAUAAAAAAk5hbWUADQAAAExpbmtEYXRhTGlzdAAQVmVyc2lvbgAAAAAACUxhc3RXcml0ZQAx+4qxkQEAAAACAP////9wAHAAAAAFX2lkABAAAAAEbYx7GEciHEK4zpfQNuhg/QNEYXRhABYAAAACUGVyc29uYWxJZAABAAAAAAACTmFtZQALAAAAUGVyc29uYWxJZAAQVmVyc2lvbgAAAAAACUxhc3RXcml0ZQBX+4qx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UAAAADAP///////////////////////////////////////////////////////////////////////////////////////////////////////////////////////////////////////////////////////////////////////////////////////////////////////////////////////////////////////////////////////////////////////////////////////////////////////////////////////////////////////////////////////////////////////////////////////////////////////////////////////////////////////////////////////////////////////////////wEAIAH///////////////8AAA7///////8FAAAABAD///////////////////////////////////////////////////////////////////////////////////////////////////////////////////////////////////////////////////////////////////////////////////////////////////////////////////////////////////////////////////////////////////////////////////////////////////////////////////////////////////////////////////////////////////////////////////////////////////////////////////////////////////////////////////////////////////////////////////////////////////////////////////////8CAAEBAwAAAAIA////////DgAGTGlua0RhdGFMaXN0XzEEAAAAAAAFAAAAAwAFAAAABAADAAMBAwAAAAMA////////DgAGTGlua0RhdGFMaXN0XzAEAAAAAQ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8573612584384"/>
  <p:tag name="EMPOWERCHARTSPROPERTIES_B_LENGTH" val="24576"/>
  <p:tag name="DOWN_MIGRATION_INITIAL_LAYOUT_REQUIRED" val="9.2.99"/>
  <p:tag name="RUNTIME_ID" val="b93c7013-4c3b-48f1-a500-cdf799e46b56"/>
</p:tagLst>
</file>

<file path=ppt/tags/tag3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1FPtSoD9dBMmPe7cJCYvqEEAAAAAAADAAAAAAADAAAAAwADAAAAAAADAAAABAADAAEA////////BQAAAAMAEAALF782mSDmCkOIbU+fovcboAQAAAABAAMAAAACAAMAAAAEAAQABQD///////8FAAAABAAQAAsv/zLU7+6USaUoj41fY6z7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U+1KgP10EyY97twkJi+oQREYXRhAAUAAAAAAk5hbWUADQAAAExpbmtEYXRhTGlzdAAQVmVyc2lvbgAAAAAACUxhc3RXcml0ZQCC+4qxkQEAAAABAP////9hAGEAAAAFX2lkABAAAAAEF782mSDmCkOIbU+fovcboAREYXRhAAUAAAAAAk5hbWUADQAAAExpbmtEYXRhTGlzdAAQVmVyc2lvbgABAAAACUxhc3RXcml0ZQCC+4qxkQEAAAACAP////9wAHAAAAAFX2lkABAAAAAEL/8y1O/ulEmlKI+NX2Os+wNEYXRhABYAAAACUGVyc29uYWxJZAABAAAAAAACTmFtZQALAAAAUGVyc29uYWxJZAAQVmVyc2lvbgAAAAAACUxhc3RXcml0ZQCk+4qx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8573613374238"/>
  <p:tag name="EMPOWERCHARTSPROPERTIES_B_LENGTH" val="24576"/>
  <p:tag name="DOWN_MIGRATION_INITIAL_LAYOUT_REQUIRED" val="9.2.99"/>
  <p:tag name="RUNTIME_ID" val="6e53ef77-e630-40a0-b4ab-f775ef233d77"/>
</p:tagLst>
</file>

<file path=ppt/tags/tag3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54dH6dDBhlHvpNbvljRLxoEAAAAAAADAAAABAADAAAAAwADAAAABAD///////8DAAAAAAD///////8DAAEA////////BQAAAAMAEAALfyZKqefhTUGfSPLsJw4MEgQAAAABAAMAAAACAAMAAAABAAQAAgD///////8FAAAABAAQAAtJSbQ8EMGnQpV12w1vR0/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h0fp0MGGUe+k1u+WNEvGgREYXRhAAUAAAAAAk5hbWUADQAAAExpbmtEYXRhTGlzdAAQVmVyc2lvbgAAAAAACUxhc3RXcml0ZQAjpq6YkQEAAAABAP////9hAGEAAAAFX2lkABAAAAAEfyZKqefhTUGfSPLsJw4MEgREYXRhAAUAAAAAAk5hbWUADQAAAExpbmtEYXRhTGlzdAAQVmVyc2lvbgABAAAACUxhc3RXcml0ZQAjpq6YkQEAAAACAP////9wAHAAAAAFX2lkABAAAAAESUm0PBDBp0KVddsNb0dP1gNEYXRhABYAAAACUGVyc29uYWxJZAABAAAAAAACTmFtZQALAAAAUGVyc29uYWxJZAAQVmVyc2lvbgAAAAAACUxhc3RXcml0ZQBapq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3989966"/>
  <p:tag name="EMPOWERCHARTSPROPERTIES_B_LENGTH" val="24576"/>
  <p:tag name="DOWN_MIGRATION_INITIAL_LAYOUT_REQUIRED" val="9.2.99"/>
  <p:tag name="RUNTIME_ID" val="101b1f33-3095-45b4-80fc-145bd8b73053"/>
</p:tagLst>
</file>

<file path=ppt/tags/tag3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54dH6dDBhlHvpNbvljRLxoEAAAAAAADAAAABAADAAAAAwADAAAABAD///////8DAAAAAAD///////8DAAEA////////BQAAAAMAEAALfyZKqefhTUGfSPLsJw4MEgQAAAABAAMAAAACAAMAAAABAAQAAgD///////8FAAAABAAQAAtJSbQ8EMGnQpV12w1vR0/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h0fp0MGGUe+k1u+WNEvGgREYXRhAAUAAAAAAk5hbWUADQAAAExpbmtEYXRhTGlzdAAQVmVyc2lvbgAAAAAACUxhc3RXcml0ZQAjpq6YkQEAAAABAP////9hAGEAAAAFX2lkABAAAAAEfyZKqefhTUGfSPLsJw4MEgREYXRhAAUAAAAAAk5hbWUADQAAAExpbmtEYXRhTGlzdAAQVmVyc2lvbgABAAAACUxhc3RXcml0ZQAjpq6YkQEAAAACAP////9wAHAAAAAFX2lkABAAAAAESUm0PBDBp0KVddsNb0dP1gNEYXRhABYAAAACUGVyc29uYWxJZAABAAAAAAACTmFtZQALAAAAUGVyc29uYWxJZAAQVmVyc2lvbgAAAAAACUxhc3RXcml0ZQBapq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3989966"/>
  <p:tag name="EMPOWERCHARTSPROPERTIES_B_LENGTH" val="24576"/>
  <p:tag name="DOWN_MIGRATION_INITIAL_LAYOUT_REQUIRED" val="9.2.99"/>
  <p:tag name="RUNTIME_ID" val="a5eb4d26-0b5d-4baa-a18d-f55866c2b38f"/>
</p:tagLst>
</file>

<file path=ppt/tags/tag3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54dH6dDBhlHvpNbvljRLxoEAAAAAAADAAAABAADAAAAAwADAAAABAD///////8DAAAAAAD///////8DAAEA////////BQAAAAMAEAALfyZKqefhTUGfSPLsJw4MEgQAAAABAAMAAAACAAMAAAABAAQAAgD///////8FAAAABAAQAAtJSbQ8EMGnQpV12w1vR0/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h0fp0MGGUe+k1u+WNEvGgREYXRhAAUAAAAAAk5hbWUADQAAAExpbmtEYXRhTGlzdAAQVmVyc2lvbgAAAAAACUxhc3RXcml0ZQAjpq6YkQEAAAABAP////9hAGEAAAAFX2lkABAAAAAEfyZKqefhTUGfSPLsJw4MEgREYXRhAAUAAAAAAk5hbWUADQAAAExpbmtEYXRhTGlzdAAQVmVyc2lvbgABAAAACUxhc3RXcml0ZQAjpq6YkQEAAAACAP////9wAHAAAAAFX2lkABAAAAAESUm0PBDBp0KVddsNb0dP1gNEYXRhABYAAAACUGVyc29uYWxJZAABAAAAAAACTmFtZQALAAAAUGVyc29uYWxJZAAQVmVyc2lvbgAAAAAACUxhc3RXcml0ZQBapq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3989966"/>
  <p:tag name="EMPOWERCHARTSPROPERTIES_B_LENGTH" val="24576"/>
  <p:tag name="DOWN_MIGRATION_INITIAL_LAYOUT_REQUIRED" val="9.2.99"/>
  <p:tag name="RUNTIME_ID" val="505f9f43-4cea-4cdb-b441-62f3fe7dfb67"/>
</p:tagLst>
</file>

<file path=ppt/tags/tag3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54dH6dDBhlHvpNbvljRLxoEAAAAAAADAAAABAADAAAAAwADAAAABAD///////8DAAAAAAD///////8DAAEA////////BQAAAAMAEAALfyZKqefhTUGfSPLsJw4MEgQAAAABAAMAAAACAAMAAAABAAQAAgD///////8FAAAABAAQAAtJSbQ8EMGnQpV12w1vR0/W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h0fp0MGGUe+k1u+WNEvGgREYXRhAAUAAAAAAk5hbWUADQAAAExpbmtEYXRhTGlzdAAQVmVyc2lvbgAAAAAACUxhc3RXcml0ZQAjpq6YkQEAAAABAP////9hAGEAAAAFX2lkABAAAAAEfyZKqefhTUGfSPLsJw4MEgREYXRhAAUAAAAAAk5hbWUADQAAAExpbmtEYXRhTGlzdAAQVmVyc2lvbgABAAAACUxhc3RXcml0ZQAjpq6YkQEAAAACAP////9wAHAAAAAFX2lkABAAAAAESUm0PBDBp0KVddsNb0dP1gNEYXRhABYAAAACUGVyc29uYWxJZAABAAAAAAACTmFtZQALAAAAUGVyc29uYWxJZAAQVmVyc2lvbgAAAAAACUxhc3RXcml0ZQBapq6Y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4402683989966"/>
  <p:tag name="EMPOWERCHARTSPROPERTIES_B_LENGTH" val="24576"/>
  <p:tag name="DOWN_MIGRATION_INITIAL_LAYOUT_REQUIRED" val="9.2.99"/>
  <p:tag name="RUNTIME_ID" val="475e14c4-c89c-4903-a3df-68caa2c696c5"/>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MIO_EKGUID" val="fb5dcaca-c9bf-457f-b813-7c8c835f918f"/>
  <p:tag name="MIO_GUID" val="b03f2e6c-4134-48bf-a8a6-50d67ab48e00"/>
  <p:tag name="MIO_UPDATE" val="True"/>
  <p:tag name="MIO_VERSION" val="16.01.2021 09:51:26"/>
  <p:tag name="MIO_DBID" val="FDE84254-54DB-49E3-9A0E-CDE72035D530"/>
  <p:tag name="MIO_LASTDOWNLOADED" val="23.02.2023 09:48:57.705"/>
  <p:tag name="MIO_OBJECTNAME" val="Wafer"/>
  <p:tag name="MIO_LASTEDITORNAME" val="Tim Tuerger"/>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AgD///////8DAAAAAgD///////////////////////////////////////////////////////////////////////////////////////////////////////////////////////////////////////////////////////////////////////////////////////////////////////////////////////////////////////////////////////////////////////////////////////////////////////////////////////////////////////////////////////////////////////////////////////////////////////////////////////////////////////////////////////////////////////////////////////////////8BACAA////////////////AAAO////////AwAAAAQA////////////////////////////////////////////////////////////////////////////////////////////////////////////////////////////////////////////////////////////////////////////////////////////////////////////////////////////////////////////////////////////////////////////////////////////////////////////////////////////////////////////////////////////////////////////////////////////////////////////////////////////////////////////////////////////////////////////////////////////////////////////////////////AgACAP///////wUAAAACABAAC7FRcBPNQvVLsUin5GHIw/sEAAAAAAADAAAAAAADAAAAAwADAAAAAAD///////8DAAEA////////BQAAAAMAEAALeJgBMEQHIUW9Gzge2cho4QQAAAABAAMAAAACAAMAAAAEAAQAAQD///////8FAAAABAAQAAuWVPLuOCSVTq3hJQi86E2a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VFwE81C9UuxSKfkYcjD+wREYXRhAAUAAAAAAk5hbWUADQAAAExpbmtEYXRhTGlzdAAQVmVyc2lvbgAAAAAACUxhc3RXcml0ZQBp74WZkgEAAAABAP////9hAGEAAAAFX2lkABAAAAAEeJgBMEQHIUW9Gzge2cho4QREYXRhAAUAAAAAAk5hbWUADQAAAExpbmtEYXRhTGlzdAAQVmVyc2lvbgABAAAACUxhc3RXcml0ZQBr74WZkgEAAAACAP////9wAHAAAAAFX2lkABAAAAAEllTy7jgklU6t4SUIvOhNmgNEYXRhABYAAAACUGVyc29uYWxJZAABAAAAAAACTmFtZQALAAAAUGVyc29uYWxJZAAQVmVyc2lvbgAAAAAACUxhc3RXcml0ZQCR74WZ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EAP///////////////////////////////////////////////////////////////////////////////////////////////////////////////////////////////////////////////////////////////////////////////////////////////////////////////////////////////////////////////////////////////////////////////////////////////////////////////////////////////////////////////////////////////////////////////////////////////////////////////////////////////////////////////////////////////////////////////wEAIAH///////////////8AAA7///////8FAAAABAD///////////////////////////////////////////////////////////////////////////////////////////////////////////////////////////////////////////////////////////////////////////////////////////////////////////////////////////////////////////////////////////////////////////////////////////////////////////////////////////////////////////////////////////////////////////////////////////////////////////////////////////////////////////////////////////////////////////////////////////////////////////////////////8CAAIBAwAAAAIA////////DgAGTGlua0RhdGFMaXN0XzAEAAAAAAAFAAAAAAAFAAAAAwAFAAAAAAAFAAAABAADAAEBAwAAAAMA////////DgAGTGlua0RhdGFMaXN0XzEEAAAAAQAFAAAAAgAFAAAABAAEAAMBAwAAAAQA////////DAAGUGVyc29uYWxJZF8wBAAAAAIABQAAAAM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47493446817611"/>
  <p:tag name="EMPOWERCHARTSPROPERTIES_B_LENGTH" val="24576"/>
  <p:tag name="DOWN_MIGRATION_INITIAL_LAYOUT_REQUIRED" val="9.2.99"/>
  <p:tag name="RUNTIME_ID" val="7115aa14-4e10-42b6-b79b-5df2554cdd0d"/>
</p:tagLst>
</file>

<file path=ppt/tags/tag3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MIO_GUID" val="8130be6a-25d6-4479-8544-6df5f062bb3c"/>
  <p:tag name="MIO_EKGUID" val="485166fc-8897-41bc-8846-c9d32bfde593"/>
  <p:tag name="MIO_UPDATE" val="True"/>
  <p:tag name="MIO_VERSION" val="21.06.2021 12:34:08"/>
  <p:tag name="MIO_DBID" val="FDE84254-54DB-49E3-9A0E-CDE72035D530"/>
  <p:tag name="MIO_LASTDOWNLOADED" val="09.02.2024 15:24:03.967"/>
  <p:tag name="MIO_OBJECTNAME" val="06 Text 16pt with bullet"/>
  <p:tag name="MIO_LASTEDITORNAME" val="Verena Kohl"/>
</p:tagLst>
</file>

<file path=ppt/tags/tag396.xml><?xml version="1.0" encoding="utf-8"?>
<p:tagLst xmlns:a="http://schemas.openxmlformats.org/drawingml/2006/main" xmlns:r="http://schemas.openxmlformats.org/officeDocument/2006/relationships" xmlns:p="http://schemas.openxmlformats.org/presentationml/2006/main">
  <p:tag name="MIO_GUID" val="8130be6a-25d6-4479-8544-6df5f062bb3c"/>
  <p:tag name="MIO_EKGUID" val="485166fc-8897-41bc-8846-c9d32bfde593"/>
  <p:tag name="MIO_UPDATE" val="True"/>
  <p:tag name="MIO_VERSION" val="21.06.2021 12:34:08"/>
  <p:tag name="MIO_DBID" val="FDE84254-54DB-49E3-9A0E-CDE72035D530"/>
  <p:tag name="MIO_LASTDOWNLOADED" val="09.02.2024 15:24:03.967"/>
  <p:tag name="MIO_OBJECTNAME" val="06 Text 16pt with bullet"/>
  <p:tag name="MIO_LASTEDITORNAME" val="Verena Kohl"/>
</p:tagLst>
</file>

<file path=ppt/tags/tag397.xml><?xml version="1.0" encoding="utf-8"?>
<p:tagLst xmlns:a="http://schemas.openxmlformats.org/drawingml/2006/main" xmlns:r="http://schemas.openxmlformats.org/officeDocument/2006/relationships" xmlns:p="http://schemas.openxmlformats.org/presentationml/2006/main">
  <p:tag name="MIO_GUID" val="f0392b94-da25-4603-b1e7-6545a5e15bd8"/>
  <p:tag name="MIO_EKGUID" val="52cae781-3dac-46d1-8d8e-26f98409d0c6"/>
  <p:tag name="MIO_UPDATE" val="True"/>
  <p:tag name="MIO_VERSION" val="18.03.2021 07:21:54"/>
  <p:tag name="MIO_DBID" val="FDE84254-54DB-49E3-9A0E-CDE72035D530"/>
  <p:tag name="MIO_LASTDOWNLOADED" val="24.02.2022 13:01:29.200"/>
  <p:tag name="MIO_OBJECTNAME" val="09 Banded Columns - Ocean"/>
  <p:tag name="MIO_LASTEDITORNAME" val="Verena Kohl"/>
</p:tagLst>
</file>

<file path=ppt/tags/tag398.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399.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0.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1.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2.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3.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4.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5.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6.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7.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8.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09.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 name="MIO_HARVEYBALL" val="MIO_HARVEYBALL"/>
  <p:tag name="MIO_HARVEYBALL_FILLPERCENTAGE" val="100"/>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0.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1.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2.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3.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4.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5.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6.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7.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8.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19.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0.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1.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2.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3.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4.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5.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6.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7.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8.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29.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0.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31.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32.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33.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34.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35.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86a50292-4992-4047-bd61-9c691ee67b75"/>
  <p:tag name="MIO_UPDATE" val="True"/>
  <p:tag name="MIO_VERSION" val="21.06.2021 09:26:43"/>
  <p:tag name="MIO_DBID" val="FDE84254-54DB-49E3-9A0E-CDE72035D530"/>
  <p:tag name="MIO_LASTDOWNLOADED" val="24.02.2022 13:06:40.604"/>
  <p:tag name="MIO_OBJECTNAME" val="Harvey Ball"/>
  <p:tag name="MIO_LASTEDITORNAME" val="Verena Kohl"/>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MIO_EKGUID" val="017a48ba-118c-4d8d-aed0-9973c57da116"/>
  <p:tag name="MIO_GUID" val="d7891cff-7ecc-401d-aab3-d38d7fbdea2f"/>
  <p:tag name="MIO_UPDATE" val="True"/>
  <p:tag name="MIO_VERSION" val="17.04.2023 19:19:50"/>
  <p:tag name="MIO_DBID" val="FDE84254-54DB-49E3-9A0E-CDE72035D530"/>
  <p:tag name="MIO_LASTDOWNLOADED" val="07.02.2024 11:32:34.150"/>
  <p:tag name="MIO_OBJECTNAME" val="Man using smart home panel"/>
  <p:tag name="MIO_LASTEDITORNAME" val="Miguel Madeyski"/>
</p:tagLst>
</file>

<file path=ppt/tags/tag438.xml><?xml version="1.0" encoding="utf-8"?>
<p:tagLst xmlns:a="http://schemas.openxmlformats.org/drawingml/2006/main" xmlns:r="http://schemas.openxmlformats.org/officeDocument/2006/relationships" xmlns:p="http://schemas.openxmlformats.org/presentationml/2006/main">
  <p:tag name="MIO_GUID" val="1fcf63c1-c3ae-45c8-a090-197b884829ce"/>
  <p:tag name="MIO_EK" val="651"/>
</p:tagLst>
</file>

<file path=ppt/tags/tag439.xml><?xml version="1.0" encoding="utf-8"?>
<p:tagLst xmlns:a="http://schemas.openxmlformats.org/drawingml/2006/main" xmlns:r="http://schemas.openxmlformats.org/officeDocument/2006/relationships" xmlns:p="http://schemas.openxmlformats.org/presentationml/2006/main">
  <p:tag name="MIO_GUID" val="4a843403-2549-4951-a27a-edc1e4fab432"/>
  <p:tag name="MIO_EK" val="650"/>
  <p:tag name="MIO_EKGUID" val="6754e82c-3a15-43ee-978f-45e13f63a8a8"/>
  <p:tag name="MIO_UPDATE" val="True"/>
  <p:tag name="MIO_VERSION" val="21.06.2021 12:41:07"/>
  <p:tag name="MIO_DBID" val="FDE84254-54DB-49E3-9A0E-CDE72035D530"/>
  <p:tag name="MIO_LASTDOWNLOADED" val="24.02.2022 15:56:23.994"/>
  <p:tag name="MIO_OBJECTNAME" val="12 Legend"/>
  <p:tag name="MIO_LASTEDITORNAME" val="Verena Kohl"/>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0.xml><?xml version="1.0" encoding="utf-8"?>
<p:tagLst xmlns:a="http://schemas.openxmlformats.org/drawingml/2006/main" xmlns:r="http://schemas.openxmlformats.org/officeDocument/2006/relationships" xmlns:p="http://schemas.openxmlformats.org/presentationml/2006/main">
  <p:tag name="MIO_GUID" val="1fcf63c1-c3ae-45c8-a090-197b884829ce"/>
  <p:tag name="MIO_EK" val="651"/>
</p:tagLst>
</file>

<file path=ppt/tags/tag441.xml><?xml version="1.0" encoding="utf-8"?>
<p:tagLst xmlns:a="http://schemas.openxmlformats.org/drawingml/2006/main" xmlns:r="http://schemas.openxmlformats.org/officeDocument/2006/relationships" xmlns:p="http://schemas.openxmlformats.org/presentationml/2006/main">
  <p:tag name="MIO_EKGUID" val="aba589ad-c090-4b0a-9723-396d8cb9beb1"/>
  <p:tag name="MIO_GUID" val="a7201bf1-d2d7-49a6-881d-b15b8cb4c00a"/>
  <p:tag name="MIO_UPDATE" val="True"/>
  <p:tag name="MIO_VERSION" val="17.04.2023 19:21:03"/>
  <p:tag name="MIO_DBID" val="FDE84254-54DB-49E3-9A0E-CDE72035D530"/>
  <p:tag name="MIO_LASTDOWNLOADED" val="21.02.2024 13:22:57.678"/>
  <p:tag name="MIO_OBJECTNAME" val="Man with tablet in smart industry environment"/>
  <p:tag name="MIO_LASTEDITORNAME" val="Miguel Madeyski"/>
</p:tagLst>
</file>

<file path=ppt/tags/tag4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3.xml><?xml version="1.0" encoding="utf-8"?>
<p:tagLst xmlns:a="http://schemas.openxmlformats.org/drawingml/2006/main" xmlns:r="http://schemas.openxmlformats.org/officeDocument/2006/relationships" xmlns:p="http://schemas.openxmlformats.org/presentationml/2006/main">
  <p:tag name="MIO_GUID" val="9a06f577-638f-4bf7-94a6-b10ba1c2334d"/>
  <p:tag name="MIO_EKGUID" val="ada2ae79-5417-402e-8c9c-1ef9e1042ef5"/>
  <p:tag name="MIO_UPDATE" val="True"/>
  <p:tag name="MIO_VERSION" val="21.06.2021 12:40:47"/>
  <p:tag name="MIO_DBID" val="FDE84254-54DB-49E3-9A0E-CDE72035D530"/>
  <p:tag name="MIO_LASTDOWNLOADED" val="26.07.2022 15:28:31.540"/>
  <p:tag name="MIO_OBJECTNAME" val="15 Takeaway"/>
  <p:tag name="MIO_LASTEDITORNAME" val="Verena Kohl"/>
</p:tagLst>
</file>

<file path=ppt/tags/tag444.xml><?xml version="1.0" encoding="utf-8"?>
<p:tagLst xmlns:a="http://schemas.openxmlformats.org/drawingml/2006/main" xmlns:r="http://schemas.openxmlformats.org/officeDocument/2006/relationships" xmlns:p="http://schemas.openxmlformats.org/presentationml/2006/main">
  <p:tag name="MIO_GUID" val="1fcf63c1-c3ae-45c8-a090-197b884829ce"/>
  <p:tag name="MIO_EK" val="651"/>
</p:tagLst>
</file>

<file path=ppt/tags/tag445.xml><?xml version="1.0" encoding="utf-8"?>
<p:tagLst xmlns:a="http://schemas.openxmlformats.org/drawingml/2006/main" xmlns:r="http://schemas.openxmlformats.org/officeDocument/2006/relationships" xmlns:p="http://schemas.openxmlformats.org/presentationml/2006/main">
  <p:tag name="MIO_GUID" val="aa073ddd-3a2f-461f-ab1a-bae61e4421dc"/>
  <p:tag name="MIO_EK" val="651"/>
</p:tagLst>
</file>

<file path=ppt/tags/tag446.xml><?xml version="1.0" encoding="utf-8"?>
<p:tagLst xmlns:a="http://schemas.openxmlformats.org/drawingml/2006/main" xmlns:r="http://schemas.openxmlformats.org/officeDocument/2006/relationships" xmlns:p="http://schemas.openxmlformats.org/presentationml/2006/main">
  <p:tag name="MIO_GUID" val="fa8fd8c1-7c32-4a05-870f-8fd69fd9095e"/>
  <p:tag name="MIO_EK" val="648"/>
  <p:tag name="MIO_EKGUID" val="861cbe49-65d9-4b7d-a834-e16047854516"/>
  <p:tag name="MIO_UPDATE" val="True"/>
  <p:tag name="MIO_VERSION" val="21.06.2021 12:36:34"/>
  <p:tag name="MIO_DBID" val="FDE84254-54DB-49E3-9A0E-CDE72035D530"/>
  <p:tag name="MIO_LASTDOWNLOADED" val="21.03.2022 12:11:56.014"/>
  <p:tag name="MIO_OBJECTNAME" val="11 Highlight"/>
  <p:tag name="MIO_LASTEDITORNAME" val="Verena Kohl"/>
</p:tagLst>
</file>

<file path=ppt/tags/tag447.xml><?xml version="1.0" encoding="utf-8"?>
<p:tagLst xmlns:a="http://schemas.openxmlformats.org/drawingml/2006/main" xmlns:r="http://schemas.openxmlformats.org/officeDocument/2006/relationships" xmlns:p="http://schemas.openxmlformats.org/presentationml/2006/main">
  <p:tag name="MIO_EKGUID" val="aab8d0ad-883a-4658-bf7d-53888b196a55"/>
  <p:tag name="MIO_GUID" val="47f092ba-5d2a-40b1-8731-a2294bc88e38"/>
  <p:tag name="MIO_UPDATE" val="True"/>
  <p:tag name="MIO_VERSION" val="16.01.2021 09:58:46"/>
  <p:tag name="MIO_DBID" val="FDE84254-54DB-49E3-9A0E-CDE72035D530"/>
  <p:tag name="MIO_LASTDOWNLOADED" val="16.02.2022 15:49:43.839"/>
  <p:tag name="MIO_OBJECTNAME" val="Target Square"/>
  <p:tag name="MIO_LASTEDITORNAME" val="Tim Tuerger"/>
</p:tagLst>
</file>

<file path=ppt/tags/tag448.xml><?xml version="1.0" encoding="utf-8"?>
<p:tagLst xmlns:a="http://schemas.openxmlformats.org/drawingml/2006/main" xmlns:r="http://schemas.openxmlformats.org/officeDocument/2006/relationships" xmlns:p="http://schemas.openxmlformats.org/presentationml/2006/main">
  <p:tag name="MIO_GUID" val="1fcf63c1-c3ae-45c8-a090-197b884829ce"/>
  <p:tag name="MIO_EK" val="651"/>
</p:tagLst>
</file>

<file path=ppt/tags/tag449.xml><?xml version="1.0" encoding="utf-8"?>
<p:tagLst xmlns:a="http://schemas.openxmlformats.org/drawingml/2006/main" xmlns:r="http://schemas.openxmlformats.org/officeDocument/2006/relationships" xmlns:p="http://schemas.openxmlformats.org/presentationml/2006/main">
  <p:tag name="MIO_GUID" val="1fcf63c1-c3ae-45c8-a090-197b884829ce"/>
  <p:tag name="MIO_EK" val="651"/>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0.xml><?xml version="1.0" encoding="utf-8"?>
<p:tagLst xmlns:a="http://schemas.openxmlformats.org/drawingml/2006/main" xmlns:r="http://schemas.openxmlformats.org/officeDocument/2006/relationships" xmlns:p="http://schemas.openxmlformats.org/presentationml/2006/main">
  <p:tag name="MIO_GUID" val="aa073ddd-3a2f-461f-ab1a-bae61e4421dc"/>
  <p:tag name="MIO_EK" val="651"/>
</p:tagLst>
</file>

<file path=ppt/tags/tag451.xml><?xml version="1.0" encoding="utf-8"?>
<p:tagLst xmlns:a="http://schemas.openxmlformats.org/drawingml/2006/main" xmlns:r="http://schemas.openxmlformats.org/officeDocument/2006/relationships" xmlns:p="http://schemas.openxmlformats.org/presentationml/2006/main">
  <p:tag name="MIO_EKGUID" val="7adce545-eed5-4939-a99e-390aafd58b33"/>
  <p:tag name="MIO_GUID" val="70792d93-f6f4-4a50-8a9e-a2650c31e8ad"/>
  <p:tag name="MIO_UPDATE" val="True"/>
  <p:tag name="MIO_VERSION" val="05.03.2023 04:18:26"/>
  <p:tag name="MIO_DBID" val="FDE84254-54DB-49E3-9A0E-CDE72035D530"/>
  <p:tag name="MIO_LASTDOWNLOADED" val="21.02.2024 15:46:51.904"/>
  <p:tag name="MIO_OBJECTNAME" val="Thumb up"/>
  <p:tag name="MIO_LASTEDITORNAME" val="Verena Kohl"/>
  <p:tag name="MIO_DISABLE_DIRECT_UPDATE" val="True"/>
</p:tagLst>
</file>

<file path=ppt/tags/tag4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wgsAAAAAAAAAAAAAIAD///////////////8AAAD///////////////8DAAAAAgD///////8DAAAAAgD///////8DAAAAAgD///////8DAAAAAgD///////8DAAAAAgD///////////////////////////////////////////////////////////////////////////////////////////////////////////////////////////////////////////////////////////////////////////////////////////////////////////////////////////////////////////////////////////////////////////////////////////////////////////////////////////////////////////////////////////////////////////////////////////////////////////////////////////////////////////////8BACAA////////////////AAAO////////AwAAAAMA////////////////////////////////////////////////////////////////////////////////////////////////////////////////////////////////////////////////////////////////////////////////////////////////////////////////////////////////////////////////////////////////////////////////////////////////////////////////////////////////////////////////////////////////////////////////////////////////////////////////////////////////////////////////////////////////////////////////////////////////////////////////////////AgAFAP///////wUAAAACABAAC4tCIU8CLrpClrAgv0NZhwAEAAAAAAADAAAAAAADAAAABAADAAAAAAADAAAABAADAAAAAAADAAAAAwADAAAAAAD///////8DAAAAAAD///////8DAAMA////////BQAAAAMAEAALnZi0tE8llESbdH8f0hBEuQQAAAABAAMAAAAEAAMAAAABAAMAAAAEAP///////wMAAAACAP///////wQAAgD///////8FAAAABAAQAAsYU++AweqsTa1TcrMf3s+e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0IhTwIuukKWsCC/Q1mHAAREYXRhAAUAAAAAAk5hbWUADQAAAExpbmtEYXRhTGlzdAAQVmVyc2lvbgABAAAACUxhc3RXcml0ZQBBI3+8kQEAAAABAP////9hAGEAAAAFX2lkABAAAAAEnZi0tE8llESbdH8f0hBEuQREYXRhAAUAAAAAAk5hbWUADQAAAExpbmtEYXRhTGlzdAAQVmVyc2lvbgAAAAAACUxhc3RXcml0ZQAjI3+8kQEAAAACAP////9wAHAAAAAFX2lkABAAAAAEGFPvgMHqrE2tU3KzH97PngNEYXRhABYAAAACUGVyc29uYWxJZAABAAAAAAACTmFtZQALAAAAUGVyc29uYWxJZAAQVmVyc2lvbgAAAAAACUxhc3RXcml0ZQCfI3+8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CAP///////wUAAAACAP///////////////////////////////////////////////////////////////////////////////////////////////////////////////////////////////////////////////////////////////////////////////////////////////////////////////////////////////////////////////////////////////////////////////////////////////////////////////////////////////////////////////////////////////////////////////////////////////////////////////////////////////////////////////wEAIAH///////////////8AAA7///////8FAAAABAD///////////////////////////////////////////////////////////////////////////////////////////////////////////////////////////////////////////////////////////////////////////////////////////////////////////////////////////////////////////////////////////////////////////////////////////////////////////////////////////////////////////////////////////////////////////////////////////////////////////////////////////////////////////////////////////////////////////////////////////////////////////////////////8CAAUBAwAAAAIA////////DgAGTGlua0RhdGFMaXN0XzEEAAAAAAAFAAAAAwAFAAAABAAFAAAAAwAFAAAABAAFAAAAAwAFAAAABAAFAAAAAAD///////8FAAAAAAD///////8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10411345193016"/>
  <p:tag name="EMPOWERCHARTSPROPERTIES_B_LENGTH" val="24576"/>
  <p:tag name="DOWN_MIGRATION_INITIAL_LAYOUT_REQUIRED" val="9.2.99"/>
  <p:tag name="RUNTIME_ID" val="bc504370-1f3b-42e2-9493-f3b45e9f219a"/>
</p:tagLst>
</file>

<file path=ppt/tags/tag4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69aorM/3n1IoTE0uylsjmIEAAAAAAADAAAABAADAAAAAwADAAEA////////BQAAAAMAEAALPPl+/4cNGECoBB07eFoYJQQAAAABAAMAAAACAAMAAAABAAQAAQD///////8FAAAABAAQAAuuL7QpoKTfS4mz598MtfA9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1qisz/efUihMTS7KWyOYgREYXRhAAUAAAAAAk5hbWUADQAAAExpbmtEYXRhTGlzdAAQVmVyc2lvbgAAAAAACUxhc3RXcml0ZQD07LS8kQEAAAABAP////9hAGEAAAAFX2lkABAAAAAEPPl+/4cNGECoBB07eFoYJQREYXRhAAUAAAAAAk5hbWUADQAAAExpbmtEYXRhTGlzdAAQVmVyc2lvbgABAAAACUxhc3RXcml0ZQAB7bS8kQEAAAACAP////9wAHAAAAAFX2lkABAAAAAEri+0KaCk30uJs+ffDLXwPQNEYXRhABYAAAACUGVyc29uYWxJZAABAAAAAAACTmFtZQALAAAAUGVyc29uYWxJZAAQVmVyc2lvbgAAAAAACUxhc3RXcml0ZQAf7bS8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10446595122981"/>
  <p:tag name="EMPOWERCHARTSPROPERTIES_B_LENGTH" val="24576"/>
  <p:tag name="DOWN_MIGRATION_INITIAL_LAYOUT_REQUIRED" val="9.2.99"/>
  <p:tag name="RUNTIME_ID" val="9ebc4693-2448-4814-9dfb-b8e0be997614"/>
</p:tagLst>
</file>

<file path=ppt/tags/tag4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5.xml><?xml version="1.0" encoding="utf-8"?>
<p:tagLst xmlns:a="http://schemas.openxmlformats.org/drawingml/2006/main" xmlns:r="http://schemas.openxmlformats.org/officeDocument/2006/relationships" xmlns:p="http://schemas.openxmlformats.org/presentationml/2006/main">
  <p:tag name="MIO_GUID" val="1fcf63c1-c3ae-45c8-a090-197b884829ce"/>
  <p:tag name="MIO_EK" val="651"/>
</p:tagLst>
</file>

<file path=ppt/tags/tag456.xml><?xml version="1.0" encoding="utf-8"?>
<p:tagLst xmlns:a="http://schemas.openxmlformats.org/drawingml/2006/main" xmlns:r="http://schemas.openxmlformats.org/officeDocument/2006/relationships" xmlns:p="http://schemas.openxmlformats.org/presentationml/2006/main">
  <p:tag name="MIO_EKGUID" val="1acced01-4773-4b02-b91b-70a819e31629"/>
  <p:tag name="MIO_GUID" val="769ca6b1-10cf-4e31-a605-1c00a9726d74"/>
  <p:tag name="MIO_UPDATE" val="True"/>
  <p:tag name="MIO_VERSION" val="12.01.2024 10:28:42"/>
  <p:tag name="MIO_DBID" val="FDE84254-54DB-49E3-9A0E-CDE72035D530"/>
  <p:tag name="MIO_LASTDOWNLOADED" val="21.02.2024 13:25:28.016"/>
  <p:tag name="MIO_OBJECTNAME" val="Two people shaking hands during a meeting"/>
  <p:tag name="MIO_LASTEDITORNAME" val="Miguel Madeyski"/>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MIO_EKGUID" val="592233a3-fd8f-4999-821f-cf662fd89180"/>
  <p:tag name="MIO_GUID" val="18f66244-bb5a-400d-983c-7fc33286165b"/>
  <p:tag name="MIO_UPDATE" val="True"/>
  <p:tag name="MIO_VERSION" val="19.04.2021 10:46:32"/>
  <p:tag name="MIO_DBID" val="FDE84254-54DB-49E3-9A0E-CDE72035D530"/>
  <p:tag name="MIO_LASTDOWNLOADED" val="07.02.2024 11:34:46.202"/>
  <p:tag name="MIO_OBJECTNAME" val="Infineon employee in clean room"/>
  <p:tag name="MIO_LASTEDITORNAME" val="Miguel Madeyski"/>
</p:tagLst>
</file>

<file path=ppt/tags/tag459.xml><?xml version="1.0" encoding="utf-8"?>
<p:tagLst xmlns:a="http://schemas.openxmlformats.org/drawingml/2006/main" xmlns:r="http://schemas.openxmlformats.org/officeDocument/2006/relationships" xmlns:p="http://schemas.openxmlformats.org/presentationml/2006/main">
  <p:tag name="MIO_GUID" val="71a49bda-d540-4820-bb02-9319f7222baf"/>
  <p:tag name="MIO_EKGUID" val="603e82c8-d3c6-4b83-a507-5bb5b0557427"/>
  <p:tag name="MIO_UPDATE" val="True"/>
  <p:tag name="MIO_VERSION" val="24.03.2023 10:16:34"/>
  <p:tag name="MIO_DBID" val="FDE84254-54DB-49E3-9A0E-CDE72035D530"/>
  <p:tag name="MIO_LASTDOWNLOADED" val="16.02.2024 09:30:33.562"/>
  <p:tag name="MIO_OBJECTNAME" val="Images with textboxes 02"/>
  <p:tag name="MIO_LASTEDITORNAME" val="Verena Kohl"/>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0.xml><?xml version="1.0" encoding="utf-8"?>
<p:tagLst xmlns:a="http://schemas.openxmlformats.org/drawingml/2006/main" xmlns:r="http://schemas.openxmlformats.org/officeDocument/2006/relationships" xmlns:p="http://schemas.openxmlformats.org/presentationml/2006/main">
  <p:tag name="MIO_GUID" val="b68740cc-6c50-4276-9865-ffb36008f4c0"/>
  <p:tag name="MIO_EKGUID" val="67fb33f1-96c2-45a0-bb42-4dea2f161d48"/>
  <p:tag name="MIO_UPDATE" val="True"/>
  <p:tag name="MIO_VERSION" val="19.06.2023 14:19:44"/>
  <p:tag name="MIO_DBID" val="FDE84254-54DB-49E3-9A0E-CDE72035D530"/>
  <p:tag name="MIO_LASTDOWNLOADED" val="05.02.2024 17:12:33.503"/>
  <p:tag name="MIO_OBJECTNAME" val="Splitscreen semi left"/>
  <p:tag name="MIO_LASTEDITORNAME" val="Verena Kohl"/>
</p:tagLst>
</file>

<file path=ppt/tags/tag461.xml><?xml version="1.0" encoding="utf-8"?>
<p:tagLst xmlns:a="http://schemas.openxmlformats.org/drawingml/2006/main" xmlns:r="http://schemas.openxmlformats.org/officeDocument/2006/relationships" xmlns:p="http://schemas.openxmlformats.org/presentationml/2006/main">
  <p:tag name="MIO_EKGUID" val="74263d8d-5d4b-4827-8ab9-1c90587cd5db"/>
  <p:tag name="MIO_GUID" val="8c1fc6e0-2d52-400d-b4f6-e2a39dcfc0bb"/>
  <p:tag name="MIO_UPDATE" val="True"/>
  <p:tag name="MIO_VERSION" val="06.02.2023 10:34:47"/>
  <p:tag name="MIO_DBID" val="0F45B44C-9BC7-4D85-81C4-7155EE70A7B9"/>
  <p:tag name="MIO_LASTDOWNLOADED" val="06.02.2023 11:41:49.144"/>
  <p:tag name="MIO_OBJECTNAME" val="TextBox"/>
  <p:tag name="MIO_LASTEDITORNAME" val=" Verena Kohl"/>
</p:tagLst>
</file>

<file path=ppt/tags/tag462.xml><?xml version="1.0" encoding="utf-8"?>
<p:tagLst xmlns:a="http://schemas.openxmlformats.org/drawingml/2006/main" xmlns:r="http://schemas.openxmlformats.org/officeDocument/2006/relationships" xmlns:p="http://schemas.openxmlformats.org/presentationml/2006/main">
  <p:tag name="MIO_EKGUID" val="7a73d2e6-dae5-4a48-b081-83eee0b833d2"/>
  <p:tag name="MIO_GUID" val="31c8351e-a2a4-4c7b-8738-c98eb79a2821"/>
  <p:tag name="MIO_UPDATE" val="True"/>
  <p:tag name="MIO_VERSION" val="05.03.2023 11:13:31"/>
  <p:tag name="MIO_DBID" val="FDE84254-54DB-49E3-9A0E-CDE72035D530"/>
  <p:tag name="MIO_LASTDOWNLOADED" val="21.02.2024 16:36:28.293"/>
  <p:tag name="MIO_OBJECTNAME" val="Link"/>
  <p:tag name="MIO_LASTEDITORNAME" val="Verena Kohl"/>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CD_LAYOUT_VALID_AREA" val="False"/>
  <p:tag name="MIO_EMBED_FONT" val="False"/>
  <p:tag name="MIO_MATCH_COLOR_SCHEME" val="True"/>
  <p:tag name="MIO_NUMBER_OF_VALID_LAYOUTS" val="18"/>
  <p:tag name="MIO_AVOID_BLANK_LAYOUT" val="True"/>
  <p:tag name="MIO_HDS" val="True"/>
  <p:tag name="MIO_SKIPVERSION" val="01.01.0001 00:00:00"/>
  <p:tag name="MIO_EKGUID" val="f8120ca7-cceb-428f-a7d0-f20ce9397e1b"/>
  <p:tag name="MIO_UPDATE" val="True"/>
  <p:tag name="MIO_VERSION" val="07.03.2024 09:47:48"/>
  <p:tag name="MIO_DBID" val="FDE84254-54DB-49E3-9A0E-CDE72035D530"/>
  <p:tag name="MIO_LASTDOWNLOADED" val="09.03.2024 17:04:22.123"/>
  <p:tag name="MIO_OBJECTNAME" val="Infineon LCD 16:9"/>
  <p:tag name="MIO_CONTENTTAG" val="UAqwC8F8EE+2aEXGX/R8bA=="/>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241BFF82-79A6-4F66-A1EE-48E0D63268B5}" vid="{6274B554-1C56-4DD3-9209-098543C62D01}"/>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Infineon - new SU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F07F3C"/>
    </a:accent5>
    <a:accent6>
      <a:srgbClr val="AB377A"/>
    </a:accent6>
    <a:hlink>
      <a:srgbClr val="1122CC"/>
    </a:hlink>
    <a:folHlink>
      <a:srgbClr val="1122CC"/>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ineonColors">
    <a:dk1>
      <a:srgbClr val="000000"/>
    </a:dk1>
    <a:lt1>
      <a:srgbClr val="FFFFFF"/>
    </a:lt1>
    <a:dk2>
      <a:srgbClr val="84B6A7"/>
    </a:dk2>
    <a:lt2>
      <a:srgbClr val="E9E6E6"/>
    </a:lt2>
    <a:accent1>
      <a:srgbClr val="E30034"/>
    </a:accent1>
    <a:accent2>
      <a:srgbClr val="928285"/>
    </a:accent2>
    <a:accent3>
      <a:srgbClr val="FFE054"/>
    </a:accent3>
    <a:accent4>
      <a:srgbClr val="AEC067"/>
    </a:accent4>
    <a:accent5>
      <a:srgbClr val="EE813C"/>
    </a:accent5>
    <a:accent6>
      <a:srgbClr val="AB377A"/>
    </a:accent6>
    <a:hlink>
      <a:srgbClr val="1122CC"/>
    </a:hlink>
    <a:folHlink>
      <a:srgbClr val="1122C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customXsn xmlns="http://schemas.microsoft.com/office/2006/metadata/customXsn">
  <xsnLocation/>
  <cached>True</cached>
  <openByDefault>False</openByDefault>
  <xsnScope/>
</customXs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Props1.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3.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4.xml><?xml version="1.0" encoding="utf-8"?>
<ds:datastoreItem xmlns:ds="http://schemas.openxmlformats.org/officeDocument/2006/customXml" ds:itemID="{D299A1D5-F553-4264-9022-E0136C61CE27}">
  <ds:schemaRefs>
    <ds:schemaRef ds:uri="http://schemas.microsoft.com/office/2006/documentManagement/types"/>
    <ds:schemaRef ds:uri="http://purl.org/dc/terms/"/>
    <ds:schemaRef ds:uri="http://schemas.microsoft.com/office/2006/metadata/properties"/>
    <ds:schemaRef ds:uri="http://purl.org/dc/dcmitype/"/>
    <ds:schemaRef ds:uri="http://purl.org/dc/elements/1.1/"/>
    <ds:schemaRef ds:uri="http://schemas.microsoft.com/office/infopath/2007/PartnerControls"/>
    <ds:schemaRef ds:uri="http://www.w3.org/XML/1998/namespace"/>
    <ds:schemaRef ds:uri="http://schemas.openxmlformats.org/package/2006/metadata/core-properties"/>
    <ds:schemaRef ds:uri="6ef45842-284e-44e4-b2db-1749e7948b44"/>
    <ds:schemaRef ds:uri="a709603d-609a-478b-a91d-3c5e984c0e79"/>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701</Words>
  <Application>Microsoft Office PowerPoint</Application>
  <PresentationFormat>Widescreen</PresentationFormat>
  <Paragraphs>928</Paragraphs>
  <Slides>49</Slides>
  <Notes>4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3</vt:i4>
      </vt:variant>
      <vt:variant>
        <vt:lpstr>Slide Titles</vt:lpstr>
      </vt:variant>
      <vt:variant>
        <vt:i4>49</vt:i4>
      </vt:variant>
    </vt:vector>
  </HeadingPairs>
  <TitlesOfParts>
    <vt:vector size="62" baseType="lpstr">
      <vt:lpstr>Arial</vt:lpstr>
      <vt:lpstr>Arial Unicode MS</vt:lpstr>
      <vt:lpstr>Calibri</vt:lpstr>
      <vt:lpstr>Cambria Math</vt:lpstr>
      <vt:lpstr>Source Sans Pro</vt:lpstr>
      <vt:lpstr>Symbol</vt:lpstr>
      <vt:lpstr>Times New Roman</vt:lpstr>
      <vt:lpstr>Verdana</vt:lpstr>
      <vt:lpstr>Wingdings</vt:lpstr>
      <vt:lpstr>Infineon 16:9</vt:lpstr>
      <vt:lpstr>Acrobat Document</vt:lpstr>
      <vt:lpstr>think-cell Folie</vt:lpstr>
      <vt:lpstr>think-cell Slide</vt:lpstr>
      <vt:lpstr>Discrete TRENCHSTOP™ IGBT7 family</vt:lpstr>
      <vt:lpstr>PowerPoint Presentation</vt:lpstr>
      <vt:lpstr>PowerPoint Presentation</vt:lpstr>
      <vt:lpstr>It´s time to Switch! 5 Decisive Values of TRENCHSTOPTM IGBT7 family</vt:lpstr>
      <vt:lpstr>Product vision</vt:lpstr>
      <vt:lpstr>PowerPoint Presentation</vt:lpstr>
      <vt:lpstr>TRENCHSTOP™ IGBT7 – 650 V, 750 V and 1200 V H7</vt:lpstr>
      <vt:lpstr>TRENCHSTOPTM IGBT7 H7 family for solar, ESS and EV charging applications</vt:lpstr>
      <vt:lpstr>TRENCHSTOPTM IGBT7 H7 family for solar, ESS and EV charging applications</vt:lpstr>
      <vt:lpstr>TRENCHSTOP™ IGBT7 – 650 V and 1200 V T7/S7</vt:lpstr>
      <vt:lpstr>TRENCHSTOPTM IGBT7 T7/S7 family for applications where short circuit is required (e.g. Motor Drive)</vt:lpstr>
      <vt:lpstr>TRENCHSTOPTM IGBT7 T7/S7 family for applications where short circuit is required (e.g. Motor Drive)</vt:lpstr>
      <vt:lpstr>IGBT7 manufacturing footprint</vt:lpstr>
      <vt:lpstr>Emitter control 7 diodes</vt:lpstr>
      <vt:lpstr>650 V emitter controlled 7 discrete diode </vt:lpstr>
      <vt:lpstr>1200 V emitter controlled 7 discrete diode </vt:lpstr>
      <vt:lpstr>650 V emitter controlled 7 discrete diode </vt:lpstr>
      <vt:lpstr>PowerPoint Presentation</vt:lpstr>
      <vt:lpstr>Industrial applications trade-off curves IGBT flavors for different applications and voltage classes</vt:lpstr>
      <vt:lpstr>Industrial applications trade-off curves Diode flavors for different applications and voltage classes</vt:lpstr>
      <vt:lpstr>Infineon´s TRENCHSTOP™ IGBT7 What is new </vt:lpstr>
      <vt:lpstr>Infineon´s TRENCHSTOP™ channel width engineering</vt:lpstr>
      <vt:lpstr>5 values of discrete IGBT7 family  </vt:lpstr>
      <vt:lpstr> Ease of use – „Simplicity“</vt:lpstr>
      <vt:lpstr>  Easy to replace older technology</vt:lpstr>
      <vt:lpstr>The never-ending debate: current density vs. thermal performance Can newer technology replace the older one?</vt:lpstr>
      <vt:lpstr>Controllability at its finest</vt:lpstr>
      <vt:lpstr>Controllability and gate drive resistor selection</vt:lpstr>
      <vt:lpstr>Ruggedness in every condition </vt:lpstr>
      <vt:lpstr>How to deal with short circuit withstand time?</vt:lpstr>
      <vt:lpstr>Parasitic turn-on performance Test results</vt:lpstr>
      <vt:lpstr> Power density – „Space minimization“</vt:lpstr>
      <vt:lpstr>Trends and challenges in paralleling</vt:lpstr>
      <vt:lpstr>Boost power density and enable size frame jump</vt:lpstr>
      <vt:lpstr>Internal and external fighting guide – TO-247 PLUS </vt:lpstr>
      <vt:lpstr> Efficiency – „Optimization“ </vt:lpstr>
      <vt:lpstr>Trade-off chart Key parameters – comparison</vt:lpstr>
      <vt:lpstr>New vs. old technology</vt:lpstr>
      <vt:lpstr>Maximum efficiency with 4-pin solution</vt:lpstr>
      <vt:lpstr>Difference – 3-pin vs. 4-pin</vt:lpstr>
      <vt:lpstr>Product and application benefits: IKW40N120CH7 vs IKZA40N120CH7 </vt:lpstr>
      <vt:lpstr> System cost – „Affordability“</vt:lpstr>
      <vt:lpstr>IGBT7: The cost-effective alternative to wide-bandgap solutions</vt:lpstr>
      <vt:lpstr>1200 V IGBT7 vs. SiC MOSFET positioning</vt:lpstr>
      <vt:lpstr> Quality – „Robustness“ </vt:lpstr>
      <vt:lpstr>Quality requirement discretes</vt:lpstr>
      <vt:lpstr>Key takeaways and resources</vt:lpstr>
      <vt:lpstr>Complementary products</vt:lpstr>
      <vt:lpstr>PowerPoint Presentation</vt:lpstr>
    </vt:vector>
  </TitlesOfParts>
  <Company>Infineon Technologies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crete Trenchstop IGBT7 Family</dc:title>
  <dc:subject>Product Presentation</dc:subject>
  <dc:creator>Infineon</dc:creator>
  <cp:lastModifiedBy>Hohpe Julia (GIP M DCE)</cp:lastModifiedBy>
  <cp:revision>140</cp:revision>
  <dcterms:created xsi:type="dcterms:W3CDTF">2024-03-07T09:29:12Z</dcterms:created>
  <dcterms:modified xsi:type="dcterms:W3CDTF">2025-09-17T13:3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5-08-31T22:00:00Z</vt:filetime>
  </property>
  <property fmtid="{D5CDD505-2E9C-101B-9397-08002B2CF9AE}" pid="15" name="empower.integration.Classification.DateFormat">
    <vt:lpwstr>MM/yyyy</vt:lpwstr>
  </property>
  <property fmtid="{D5CDD505-2E9C-101B-9397-08002B2CF9AE}" pid="16" name="empower.integration.Classification.IsDraft">
    <vt:bool>false</vt:bool>
  </property>
  <property fmtid="{D5CDD505-2E9C-101B-9397-08002B2CF9AE}" pid="17" name="empower.integration.Classification.IsProprietary">
    <vt:bool>true</vt:bool>
  </property>
  <property fmtid="{D5CDD505-2E9C-101B-9397-08002B2CF9AE}" pid="18" name="empower.integration.Classification.HasAdditionalMarking">
    <vt:bool>tru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1</vt:lpwstr>
  </property>
  <property fmtid="{D5CDD505-2E9C-101B-9397-08002B2CF9AE}" pid="23" name="MSIP_Label_a15a25aa-e944-415d-b7a7-40f6b9180b6b_SetDate">
    <vt:lpwstr>2025-09-17 13:35:50Z</vt:lpwstr>
  </property>
  <property fmtid="{D5CDD505-2E9C-101B-9397-08002B2CF9AE}" pid="24" name="MSIP_Label_a15a25aa-e944-415d-b7a7-40f6b9180b6b_Method">
    <vt:lpwstr>Privilege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b48c5251-5292-46ee-ada6-27cbdbb6a626</vt:lpwstr>
  </property>
  <property fmtid="{D5CDD505-2E9C-101B-9397-08002B2CF9AE}" pid="28" name="MSIP_Label_a15a25aa-e944-415d-b7a7-40f6b9180b6b_ContentBits">
    <vt:lpwstr>0</vt:lpwstr>
  </property>
</Properties>
</file>